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embeddings/oleObject1.bin" ContentType="application/vnd.openxmlformats-officedocument.oleObject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2"/>
  </p:notesMasterIdLst>
  <p:sldIdLst>
    <p:sldId id="256" r:id="rId2"/>
    <p:sldId id="262" r:id="rId3"/>
    <p:sldId id="260" r:id="rId4"/>
    <p:sldId id="258" r:id="rId5"/>
    <p:sldId id="257" r:id="rId6"/>
    <p:sldId id="263" r:id="rId7"/>
    <p:sldId id="265" r:id="rId8"/>
    <p:sldId id="266" r:id="rId9"/>
    <p:sldId id="267" r:id="rId10"/>
    <p:sldId id="264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6739905F-F80D-4E46-A5A6-6EBE19D14024}">
          <p14:sldIdLst>
            <p14:sldId id="256"/>
            <p14:sldId id="262"/>
            <p14:sldId id="260"/>
            <p14:sldId id="258"/>
            <p14:sldId id="257"/>
            <p14:sldId id="263"/>
            <p14:sldId id="265"/>
            <p14:sldId id="266"/>
            <p14:sldId id="267"/>
            <p14:sldId id="26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>
        <p:scale>
          <a:sx n="236" d="100"/>
          <a:sy n="236" d="100"/>
        </p:scale>
        <p:origin x="-1752" y="1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notesMaster" Target="notesMasters/notes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A4F0AF-F1E6-2E40-955E-E17DCDF86BF4}" type="datetimeFigureOut">
              <a:rPr lang="en-US" smtClean="0"/>
              <a:t>2/3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3457A0-CE51-ED49-AADE-2D5789F38E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2178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CA850E1-FA75-4512-88C9-4F78C9DDD879}" type="datetime1">
              <a:rPr lang="en-US" smtClean="0"/>
              <a:t>2/3/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6611E-B935-47DE-996F-C272FBE23AA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587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66217EF-E39B-4843-A2DF-864956372636}" type="datetime1">
              <a:rPr lang="en-US" smtClean="0"/>
              <a:t>2/3/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6611E-B935-47DE-996F-C272FBE23A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218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891821" y="5617774"/>
            <a:ext cx="7382935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989952" y="1016990"/>
            <a:ext cx="7179733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990600" y="1009650"/>
            <a:ext cx="7179733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769521" y="702069"/>
            <a:ext cx="567831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7855433" y="749720"/>
            <a:ext cx="566928" cy="566928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27201" y="1794935"/>
            <a:ext cx="5723468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7200" y="3736622"/>
            <a:ext cx="5712179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70676" y="5357592"/>
            <a:ext cx="1213821" cy="365125"/>
          </a:xfrm>
        </p:spPr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74044" y="5357592"/>
            <a:ext cx="5034845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13930" y="5357592"/>
            <a:ext cx="554023" cy="365125"/>
          </a:xfrm>
        </p:spPr>
        <p:txBody>
          <a:bodyPr/>
          <a:lstStyle>
            <a:lvl1pPr algn="ctr">
              <a:defRPr/>
            </a:lvl1pPr>
          </a:lstStyle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925690"/>
            <a:ext cx="1430867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8221" y="1106312"/>
            <a:ext cx="5178779" cy="44026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979" y="2239430"/>
            <a:ext cx="625404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6267" y="3725334"/>
            <a:ext cx="6231467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98448" y="2121407"/>
            <a:ext cx="3200400" cy="36027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63440" y="2119313"/>
            <a:ext cx="3200400" cy="36052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57869" y="2122312"/>
            <a:ext cx="293952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10669" y="2122311"/>
            <a:ext cx="2944368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98448" y="2944368"/>
            <a:ext cx="3227832" cy="27797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45151" y="2944813"/>
            <a:ext cx="3227832" cy="27797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32177" y="6058038"/>
            <a:ext cx="7721601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468872" y="605163"/>
            <a:ext cx="3788941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471416" y="603504"/>
            <a:ext cx="3788941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749204" y="576868"/>
            <a:ext cx="3788941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749808" y="576072"/>
            <a:ext cx="3788941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371106" y="293953"/>
            <a:ext cx="567831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279647" y="333163"/>
            <a:ext cx="566928" cy="566928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08976" y="2020042"/>
            <a:ext cx="3064827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4854291" y="1150993"/>
            <a:ext cx="3020792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148125" y="3623748"/>
            <a:ext cx="3048891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341698" y="5885672"/>
            <a:ext cx="1213821" cy="365125"/>
          </a:xfrm>
        </p:spPr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14554" y="5829261"/>
            <a:ext cx="352260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7557313" y="5896961"/>
            <a:ext cx="554023" cy="365125"/>
          </a:xfrm>
        </p:spPr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32177" y="6058038"/>
            <a:ext cx="7721601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749204" y="576868"/>
            <a:ext cx="3788941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745058" y="575769"/>
            <a:ext cx="3788941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468872" y="605163"/>
            <a:ext cx="3788941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464768" y="603920"/>
            <a:ext cx="3788941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371106" y="293953"/>
            <a:ext cx="567831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279647" y="333163"/>
            <a:ext cx="566928" cy="566928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06424" y="2020824"/>
            <a:ext cx="306324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4898615" y="1207272"/>
            <a:ext cx="2913863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152144" y="3621024"/>
            <a:ext cx="3044952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345936" y="5888737"/>
            <a:ext cx="1213821" cy="365125"/>
          </a:xfrm>
        </p:spPr>
        <p:txBody>
          <a:bodyPr/>
          <a:lstStyle/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14569" y="5831037"/>
            <a:ext cx="331904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7562089" y="5900026"/>
            <a:ext cx="554023" cy="365125"/>
          </a:xfrm>
        </p:spPr>
        <p:txBody>
          <a:bodyPr/>
          <a:lstStyle/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3.jpeg"/><Relationship Id="rId14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28650" y="6069330"/>
            <a:ext cx="7920991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31520" y="575310"/>
            <a:ext cx="769620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31520" y="576072"/>
            <a:ext cx="7696200" cy="5715000"/>
          </a:xfrm>
          <a:prstGeom prst="rect">
            <a:avLst/>
          </a:prstGeom>
          <a:blipFill dpi="0" rotWithShape="1">
            <a:blip r:embed="rId13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 rot="1435684">
            <a:off x="543741" y="273091"/>
            <a:ext cx="567831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 rot="4096196">
            <a:off x="8115079" y="298163"/>
            <a:ext cx="566928" cy="566928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5023" y="817582"/>
            <a:ext cx="6965245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3040" y="2119257"/>
            <a:ext cx="6196405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54588" y="5809152"/>
            <a:ext cx="12138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fld id="{8B818F4B-77C2-D04D-99BA-20557BFBB047}" type="datetimeFigureOut">
              <a:rPr lang="en-US" smtClean="0"/>
              <a:t>2/3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4401" y="5809152"/>
            <a:ext cx="55401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70202" y="5809152"/>
            <a:ext cx="5540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fld id="{4E151BBA-2FCB-FB45-A1E9-46826A4C66A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46" Type="http://schemas.openxmlformats.org/officeDocument/2006/relationships/tags" Target="../tags/tag45.xml"/><Relationship Id="rId47" Type="http://schemas.openxmlformats.org/officeDocument/2006/relationships/slideLayout" Target="../slideLayouts/slideLayout1.xml"/><Relationship Id="rId48" Type="http://schemas.openxmlformats.org/officeDocument/2006/relationships/oleObject" Target="../embeddings/oleObject1.bin"/><Relationship Id="rId49" Type="http://schemas.openxmlformats.org/officeDocument/2006/relationships/image" Target="../media/image6.emf"/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9" Type="http://schemas.openxmlformats.org/officeDocument/2006/relationships/tags" Target="../tags/tag8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37" Type="http://schemas.openxmlformats.org/officeDocument/2006/relationships/tags" Target="../tags/tag36.xml"/><Relationship Id="rId38" Type="http://schemas.openxmlformats.org/officeDocument/2006/relationships/tags" Target="../tags/tag37.xml"/><Relationship Id="rId39" Type="http://schemas.openxmlformats.org/officeDocument/2006/relationships/tags" Target="../tags/tag38.xml"/><Relationship Id="rId40" Type="http://schemas.openxmlformats.org/officeDocument/2006/relationships/tags" Target="../tags/tag39.xml"/><Relationship Id="rId41" Type="http://schemas.openxmlformats.org/officeDocument/2006/relationships/tags" Target="../tags/tag40.xml"/><Relationship Id="rId42" Type="http://schemas.openxmlformats.org/officeDocument/2006/relationships/tags" Target="../tags/tag41.xml"/><Relationship Id="rId43" Type="http://schemas.openxmlformats.org/officeDocument/2006/relationships/tags" Target="../tags/tag42.xml"/><Relationship Id="rId44" Type="http://schemas.openxmlformats.org/officeDocument/2006/relationships/tags" Target="../tags/tag43.xml"/><Relationship Id="rId45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6.emf"/><Relationship Id="rId7" Type="http://schemas.openxmlformats.org/officeDocument/2006/relationships/image" Target="../media/image7.png"/><Relationship Id="rId1" Type="http://schemas.openxmlformats.org/officeDocument/2006/relationships/vmlDrawing" Target="../drawings/vmlDrawing2.vml"/><Relationship Id="rId2" Type="http://schemas.openxmlformats.org/officeDocument/2006/relationships/tags" Target="../tags/tag4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4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0316" y="0"/>
            <a:ext cx="8890000" cy="868947"/>
          </a:xfrm>
        </p:spPr>
        <p:txBody>
          <a:bodyPr>
            <a:noAutofit/>
          </a:bodyPr>
          <a:lstStyle/>
          <a:p>
            <a:r>
              <a:rPr lang="en-US" sz="4400" dirty="0" smtClean="0"/>
              <a:t>The low hanging fruit is gone! </a:t>
            </a:r>
            <a:endParaRPr lang="en-US" sz="4400" dirty="0"/>
          </a:p>
        </p:txBody>
      </p:sp>
      <p:grpSp>
        <p:nvGrpSpPr>
          <p:cNvPr id="17" name="Group 34"/>
          <p:cNvGrpSpPr>
            <a:grpSpLocks/>
          </p:cNvGrpSpPr>
          <p:nvPr/>
        </p:nvGrpSpPr>
        <p:grpSpPr bwMode="auto">
          <a:xfrm>
            <a:off x="714280" y="1056105"/>
            <a:ext cx="4165194" cy="4839369"/>
            <a:chOff x="2547583" y="1335138"/>
            <a:chExt cx="3504707" cy="3832174"/>
          </a:xfrm>
        </p:grpSpPr>
        <p:sp>
          <p:nvSpPr>
            <p:cNvPr id="18" name="Freeform 17"/>
            <p:cNvSpPr/>
            <p:nvPr/>
          </p:nvSpPr>
          <p:spPr>
            <a:xfrm>
              <a:off x="3393033" y="2629087"/>
              <a:ext cx="1802634" cy="2538225"/>
            </a:xfrm>
            <a:custGeom>
              <a:avLst/>
              <a:gdLst>
                <a:gd name="connsiteX0" fmla="*/ 0 w 746760"/>
                <a:gd name="connsiteY0" fmla="*/ 0 h 1089660"/>
                <a:gd name="connsiteX1" fmla="*/ 746760 w 746760"/>
                <a:gd name="connsiteY1" fmla="*/ 0 h 1089660"/>
                <a:gd name="connsiteX2" fmla="*/ 746760 w 746760"/>
                <a:gd name="connsiteY2" fmla="*/ 1089660 h 1089660"/>
                <a:gd name="connsiteX3" fmla="*/ 0 w 746760"/>
                <a:gd name="connsiteY3" fmla="*/ 1089660 h 1089660"/>
                <a:gd name="connsiteX4" fmla="*/ 0 w 746760"/>
                <a:gd name="connsiteY4" fmla="*/ 0 h 1089660"/>
                <a:gd name="connsiteX0" fmla="*/ 254943 w 746760"/>
                <a:gd name="connsiteY0" fmla="*/ 842963 h 1089660"/>
                <a:gd name="connsiteX1" fmla="*/ 746760 w 746760"/>
                <a:gd name="connsiteY1" fmla="*/ 0 h 1089660"/>
                <a:gd name="connsiteX2" fmla="*/ 746760 w 746760"/>
                <a:gd name="connsiteY2" fmla="*/ 1089660 h 1089660"/>
                <a:gd name="connsiteX3" fmla="*/ 0 w 746760"/>
                <a:gd name="connsiteY3" fmla="*/ 1089660 h 1089660"/>
                <a:gd name="connsiteX4" fmla="*/ 254943 w 746760"/>
                <a:gd name="connsiteY4" fmla="*/ 842963 h 1089660"/>
                <a:gd name="connsiteX0" fmla="*/ 254943 w 746760"/>
                <a:gd name="connsiteY0" fmla="*/ 842963 h 1089660"/>
                <a:gd name="connsiteX1" fmla="*/ 746760 w 746760"/>
                <a:gd name="connsiteY1" fmla="*/ 0 h 1089660"/>
                <a:gd name="connsiteX2" fmla="*/ 746760 w 746760"/>
                <a:gd name="connsiteY2" fmla="*/ 1089660 h 1089660"/>
                <a:gd name="connsiteX3" fmla="*/ 0 w 746760"/>
                <a:gd name="connsiteY3" fmla="*/ 1089660 h 1089660"/>
                <a:gd name="connsiteX4" fmla="*/ 254943 w 746760"/>
                <a:gd name="connsiteY4" fmla="*/ 842963 h 1089660"/>
                <a:gd name="connsiteX0" fmla="*/ 254943 w 746760"/>
                <a:gd name="connsiteY0" fmla="*/ 842963 h 1089660"/>
                <a:gd name="connsiteX1" fmla="*/ 746760 w 746760"/>
                <a:gd name="connsiteY1" fmla="*/ 0 h 1089660"/>
                <a:gd name="connsiteX2" fmla="*/ 746760 w 746760"/>
                <a:gd name="connsiteY2" fmla="*/ 1089660 h 1089660"/>
                <a:gd name="connsiteX3" fmla="*/ 0 w 746760"/>
                <a:gd name="connsiteY3" fmla="*/ 1089660 h 1089660"/>
                <a:gd name="connsiteX4" fmla="*/ 254943 w 746760"/>
                <a:gd name="connsiteY4" fmla="*/ 842963 h 1089660"/>
                <a:gd name="connsiteX0" fmla="*/ 254943 w 746760"/>
                <a:gd name="connsiteY0" fmla="*/ 842963 h 1090613"/>
                <a:gd name="connsiteX1" fmla="*/ 746760 w 746760"/>
                <a:gd name="connsiteY1" fmla="*/ 0 h 1090613"/>
                <a:gd name="connsiteX2" fmla="*/ 746760 w 746760"/>
                <a:gd name="connsiteY2" fmla="*/ 1089660 h 1090613"/>
                <a:gd name="connsiteX3" fmla="*/ 29107 w 746760"/>
                <a:gd name="connsiteY3" fmla="*/ 1090613 h 1090613"/>
                <a:gd name="connsiteX4" fmla="*/ 0 w 746760"/>
                <a:gd name="connsiteY4" fmla="*/ 1089660 h 1090613"/>
                <a:gd name="connsiteX5" fmla="*/ 254943 w 746760"/>
                <a:gd name="connsiteY5" fmla="*/ 842963 h 1090613"/>
                <a:gd name="connsiteX0" fmla="*/ 280370 w 772187"/>
                <a:gd name="connsiteY0" fmla="*/ 842963 h 1090613"/>
                <a:gd name="connsiteX1" fmla="*/ 772187 w 772187"/>
                <a:gd name="connsiteY1" fmla="*/ 0 h 1090613"/>
                <a:gd name="connsiteX2" fmla="*/ 772187 w 772187"/>
                <a:gd name="connsiteY2" fmla="*/ 1089660 h 1090613"/>
                <a:gd name="connsiteX3" fmla="*/ 54534 w 772187"/>
                <a:gd name="connsiteY3" fmla="*/ 1090613 h 1090613"/>
                <a:gd name="connsiteX4" fmla="*/ 25427 w 772187"/>
                <a:gd name="connsiteY4" fmla="*/ 1089660 h 1090613"/>
                <a:gd name="connsiteX5" fmla="*/ 42490 w 772187"/>
                <a:gd name="connsiteY5" fmla="*/ 1045369 h 1090613"/>
                <a:gd name="connsiteX6" fmla="*/ 280370 w 772187"/>
                <a:gd name="connsiteY6" fmla="*/ 842963 h 1090613"/>
                <a:gd name="connsiteX0" fmla="*/ 268325 w 760142"/>
                <a:gd name="connsiteY0" fmla="*/ 842963 h 1090613"/>
                <a:gd name="connsiteX1" fmla="*/ 760142 w 760142"/>
                <a:gd name="connsiteY1" fmla="*/ 0 h 1090613"/>
                <a:gd name="connsiteX2" fmla="*/ 760142 w 760142"/>
                <a:gd name="connsiteY2" fmla="*/ 1089660 h 1090613"/>
                <a:gd name="connsiteX3" fmla="*/ 42489 w 760142"/>
                <a:gd name="connsiteY3" fmla="*/ 1090613 h 1090613"/>
                <a:gd name="connsiteX4" fmla="*/ 13382 w 760142"/>
                <a:gd name="connsiteY4" fmla="*/ 1089660 h 1090613"/>
                <a:gd name="connsiteX5" fmla="*/ 30445 w 760142"/>
                <a:gd name="connsiteY5" fmla="*/ 1045369 h 1090613"/>
                <a:gd name="connsiteX6" fmla="*/ 268325 w 760142"/>
                <a:gd name="connsiteY6" fmla="*/ 842963 h 1090613"/>
                <a:gd name="connsiteX0" fmla="*/ 268325 w 760142"/>
                <a:gd name="connsiteY0" fmla="*/ 842963 h 1090613"/>
                <a:gd name="connsiteX1" fmla="*/ 760142 w 760142"/>
                <a:gd name="connsiteY1" fmla="*/ 0 h 1090613"/>
                <a:gd name="connsiteX2" fmla="*/ 760142 w 760142"/>
                <a:gd name="connsiteY2" fmla="*/ 1089660 h 1090613"/>
                <a:gd name="connsiteX3" fmla="*/ 42489 w 760142"/>
                <a:gd name="connsiteY3" fmla="*/ 1090613 h 1090613"/>
                <a:gd name="connsiteX4" fmla="*/ 13382 w 760142"/>
                <a:gd name="connsiteY4" fmla="*/ 1089660 h 1090613"/>
                <a:gd name="connsiteX5" fmla="*/ 30445 w 760142"/>
                <a:gd name="connsiteY5" fmla="*/ 1045369 h 1090613"/>
                <a:gd name="connsiteX6" fmla="*/ 268325 w 760142"/>
                <a:gd name="connsiteY6" fmla="*/ 842963 h 1090613"/>
                <a:gd name="connsiteX0" fmla="*/ 268325 w 760142"/>
                <a:gd name="connsiteY0" fmla="*/ 842963 h 1090613"/>
                <a:gd name="connsiteX1" fmla="*/ 454010 w 760142"/>
                <a:gd name="connsiteY1" fmla="*/ 523875 h 1090613"/>
                <a:gd name="connsiteX2" fmla="*/ 760142 w 760142"/>
                <a:gd name="connsiteY2" fmla="*/ 0 h 1090613"/>
                <a:gd name="connsiteX3" fmla="*/ 760142 w 760142"/>
                <a:gd name="connsiteY3" fmla="*/ 1089660 h 1090613"/>
                <a:gd name="connsiteX4" fmla="*/ 42489 w 760142"/>
                <a:gd name="connsiteY4" fmla="*/ 1090613 h 1090613"/>
                <a:gd name="connsiteX5" fmla="*/ 13382 w 760142"/>
                <a:gd name="connsiteY5" fmla="*/ 1089660 h 1090613"/>
                <a:gd name="connsiteX6" fmla="*/ 30445 w 760142"/>
                <a:gd name="connsiteY6" fmla="*/ 1045369 h 1090613"/>
                <a:gd name="connsiteX7" fmla="*/ 268325 w 760142"/>
                <a:gd name="connsiteY7" fmla="*/ 842963 h 1090613"/>
                <a:gd name="connsiteX0" fmla="*/ 268325 w 760142"/>
                <a:gd name="connsiteY0" fmla="*/ 842963 h 1090613"/>
                <a:gd name="connsiteX1" fmla="*/ 337580 w 760142"/>
                <a:gd name="connsiteY1" fmla="*/ 252413 h 1090613"/>
                <a:gd name="connsiteX2" fmla="*/ 760142 w 760142"/>
                <a:gd name="connsiteY2" fmla="*/ 0 h 1090613"/>
                <a:gd name="connsiteX3" fmla="*/ 760142 w 760142"/>
                <a:gd name="connsiteY3" fmla="*/ 1089660 h 1090613"/>
                <a:gd name="connsiteX4" fmla="*/ 42489 w 760142"/>
                <a:gd name="connsiteY4" fmla="*/ 1090613 h 1090613"/>
                <a:gd name="connsiteX5" fmla="*/ 13382 w 760142"/>
                <a:gd name="connsiteY5" fmla="*/ 1089660 h 1090613"/>
                <a:gd name="connsiteX6" fmla="*/ 30445 w 760142"/>
                <a:gd name="connsiteY6" fmla="*/ 1045369 h 1090613"/>
                <a:gd name="connsiteX7" fmla="*/ 268325 w 760142"/>
                <a:gd name="connsiteY7" fmla="*/ 842963 h 1090613"/>
                <a:gd name="connsiteX0" fmla="*/ 268325 w 760142"/>
                <a:gd name="connsiteY0" fmla="*/ 842963 h 1090613"/>
                <a:gd name="connsiteX1" fmla="*/ 337580 w 760142"/>
                <a:gd name="connsiteY1" fmla="*/ 252413 h 1090613"/>
                <a:gd name="connsiteX2" fmla="*/ 760142 w 760142"/>
                <a:gd name="connsiteY2" fmla="*/ 0 h 1090613"/>
                <a:gd name="connsiteX3" fmla="*/ 760142 w 760142"/>
                <a:gd name="connsiteY3" fmla="*/ 1089660 h 1090613"/>
                <a:gd name="connsiteX4" fmla="*/ 42489 w 760142"/>
                <a:gd name="connsiteY4" fmla="*/ 1090613 h 1090613"/>
                <a:gd name="connsiteX5" fmla="*/ 13382 w 760142"/>
                <a:gd name="connsiteY5" fmla="*/ 1089660 h 1090613"/>
                <a:gd name="connsiteX6" fmla="*/ 30445 w 760142"/>
                <a:gd name="connsiteY6" fmla="*/ 1045369 h 1090613"/>
                <a:gd name="connsiteX7" fmla="*/ 268325 w 760142"/>
                <a:gd name="connsiteY7" fmla="*/ 842963 h 1090613"/>
                <a:gd name="connsiteX0" fmla="*/ 268325 w 760142"/>
                <a:gd name="connsiteY0" fmla="*/ 842963 h 1090613"/>
                <a:gd name="connsiteX1" fmla="*/ 337580 w 760142"/>
                <a:gd name="connsiteY1" fmla="*/ 252413 h 1090613"/>
                <a:gd name="connsiteX2" fmla="*/ 760142 w 760142"/>
                <a:gd name="connsiteY2" fmla="*/ 0 h 1090613"/>
                <a:gd name="connsiteX3" fmla="*/ 760142 w 760142"/>
                <a:gd name="connsiteY3" fmla="*/ 1089660 h 1090613"/>
                <a:gd name="connsiteX4" fmla="*/ 42489 w 760142"/>
                <a:gd name="connsiteY4" fmla="*/ 1090613 h 1090613"/>
                <a:gd name="connsiteX5" fmla="*/ 13382 w 760142"/>
                <a:gd name="connsiteY5" fmla="*/ 1089660 h 1090613"/>
                <a:gd name="connsiteX6" fmla="*/ 30445 w 760142"/>
                <a:gd name="connsiteY6" fmla="*/ 1045369 h 1090613"/>
                <a:gd name="connsiteX7" fmla="*/ 268325 w 760142"/>
                <a:gd name="connsiteY7" fmla="*/ 842963 h 1090613"/>
                <a:gd name="connsiteX0" fmla="*/ 268325 w 760142"/>
                <a:gd name="connsiteY0" fmla="*/ 842963 h 1090613"/>
                <a:gd name="connsiteX1" fmla="*/ 337580 w 760142"/>
                <a:gd name="connsiteY1" fmla="*/ 252413 h 1090613"/>
                <a:gd name="connsiteX2" fmla="*/ 760142 w 760142"/>
                <a:gd name="connsiteY2" fmla="*/ 0 h 1090613"/>
                <a:gd name="connsiteX3" fmla="*/ 760142 w 760142"/>
                <a:gd name="connsiteY3" fmla="*/ 1089660 h 1090613"/>
                <a:gd name="connsiteX4" fmla="*/ 42489 w 760142"/>
                <a:gd name="connsiteY4" fmla="*/ 1090613 h 1090613"/>
                <a:gd name="connsiteX5" fmla="*/ 13382 w 760142"/>
                <a:gd name="connsiteY5" fmla="*/ 1089660 h 1090613"/>
                <a:gd name="connsiteX6" fmla="*/ 30445 w 760142"/>
                <a:gd name="connsiteY6" fmla="*/ 1045369 h 1090613"/>
                <a:gd name="connsiteX7" fmla="*/ 268325 w 760142"/>
                <a:gd name="connsiteY7" fmla="*/ 842963 h 1090613"/>
                <a:gd name="connsiteX0" fmla="*/ 268325 w 760142"/>
                <a:gd name="connsiteY0" fmla="*/ 842963 h 1090613"/>
                <a:gd name="connsiteX1" fmla="*/ 337580 w 760142"/>
                <a:gd name="connsiteY1" fmla="*/ 252413 h 1090613"/>
                <a:gd name="connsiteX2" fmla="*/ 760142 w 760142"/>
                <a:gd name="connsiteY2" fmla="*/ 0 h 1090613"/>
                <a:gd name="connsiteX3" fmla="*/ 760142 w 760142"/>
                <a:gd name="connsiteY3" fmla="*/ 1089660 h 1090613"/>
                <a:gd name="connsiteX4" fmla="*/ 42489 w 760142"/>
                <a:gd name="connsiteY4" fmla="*/ 1090613 h 1090613"/>
                <a:gd name="connsiteX5" fmla="*/ 13382 w 760142"/>
                <a:gd name="connsiteY5" fmla="*/ 1089660 h 1090613"/>
                <a:gd name="connsiteX6" fmla="*/ 30445 w 760142"/>
                <a:gd name="connsiteY6" fmla="*/ 1045369 h 1090613"/>
                <a:gd name="connsiteX7" fmla="*/ 268325 w 760142"/>
                <a:gd name="connsiteY7" fmla="*/ 842963 h 1090613"/>
                <a:gd name="connsiteX0" fmla="*/ 268325 w 760142"/>
                <a:gd name="connsiteY0" fmla="*/ 842963 h 1090613"/>
                <a:gd name="connsiteX1" fmla="*/ 337580 w 760142"/>
                <a:gd name="connsiteY1" fmla="*/ 252413 h 1090613"/>
                <a:gd name="connsiteX2" fmla="*/ 465051 w 760142"/>
                <a:gd name="connsiteY2" fmla="*/ 178594 h 1090613"/>
                <a:gd name="connsiteX3" fmla="*/ 760142 w 760142"/>
                <a:gd name="connsiteY3" fmla="*/ 0 h 1090613"/>
                <a:gd name="connsiteX4" fmla="*/ 760142 w 760142"/>
                <a:gd name="connsiteY4" fmla="*/ 1089660 h 1090613"/>
                <a:gd name="connsiteX5" fmla="*/ 42489 w 760142"/>
                <a:gd name="connsiteY5" fmla="*/ 1090613 h 1090613"/>
                <a:gd name="connsiteX6" fmla="*/ 13382 w 760142"/>
                <a:gd name="connsiteY6" fmla="*/ 1089660 h 1090613"/>
                <a:gd name="connsiteX7" fmla="*/ 30445 w 760142"/>
                <a:gd name="connsiteY7" fmla="*/ 1045369 h 1090613"/>
                <a:gd name="connsiteX8" fmla="*/ 268325 w 760142"/>
                <a:gd name="connsiteY8" fmla="*/ 842963 h 1090613"/>
                <a:gd name="connsiteX0" fmla="*/ 268325 w 760142"/>
                <a:gd name="connsiteY0" fmla="*/ 1169194 h 1416844"/>
                <a:gd name="connsiteX1" fmla="*/ 337580 w 760142"/>
                <a:gd name="connsiteY1" fmla="*/ 578644 h 1416844"/>
                <a:gd name="connsiteX2" fmla="*/ 196057 w 760142"/>
                <a:gd name="connsiteY2" fmla="*/ 0 h 1416844"/>
                <a:gd name="connsiteX3" fmla="*/ 760142 w 760142"/>
                <a:gd name="connsiteY3" fmla="*/ 326231 h 1416844"/>
                <a:gd name="connsiteX4" fmla="*/ 760142 w 760142"/>
                <a:gd name="connsiteY4" fmla="*/ 1415891 h 1416844"/>
                <a:gd name="connsiteX5" fmla="*/ 42489 w 760142"/>
                <a:gd name="connsiteY5" fmla="*/ 1416844 h 1416844"/>
                <a:gd name="connsiteX6" fmla="*/ 13382 w 760142"/>
                <a:gd name="connsiteY6" fmla="*/ 1415891 h 1416844"/>
                <a:gd name="connsiteX7" fmla="*/ 30445 w 760142"/>
                <a:gd name="connsiteY7" fmla="*/ 1371600 h 1416844"/>
                <a:gd name="connsiteX8" fmla="*/ 268325 w 760142"/>
                <a:gd name="connsiteY8" fmla="*/ 1169194 h 1416844"/>
                <a:gd name="connsiteX0" fmla="*/ 268325 w 760142"/>
                <a:gd name="connsiteY0" fmla="*/ 1431132 h 1678782"/>
                <a:gd name="connsiteX1" fmla="*/ 337580 w 760142"/>
                <a:gd name="connsiteY1" fmla="*/ 840582 h 1678782"/>
                <a:gd name="connsiteX2" fmla="*/ 73604 w 760142"/>
                <a:gd name="connsiteY2" fmla="*/ 0 h 1678782"/>
                <a:gd name="connsiteX3" fmla="*/ 760142 w 760142"/>
                <a:gd name="connsiteY3" fmla="*/ 588169 h 1678782"/>
                <a:gd name="connsiteX4" fmla="*/ 760142 w 760142"/>
                <a:gd name="connsiteY4" fmla="*/ 1677829 h 1678782"/>
                <a:gd name="connsiteX5" fmla="*/ 42489 w 760142"/>
                <a:gd name="connsiteY5" fmla="*/ 1678782 h 1678782"/>
                <a:gd name="connsiteX6" fmla="*/ 13382 w 760142"/>
                <a:gd name="connsiteY6" fmla="*/ 1677829 h 1678782"/>
                <a:gd name="connsiteX7" fmla="*/ 30445 w 760142"/>
                <a:gd name="connsiteY7" fmla="*/ 1633538 h 1678782"/>
                <a:gd name="connsiteX8" fmla="*/ 268325 w 760142"/>
                <a:gd name="connsiteY8" fmla="*/ 1431132 h 1678782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73604 w 760142"/>
                <a:gd name="connsiteY2" fmla="*/ 0 h 1712120"/>
                <a:gd name="connsiteX3" fmla="*/ 760142 w 760142"/>
                <a:gd name="connsiteY3" fmla="*/ 621507 h 1712120"/>
                <a:gd name="connsiteX4" fmla="*/ 760142 w 760142"/>
                <a:gd name="connsiteY4" fmla="*/ 1711167 h 1712120"/>
                <a:gd name="connsiteX5" fmla="*/ 42489 w 760142"/>
                <a:gd name="connsiteY5" fmla="*/ 1712120 h 1712120"/>
                <a:gd name="connsiteX6" fmla="*/ 13382 w 760142"/>
                <a:gd name="connsiteY6" fmla="*/ 1711167 h 1712120"/>
                <a:gd name="connsiteX7" fmla="*/ 30445 w 760142"/>
                <a:gd name="connsiteY7" fmla="*/ 1666876 h 1712120"/>
                <a:gd name="connsiteX8" fmla="*/ 268325 w 760142"/>
                <a:gd name="connsiteY8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73604 w 760142"/>
                <a:gd name="connsiteY2" fmla="*/ 0 h 1712120"/>
                <a:gd name="connsiteX3" fmla="*/ 760142 w 760142"/>
                <a:gd name="connsiteY3" fmla="*/ 621507 h 1712120"/>
                <a:gd name="connsiteX4" fmla="*/ 760142 w 760142"/>
                <a:gd name="connsiteY4" fmla="*/ 1711167 h 1712120"/>
                <a:gd name="connsiteX5" fmla="*/ 42489 w 760142"/>
                <a:gd name="connsiteY5" fmla="*/ 1712120 h 1712120"/>
                <a:gd name="connsiteX6" fmla="*/ 13382 w 760142"/>
                <a:gd name="connsiteY6" fmla="*/ 1711167 h 1712120"/>
                <a:gd name="connsiteX7" fmla="*/ 30445 w 760142"/>
                <a:gd name="connsiteY7" fmla="*/ 1666876 h 1712120"/>
                <a:gd name="connsiteX8" fmla="*/ 268325 w 760142"/>
                <a:gd name="connsiteY8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73604 w 760142"/>
                <a:gd name="connsiteY2" fmla="*/ 0 h 1712120"/>
                <a:gd name="connsiteX3" fmla="*/ 760142 w 760142"/>
                <a:gd name="connsiteY3" fmla="*/ 621507 h 1712120"/>
                <a:gd name="connsiteX4" fmla="*/ 760142 w 760142"/>
                <a:gd name="connsiteY4" fmla="*/ 1711167 h 1712120"/>
                <a:gd name="connsiteX5" fmla="*/ 42489 w 760142"/>
                <a:gd name="connsiteY5" fmla="*/ 1712120 h 1712120"/>
                <a:gd name="connsiteX6" fmla="*/ 13382 w 760142"/>
                <a:gd name="connsiteY6" fmla="*/ 1711167 h 1712120"/>
                <a:gd name="connsiteX7" fmla="*/ 30445 w 760142"/>
                <a:gd name="connsiteY7" fmla="*/ 1666876 h 1712120"/>
                <a:gd name="connsiteX8" fmla="*/ 268325 w 760142"/>
                <a:gd name="connsiteY8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760142 w 760142"/>
                <a:gd name="connsiteY3" fmla="*/ 621507 h 1712120"/>
                <a:gd name="connsiteX4" fmla="*/ 760142 w 760142"/>
                <a:gd name="connsiteY4" fmla="*/ 1711167 h 1712120"/>
                <a:gd name="connsiteX5" fmla="*/ 42489 w 760142"/>
                <a:gd name="connsiteY5" fmla="*/ 1712120 h 1712120"/>
                <a:gd name="connsiteX6" fmla="*/ 13382 w 760142"/>
                <a:gd name="connsiteY6" fmla="*/ 1711167 h 1712120"/>
                <a:gd name="connsiteX7" fmla="*/ 30445 w 760142"/>
                <a:gd name="connsiteY7" fmla="*/ 1666876 h 1712120"/>
                <a:gd name="connsiteX8" fmla="*/ 268325 w 760142"/>
                <a:gd name="connsiteY8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346614 w 760142"/>
                <a:gd name="connsiteY3" fmla="*/ 257176 h 1712120"/>
                <a:gd name="connsiteX4" fmla="*/ 760142 w 760142"/>
                <a:gd name="connsiteY4" fmla="*/ 621507 h 1712120"/>
                <a:gd name="connsiteX5" fmla="*/ 760142 w 760142"/>
                <a:gd name="connsiteY5" fmla="*/ 1711167 h 1712120"/>
                <a:gd name="connsiteX6" fmla="*/ 42489 w 760142"/>
                <a:gd name="connsiteY6" fmla="*/ 1712120 h 1712120"/>
                <a:gd name="connsiteX7" fmla="*/ 13382 w 760142"/>
                <a:gd name="connsiteY7" fmla="*/ 1711167 h 1712120"/>
                <a:gd name="connsiteX8" fmla="*/ 30445 w 760142"/>
                <a:gd name="connsiteY8" fmla="*/ 1666876 h 1712120"/>
                <a:gd name="connsiteX9" fmla="*/ 268325 w 760142"/>
                <a:gd name="connsiteY9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359662 w 760142"/>
                <a:gd name="connsiteY3" fmla="*/ 426245 h 1712120"/>
                <a:gd name="connsiteX4" fmla="*/ 760142 w 760142"/>
                <a:gd name="connsiteY4" fmla="*/ 621507 h 1712120"/>
                <a:gd name="connsiteX5" fmla="*/ 760142 w 760142"/>
                <a:gd name="connsiteY5" fmla="*/ 1711167 h 1712120"/>
                <a:gd name="connsiteX6" fmla="*/ 42489 w 760142"/>
                <a:gd name="connsiteY6" fmla="*/ 1712120 h 1712120"/>
                <a:gd name="connsiteX7" fmla="*/ 13382 w 760142"/>
                <a:gd name="connsiteY7" fmla="*/ 1711167 h 1712120"/>
                <a:gd name="connsiteX8" fmla="*/ 30445 w 760142"/>
                <a:gd name="connsiteY8" fmla="*/ 1666876 h 1712120"/>
                <a:gd name="connsiteX9" fmla="*/ 268325 w 760142"/>
                <a:gd name="connsiteY9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359662 w 760142"/>
                <a:gd name="connsiteY3" fmla="*/ 426245 h 1712120"/>
                <a:gd name="connsiteX4" fmla="*/ 760142 w 760142"/>
                <a:gd name="connsiteY4" fmla="*/ 621507 h 1712120"/>
                <a:gd name="connsiteX5" fmla="*/ 760142 w 760142"/>
                <a:gd name="connsiteY5" fmla="*/ 1711167 h 1712120"/>
                <a:gd name="connsiteX6" fmla="*/ 42489 w 760142"/>
                <a:gd name="connsiteY6" fmla="*/ 1712120 h 1712120"/>
                <a:gd name="connsiteX7" fmla="*/ 13382 w 760142"/>
                <a:gd name="connsiteY7" fmla="*/ 1711167 h 1712120"/>
                <a:gd name="connsiteX8" fmla="*/ 30445 w 760142"/>
                <a:gd name="connsiteY8" fmla="*/ 1666876 h 1712120"/>
                <a:gd name="connsiteX9" fmla="*/ 268325 w 760142"/>
                <a:gd name="connsiteY9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359662 w 760142"/>
                <a:gd name="connsiteY3" fmla="*/ 426245 h 1712120"/>
                <a:gd name="connsiteX4" fmla="*/ 760142 w 760142"/>
                <a:gd name="connsiteY4" fmla="*/ 621507 h 1712120"/>
                <a:gd name="connsiteX5" fmla="*/ 760142 w 760142"/>
                <a:gd name="connsiteY5" fmla="*/ 1711167 h 1712120"/>
                <a:gd name="connsiteX6" fmla="*/ 42489 w 760142"/>
                <a:gd name="connsiteY6" fmla="*/ 1712120 h 1712120"/>
                <a:gd name="connsiteX7" fmla="*/ 13382 w 760142"/>
                <a:gd name="connsiteY7" fmla="*/ 1711167 h 1712120"/>
                <a:gd name="connsiteX8" fmla="*/ 30445 w 760142"/>
                <a:gd name="connsiteY8" fmla="*/ 1666876 h 1712120"/>
                <a:gd name="connsiteX9" fmla="*/ 268325 w 760142"/>
                <a:gd name="connsiteY9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359662 w 760142"/>
                <a:gd name="connsiteY3" fmla="*/ 461964 h 1712120"/>
                <a:gd name="connsiteX4" fmla="*/ 760142 w 760142"/>
                <a:gd name="connsiteY4" fmla="*/ 621507 h 1712120"/>
                <a:gd name="connsiteX5" fmla="*/ 760142 w 760142"/>
                <a:gd name="connsiteY5" fmla="*/ 1711167 h 1712120"/>
                <a:gd name="connsiteX6" fmla="*/ 42489 w 760142"/>
                <a:gd name="connsiteY6" fmla="*/ 1712120 h 1712120"/>
                <a:gd name="connsiteX7" fmla="*/ 13382 w 760142"/>
                <a:gd name="connsiteY7" fmla="*/ 1711167 h 1712120"/>
                <a:gd name="connsiteX8" fmla="*/ 30445 w 760142"/>
                <a:gd name="connsiteY8" fmla="*/ 1666876 h 1712120"/>
                <a:gd name="connsiteX9" fmla="*/ 268325 w 760142"/>
                <a:gd name="connsiteY9" fmla="*/ 1464470 h 1712120"/>
                <a:gd name="connsiteX0" fmla="*/ 268325 w 760142"/>
                <a:gd name="connsiteY0" fmla="*/ 1464470 h 1712120"/>
                <a:gd name="connsiteX1" fmla="*/ 337580 w 760142"/>
                <a:gd name="connsiteY1" fmla="*/ 873920 h 1712120"/>
                <a:gd name="connsiteX2" fmla="*/ 58548 w 760142"/>
                <a:gd name="connsiteY2" fmla="*/ 0 h 1712120"/>
                <a:gd name="connsiteX3" fmla="*/ 359662 w 760142"/>
                <a:gd name="connsiteY3" fmla="*/ 461964 h 1712120"/>
                <a:gd name="connsiteX4" fmla="*/ 443974 w 760142"/>
                <a:gd name="connsiteY4" fmla="*/ 492920 h 1712120"/>
                <a:gd name="connsiteX5" fmla="*/ 760142 w 760142"/>
                <a:gd name="connsiteY5" fmla="*/ 621507 h 1712120"/>
                <a:gd name="connsiteX6" fmla="*/ 760142 w 760142"/>
                <a:gd name="connsiteY6" fmla="*/ 1711167 h 1712120"/>
                <a:gd name="connsiteX7" fmla="*/ 42489 w 760142"/>
                <a:gd name="connsiteY7" fmla="*/ 1712120 h 1712120"/>
                <a:gd name="connsiteX8" fmla="*/ 13382 w 760142"/>
                <a:gd name="connsiteY8" fmla="*/ 1711167 h 1712120"/>
                <a:gd name="connsiteX9" fmla="*/ 30445 w 760142"/>
                <a:gd name="connsiteY9" fmla="*/ 1666876 h 1712120"/>
                <a:gd name="connsiteX10" fmla="*/ 268325 w 760142"/>
                <a:gd name="connsiteY10" fmla="*/ 1464470 h 1712120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760142 w 760142"/>
                <a:gd name="connsiteY5" fmla="*/ 1447800 h 2538413"/>
                <a:gd name="connsiteX6" fmla="*/ 760142 w 760142"/>
                <a:gd name="connsiteY6" fmla="*/ 2537460 h 2538413"/>
                <a:gd name="connsiteX7" fmla="*/ 42489 w 760142"/>
                <a:gd name="connsiteY7" fmla="*/ 2538413 h 2538413"/>
                <a:gd name="connsiteX8" fmla="*/ 13382 w 760142"/>
                <a:gd name="connsiteY8" fmla="*/ 2537460 h 2538413"/>
                <a:gd name="connsiteX9" fmla="*/ 30445 w 760142"/>
                <a:gd name="connsiteY9" fmla="*/ 2493169 h 2538413"/>
                <a:gd name="connsiteX10" fmla="*/ 268325 w 760142"/>
                <a:gd name="connsiteY10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760142 w 760142"/>
                <a:gd name="connsiteY5" fmla="*/ 1447800 h 2538413"/>
                <a:gd name="connsiteX6" fmla="*/ 760142 w 760142"/>
                <a:gd name="connsiteY6" fmla="*/ 2537460 h 2538413"/>
                <a:gd name="connsiteX7" fmla="*/ 42489 w 760142"/>
                <a:gd name="connsiteY7" fmla="*/ 2538413 h 2538413"/>
                <a:gd name="connsiteX8" fmla="*/ 13382 w 760142"/>
                <a:gd name="connsiteY8" fmla="*/ 2537460 h 2538413"/>
                <a:gd name="connsiteX9" fmla="*/ 30445 w 760142"/>
                <a:gd name="connsiteY9" fmla="*/ 2493169 h 2538413"/>
                <a:gd name="connsiteX10" fmla="*/ 268325 w 760142"/>
                <a:gd name="connsiteY10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760142 w 760142"/>
                <a:gd name="connsiteY5" fmla="*/ 1447800 h 2538413"/>
                <a:gd name="connsiteX6" fmla="*/ 760142 w 760142"/>
                <a:gd name="connsiteY6" fmla="*/ 2537460 h 2538413"/>
                <a:gd name="connsiteX7" fmla="*/ 42489 w 760142"/>
                <a:gd name="connsiteY7" fmla="*/ 2538413 h 2538413"/>
                <a:gd name="connsiteX8" fmla="*/ 13382 w 760142"/>
                <a:gd name="connsiteY8" fmla="*/ 2537460 h 2538413"/>
                <a:gd name="connsiteX9" fmla="*/ 30445 w 760142"/>
                <a:gd name="connsiteY9" fmla="*/ 2493169 h 2538413"/>
                <a:gd name="connsiteX10" fmla="*/ 268325 w 760142"/>
                <a:gd name="connsiteY10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94159 w 760142"/>
                <a:gd name="connsiteY5" fmla="*/ 597695 h 2538413"/>
                <a:gd name="connsiteX6" fmla="*/ 760142 w 760142"/>
                <a:gd name="connsiteY6" fmla="*/ 1447800 h 2538413"/>
                <a:gd name="connsiteX7" fmla="*/ 760142 w 760142"/>
                <a:gd name="connsiteY7" fmla="*/ 2537460 h 2538413"/>
                <a:gd name="connsiteX8" fmla="*/ 42489 w 760142"/>
                <a:gd name="connsiteY8" fmla="*/ 2538413 h 2538413"/>
                <a:gd name="connsiteX9" fmla="*/ 13382 w 760142"/>
                <a:gd name="connsiteY9" fmla="*/ 2537460 h 2538413"/>
                <a:gd name="connsiteX10" fmla="*/ 30445 w 760142"/>
                <a:gd name="connsiteY10" fmla="*/ 2493169 h 2538413"/>
                <a:gd name="connsiteX11" fmla="*/ 268325 w 760142"/>
                <a:gd name="connsiteY11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760142 w 760142"/>
                <a:gd name="connsiteY6" fmla="*/ 1447800 h 2538413"/>
                <a:gd name="connsiteX7" fmla="*/ 760142 w 760142"/>
                <a:gd name="connsiteY7" fmla="*/ 2537460 h 2538413"/>
                <a:gd name="connsiteX8" fmla="*/ 42489 w 760142"/>
                <a:gd name="connsiteY8" fmla="*/ 2538413 h 2538413"/>
                <a:gd name="connsiteX9" fmla="*/ 13382 w 760142"/>
                <a:gd name="connsiteY9" fmla="*/ 2537460 h 2538413"/>
                <a:gd name="connsiteX10" fmla="*/ 30445 w 760142"/>
                <a:gd name="connsiteY10" fmla="*/ 2493169 h 2538413"/>
                <a:gd name="connsiteX11" fmla="*/ 268325 w 760142"/>
                <a:gd name="connsiteY11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760142 w 760142"/>
                <a:gd name="connsiteY6" fmla="*/ 1447800 h 2538413"/>
                <a:gd name="connsiteX7" fmla="*/ 760142 w 760142"/>
                <a:gd name="connsiteY7" fmla="*/ 2537460 h 2538413"/>
                <a:gd name="connsiteX8" fmla="*/ 42489 w 760142"/>
                <a:gd name="connsiteY8" fmla="*/ 2538413 h 2538413"/>
                <a:gd name="connsiteX9" fmla="*/ 13382 w 760142"/>
                <a:gd name="connsiteY9" fmla="*/ 2537460 h 2538413"/>
                <a:gd name="connsiteX10" fmla="*/ 30445 w 760142"/>
                <a:gd name="connsiteY10" fmla="*/ 2493169 h 2538413"/>
                <a:gd name="connsiteX11" fmla="*/ 268325 w 760142"/>
                <a:gd name="connsiteY11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34940 w 760142"/>
                <a:gd name="connsiteY6" fmla="*/ 728664 h 2538413"/>
                <a:gd name="connsiteX7" fmla="*/ 760142 w 760142"/>
                <a:gd name="connsiteY7" fmla="*/ 1447800 h 2538413"/>
                <a:gd name="connsiteX8" fmla="*/ 760142 w 760142"/>
                <a:gd name="connsiteY8" fmla="*/ 2537460 h 2538413"/>
                <a:gd name="connsiteX9" fmla="*/ 42489 w 760142"/>
                <a:gd name="connsiteY9" fmla="*/ 2538413 h 2538413"/>
                <a:gd name="connsiteX10" fmla="*/ 13382 w 760142"/>
                <a:gd name="connsiteY10" fmla="*/ 2537460 h 2538413"/>
                <a:gd name="connsiteX11" fmla="*/ 30445 w 760142"/>
                <a:gd name="connsiteY11" fmla="*/ 2493169 h 2538413"/>
                <a:gd name="connsiteX12" fmla="*/ 268325 w 760142"/>
                <a:gd name="connsiteY12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760142 w 760142"/>
                <a:gd name="connsiteY7" fmla="*/ 1447800 h 2538413"/>
                <a:gd name="connsiteX8" fmla="*/ 760142 w 760142"/>
                <a:gd name="connsiteY8" fmla="*/ 2537460 h 2538413"/>
                <a:gd name="connsiteX9" fmla="*/ 42489 w 760142"/>
                <a:gd name="connsiteY9" fmla="*/ 2538413 h 2538413"/>
                <a:gd name="connsiteX10" fmla="*/ 13382 w 760142"/>
                <a:gd name="connsiteY10" fmla="*/ 2537460 h 2538413"/>
                <a:gd name="connsiteX11" fmla="*/ 30445 w 760142"/>
                <a:gd name="connsiteY11" fmla="*/ 2493169 h 2538413"/>
                <a:gd name="connsiteX12" fmla="*/ 268325 w 760142"/>
                <a:gd name="connsiteY12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760142 w 760142"/>
                <a:gd name="connsiteY7" fmla="*/ 1447800 h 2538413"/>
                <a:gd name="connsiteX8" fmla="*/ 760142 w 760142"/>
                <a:gd name="connsiteY8" fmla="*/ 2537460 h 2538413"/>
                <a:gd name="connsiteX9" fmla="*/ 42489 w 760142"/>
                <a:gd name="connsiteY9" fmla="*/ 2538413 h 2538413"/>
                <a:gd name="connsiteX10" fmla="*/ 13382 w 760142"/>
                <a:gd name="connsiteY10" fmla="*/ 2537460 h 2538413"/>
                <a:gd name="connsiteX11" fmla="*/ 30445 w 760142"/>
                <a:gd name="connsiteY11" fmla="*/ 2493169 h 2538413"/>
                <a:gd name="connsiteX12" fmla="*/ 268325 w 760142"/>
                <a:gd name="connsiteY12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760142 w 760142"/>
                <a:gd name="connsiteY7" fmla="*/ 1447800 h 2538413"/>
                <a:gd name="connsiteX8" fmla="*/ 760142 w 760142"/>
                <a:gd name="connsiteY8" fmla="*/ 2537460 h 2538413"/>
                <a:gd name="connsiteX9" fmla="*/ 42489 w 760142"/>
                <a:gd name="connsiteY9" fmla="*/ 2538413 h 2538413"/>
                <a:gd name="connsiteX10" fmla="*/ 13382 w 760142"/>
                <a:gd name="connsiteY10" fmla="*/ 2537460 h 2538413"/>
                <a:gd name="connsiteX11" fmla="*/ 30445 w 760142"/>
                <a:gd name="connsiteY11" fmla="*/ 2493169 h 2538413"/>
                <a:gd name="connsiteX12" fmla="*/ 268325 w 760142"/>
                <a:gd name="connsiteY12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472077 w 760142"/>
                <a:gd name="connsiteY7" fmla="*/ 745332 h 2538413"/>
                <a:gd name="connsiteX8" fmla="*/ 760142 w 760142"/>
                <a:gd name="connsiteY8" fmla="*/ 1447800 h 2538413"/>
                <a:gd name="connsiteX9" fmla="*/ 760142 w 760142"/>
                <a:gd name="connsiteY9" fmla="*/ 2537460 h 2538413"/>
                <a:gd name="connsiteX10" fmla="*/ 42489 w 760142"/>
                <a:gd name="connsiteY10" fmla="*/ 2538413 h 2538413"/>
                <a:gd name="connsiteX11" fmla="*/ 13382 w 760142"/>
                <a:gd name="connsiteY11" fmla="*/ 2537460 h 2538413"/>
                <a:gd name="connsiteX12" fmla="*/ 30445 w 760142"/>
                <a:gd name="connsiteY12" fmla="*/ 2493169 h 2538413"/>
                <a:gd name="connsiteX13" fmla="*/ 268325 w 760142"/>
                <a:gd name="connsiteY13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760142 w 760142"/>
                <a:gd name="connsiteY8" fmla="*/ 1447800 h 2538413"/>
                <a:gd name="connsiteX9" fmla="*/ 760142 w 760142"/>
                <a:gd name="connsiteY9" fmla="*/ 2537460 h 2538413"/>
                <a:gd name="connsiteX10" fmla="*/ 42489 w 760142"/>
                <a:gd name="connsiteY10" fmla="*/ 2538413 h 2538413"/>
                <a:gd name="connsiteX11" fmla="*/ 13382 w 760142"/>
                <a:gd name="connsiteY11" fmla="*/ 2537460 h 2538413"/>
                <a:gd name="connsiteX12" fmla="*/ 30445 w 760142"/>
                <a:gd name="connsiteY12" fmla="*/ 2493169 h 2538413"/>
                <a:gd name="connsiteX13" fmla="*/ 268325 w 760142"/>
                <a:gd name="connsiteY13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760142 w 760142"/>
                <a:gd name="connsiteY8" fmla="*/ 1447800 h 2538413"/>
                <a:gd name="connsiteX9" fmla="*/ 760142 w 760142"/>
                <a:gd name="connsiteY9" fmla="*/ 2537460 h 2538413"/>
                <a:gd name="connsiteX10" fmla="*/ 42489 w 760142"/>
                <a:gd name="connsiteY10" fmla="*/ 2538413 h 2538413"/>
                <a:gd name="connsiteX11" fmla="*/ 13382 w 760142"/>
                <a:gd name="connsiteY11" fmla="*/ 2537460 h 2538413"/>
                <a:gd name="connsiteX12" fmla="*/ 30445 w 760142"/>
                <a:gd name="connsiteY12" fmla="*/ 2493169 h 2538413"/>
                <a:gd name="connsiteX13" fmla="*/ 268325 w 760142"/>
                <a:gd name="connsiteY13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625645 w 760142"/>
                <a:gd name="connsiteY8" fmla="*/ 769145 h 2538413"/>
                <a:gd name="connsiteX9" fmla="*/ 760142 w 760142"/>
                <a:gd name="connsiteY9" fmla="*/ 1447800 h 2538413"/>
                <a:gd name="connsiteX10" fmla="*/ 760142 w 760142"/>
                <a:gd name="connsiteY10" fmla="*/ 2537460 h 2538413"/>
                <a:gd name="connsiteX11" fmla="*/ 42489 w 760142"/>
                <a:gd name="connsiteY11" fmla="*/ 2538413 h 2538413"/>
                <a:gd name="connsiteX12" fmla="*/ 13382 w 760142"/>
                <a:gd name="connsiteY12" fmla="*/ 2537460 h 2538413"/>
                <a:gd name="connsiteX13" fmla="*/ 30445 w 760142"/>
                <a:gd name="connsiteY13" fmla="*/ 2493169 h 2538413"/>
                <a:gd name="connsiteX14" fmla="*/ 268325 w 760142"/>
                <a:gd name="connsiteY14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169195 h 2538413"/>
                <a:gd name="connsiteX9" fmla="*/ 760142 w 760142"/>
                <a:gd name="connsiteY9" fmla="*/ 1447800 h 2538413"/>
                <a:gd name="connsiteX10" fmla="*/ 760142 w 760142"/>
                <a:gd name="connsiteY10" fmla="*/ 2537460 h 2538413"/>
                <a:gd name="connsiteX11" fmla="*/ 42489 w 760142"/>
                <a:gd name="connsiteY11" fmla="*/ 2538413 h 2538413"/>
                <a:gd name="connsiteX12" fmla="*/ 13382 w 760142"/>
                <a:gd name="connsiteY12" fmla="*/ 2537460 h 2538413"/>
                <a:gd name="connsiteX13" fmla="*/ 30445 w 760142"/>
                <a:gd name="connsiteY13" fmla="*/ 2493169 h 2538413"/>
                <a:gd name="connsiteX14" fmla="*/ 268325 w 760142"/>
                <a:gd name="connsiteY14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169195 h 2538413"/>
                <a:gd name="connsiteX9" fmla="*/ 760142 w 760142"/>
                <a:gd name="connsiteY9" fmla="*/ 1447800 h 2538413"/>
                <a:gd name="connsiteX10" fmla="*/ 760142 w 760142"/>
                <a:gd name="connsiteY10" fmla="*/ 2537460 h 2538413"/>
                <a:gd name="connsiteX11" fmla="*/ 42489 w 760142"/>
                <a:gd name="connsiteY11" fmla="*/ 2538413 h 2538413"/>
                <a:gd name="connsiteX12" fmla="*/ 13382 w 760142"/>
                <a:gd name="connsiteY12" fmla="*/ 2537460 h 2538413"/>
                <a:gd name="connsiteX13" fmla="*/ 30445 w 760142"/>
                <a:gd name="connsiteY13" fmla="*/ 2493169 h 2538413"/>
                <a:gd name="connsiteX14" fmla="*/ 268325 w 760142"/>
                <a:gd name="connsiteY14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169195 h 2538413"/>
                <a:gd name="connsiteX9" fmla="*/ 760142 w 760142"/>
                <a:gd name="connsiteY9" fmla="*/ 1447800 h 2538413"/>
                <a:gd name="connsiteX10" fmla="*/ 760142 w 760142"/>
                <a:gd name="connsiteY10" fmla="*/ 2537460 h 2538413"/>
                <a:gd name="connsiteX11" fmla="*/ 42489 w 760142"/>
                <a:gd name="connsiteY11" fmla="*/ 2538413 h 2538413"/>
                <a:gd name="connsiteX12" fmla="*/ 13382 w 760142"/>
                <a:gd name="connsiteY12" fmla="*/ 2537460 h 2538413"/>
                <a:gd name="connsiteX13" fmla="*/ 30445 w 760142"/>
                <a:gd name="connsiteY13" fmla="*/ 2493169 h 2538413"/>
                <a:gd name="connsiteX14" fmla="*/ 268325 w 760142"/>
                <a:gd name="connsiteY14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169195 h 2538413"/>
                <a:gd name="connsiteX9" fmla="*/ 572448 w 760142"/>
                <a:gd name="connsiteY9" fmla="*/ 1247776 h 2538413"/>
                <a:gd name="connsiteX10" fmla="*/ 760142 w 760142"/>
                <a:gd name="connsiteY10" fmla="*/ 144780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169195 h 2538413"/>
                <a:gd name="connsiteX9" fmla="*/ 705941 w 760142"/>
                <a:gd name="connsiteY9" fmla="*/ 828676 h 2538413"/>
                <a:gd name="connsiteX10" fmla="*/ 760142 w 760142"/>
                <a:gd name="connsiteY10" fmla="*/ 144780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169195 h 2538413"/>
                <a:gd name="connsiteX9" fmla="*/ 705941 w 760142"/>
                <a:gd name="connsiteY9" fmla="*/ 828676 h 2538413"/>
                <a:gd name="connsiteX10" fmla="*/ 760142 w 760142"/>
                <a:gd name="connsiteY10" fmla="*/ 144780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760142 w 760142"/>
                <a:gd name="connsiteY10" fmla="*/ 144780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760142 w 760142"/>
                <a:gd name="connsiteY10" fmla="*/ 144780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760142 w 760142"/>
                <a:gd name="connsiteY11" fmla="*/ 2537460 h 2538413"/>
                <a:gd name="connsiteX12" fmla="*/ 42489 w 760142"/>
                <a:gd name="connsiteY12" fmla="*/ 2538413 h 2538413"/>
                <a:gd name="connsiteX13" fmla="*/ 13382 w 760142"/>
                <a:gd name="connsiteY13" fmla="*/ 2537460 h 2538413"/>
                <a:gd name="connsiteX14" fmla="*/ 30445 w 760142"/>
                <a:gd name="connsiteY14" fmla="*/ 2493169 h 2538413"/>
                <a:gd name="connsiteX15" fmla="*/ 268325 w 760142"/>
                <a:gd name="connsiteY15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696909 w 760142"/>
                <a:gd name="connsiteY11" fmla="*/ 2295526 h 2538413"/>
                <a:gd name="connsiteX12" fmla="*/ 760142 w 760142"/>
                <a:gd name="connsiteY12" fmla="*/ 2537460 h 2538413"/>
                <a:gd name="connsiteX13" fmla="*/ 42489 w 760142"/>
                <a:gd name="connsiteY13" fmla="*/ 2538413 h 2538413"/>
                <a:gd name="connsiteX14" fmla="*/ 13382 w 760142"/>
                <a:gd name="connsiteY14" fmla="*/ 2537460 h 2538413"/>
                <a:gd name="connsiteX15" fmla="*/ 30445 w 760142"/>
                <a:gd name="connsiteY15" fmla="*/ 2493169 h 2538413"/>
                <a:gd name="connsiteX16" fmla="*/ 268325 w 760142"/>
                <a:gd name="connsiteY16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509215 w 760142"/>
                <a:gd name="connsiteY11" fmla="*/ 2266951 h 2538413"/>
                <a:gd name="connsiteX12" fmla="*/ 760142 w 760142"/>
                <a:gd name="connsiteY12" fmla="*/ 2537460 h 2538413"/>
                <a:gd name="connsiteX13" fmla="*/ 42489 w 760142"/>
                <a:gd name="connsiteY13" fmla="*/ 2538413 h 2538413"/>
                <a:gd name="connsiteX14" fmla="*/ 13382 w 760142"/>
                <a:gd name="connsiteY14" fmla="*/ 2537460 h 2538413"/>
                <a:gd name="connsiteX15" fmla="*/ 30445 w 760142"/>
                <a:gd name="connsiteY15" fmla="*/ 2493169 h 2538413"/>
                <a:gd name="connsiteX16" fmla="*/ 268325 w 760142"/>
                <a:gd name="connsiteY16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509215 w 760142"/>
                <a:gd name="connsiteY11" fmla="*/ 2266951 h 2538413"/>
                <a:gd name="connsiteX12" fmla="*/ 760142 w 760142"/>
                <a:gd name="connsiteY12" fmla="*/ 2537460 h 2538413"/>
                <a:gd name="connsiteX13" fmla="*/ 42489 w 760142"/>
                <a:gd name="connsiteY13" fmla="*/ 2538413 h 2538413"/>
                <a:gd name="connsiteX14" fmla="*/ 13382 w 760142"/>
                <a:gd name="connsiteY14" fmla="*/ 2537460 h 2538413"/>
                <a:gd name="connsiteX15" fmla="*/ 30445 w 760142"/>
                <a:gd name="connsiteY15" fmla="*/ 2493169 h 2538413"/>
                <a:gd name="connsiteX16" fmla="*/ 268325 w 760142"/>
                <a:gd name="connsiteY16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509215 w 760142"/>
                <a:gd name="connsiteY11" fmla="*/ 2266951 h 2538413"/>
                <a:gd name="connsiteX12" fmla="*/ 760142 w 760142"/>
                <a:gd name="connsiteY12" fmla="*/ 2537460 h 2538413"/>
                <a:gd name="connsiteX13" fmla="*/ 42489 w 760142"/>
                <a:gd name="connsiteY13" fmla="*/ 2538413 h 2538413"/>
                <a:gd name="connsiteX14" fmla="*/ 13382 w 760142"/>
                <a:gd name="connsiteY14" fmla="*/ 2537460 h 2538413"/>
                <a:gd name="connsiteX15" fmla="*/ 30445 w 760142"/>
                <a:gd name="connsiteY15" fmla="*/ 2493169 h 2538413"/>
                <a:gd name="connsiteX16" fmla="*/ 268325 w 760142"/>
                <a:gd name="connsiteY16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509215 w 760142"/>
                <a:gd name="connsiteY11" fmla="*/ 2266951 h 2538413"/>
                <a:gd name="connsiteX12" fmla="*/ 760142 w 760142"/>
                <a:gd name="connsiteY12" fmla="*/ 2537460 h 2538413"/>
                <a:gd name="connsiteX13" fmla="*/ 42489 w 760142"/>
                <a:gd name="connsiteY13" fmla="*/ 2538413 h 2538413"/>
                <a:gd name="connsiteX14" fmla="*/ 13382 w 760142"/>
                <a:gd name="connsiteY14" fmla="*/ 2537460 h 2538413"/>
                <a:gd name="connsiteX15" fmla="*/ 30445 w 760142"/>
                <a:gd name="connsiteY15" fmla="*/ 2493169 h 2538413"/>
                <a:gd name="connsiteX16" fmla="*/ 268325 w 760142"/>
                <a:gd name="connsiteY16" fmla="*/ 2290763 h 2538413"/>
                <a:gd name="connsiteX0" fmla="*/ 268325 w 760142"/>
                <a:gd name="connsiteY0" fmla="*/ 2290763 h 2538413"/>
                <a:gd name="connsiteX1" fmla="*/ 337580 w 760142"/>
                <a:gd name="connsiteY1" fmla="*/ 1700213 h 2538413"/>
                <a:gd name="connsiteX2" fmla="*/ 58548 w 760142"/>
                <a:gd name="connsiteY2" fmla="*/ 826293 h 2538413"/>
                <a:gd name="connsiteX3" fmla="*/ 359662 w 760142"/>
                <a:gd name="connsiteY3" fmla="*/ 1288257 h 2538413"/>
                <a:gd name="connsiteX4" fmla="*/ 308473 w 760142"/>
                <a:gd name="connsiteY4" fmla="*/ 0 h 2538413"/>
                <a:gd name="connsiteX5" fmla="*/ 407840 w 760142"/>
                <a:gd name="connsiteY5" fmla="*/ 661989 h 2538413"/>
                <a:gd name="connsiteX6" fmla="*/ 447988 w 760142"/>
                <a:gd name="connsiteY6" fmla="*/ 688183 h 2538413"/>
                <a:gd name="connsiteX7" fmla="*/ 550367 w 760142"/>
                <a:gd name="connsiteY7" fmla="*/ 371476 h 2538413"/>
                <a:gd name="connsiteX8" fmla="*/ 494159 w 760142"/>
                <a:gd name="connsiteY8" fmla="*/ 1202533 h 2538413"/>
                <a:gd name="connsiteX9" fmla="*/ 705941 w 760142"/>
                <a:gd name="connsiteY9" fmla="*/ 828676 h 2538413"/>
                <a:gd name="connsiteX10" fmla="*/ 524270 w 760142"/>
                <a:gd name="connsiteY10" fmla="*/ 1619250 h 2538413"/>
                <a:gd name="connsiteX11" fmla="*/ 509215 w 760142"/>
                <a:gd name="connsiteY11" fmla="*/ 2266951 h 2538413"/>
                <a:gd name="connsiteX12" fmla="*/ 760142 w 760142"/>
                <a:gd name="connsiteY12" fmla="*/ 2537460 h 2538413"/>
                <a:gd name="connsiteX13" fmla="*/ 42489 w 760142"/>
                <a:gd name="connsiteY13" fmla="*/ 2538413 h 2538413"/>
                <a:gd name="connsiteX14" fmla="*/ 13382 w 760142"/>
                <a:gd name="connsiteY14" fmla="*/ 2537460 h 2538413"/>
                <a:gd name="connsiteX15" fmla="*/ 30445 w 760142"/>
                <a:gd name="connsiteY15" fmla="*/ 2493169 h 2538413"/>
                <a:gd name="connsiteX16" fmla="*/ 268325 w 760142"/>
                <a:gd name="connsiteY16" fmla="*/ 2290763 h 2538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0142" h="2538413">
                  <a:moveTo>
                    <a:pt x="268325" y="2290763"/>
                  </a:moveTo>
                  <a:cubicBezTo>
                    <a:pt x="296428" y="2146301"/>
                    <a:pt x="362674" y="1804194"/>
                    <a:pt x="337580" y="1700213"/>
                  </a:cubicBezTo>
                  <a:cubicBezTo>
                    <a:pt x="293751" y="1420812"/>
                    <a:pt x="215796" y="1131887"/>
                    <a:pt x="58548" y="826293"/>
                  </a:cubicBezTo>
                  <a:cubicBezTo>
                    <a:pt x="148882" y="918368"/>
                    <a:pt x="255276" y="1055687"/>
                    <a:pt x="359662" y="1288257"/>
                  </a:cubicBezTo>
                  <a:cubicBezTo>
                    <a:pt x="385759" y="835026"/>
                    <a:pt x="289402" y="374650"/>
                    <a:pt x="308473" y="0"/>
                  </a:cubicBezTo>
                  <a:cubicBezTo>
                    <a:pt x="333565" y="330200"/>
                    <a:pt x="374718" y="441326"/>
                    <a:pt x="407840" y="661989"/>
                  </a:cubicBezTo>
                  <a:cubicBezTo>
                    <a:pt x="411186" y="689770"/>
                    <a:pt x="419550" y="791371"/>
                    <a:pt x="447988" y="688183"/>
                  </a:cubicBezTo>
                  <a:cubicBezTo>
                    <a:pt x="482114" y="582614"/>
                    <a:pt x="482115" y="522289"/>
                    <a:pt x="550367" y="371476"/>
                  </a:cubicBezTo>
                  <a:cubicBezTo>
                    <a:pt x="495498" y="692151"/>
                    <a:pt x="434606" y="910433"/>
                    <a:pt x="494159" y="1202533"/>
                  </a:cubicBezTo>
                  <a:cubicBezTo>
                    <a:pt x="551705" y="1060452"/>
                    <a:pt x="618284" y="930276"/>
                    <a:pt x="705941" y="828676"/>
                  </a:cubicBezTo>
                  <a:cubicBezTo>
                    <a:pt x="448657" y="1554164"/>
                    <a:pt x="539660" y="1429544"/>
                    <a:pt x="524270" y="1619250"/>
                  </a:cubicBezTo>
                  <a:cubicBezTo>
                    <a:pt x="533304" y="1837531"/>
                    <a:pt x="545348" y="2043907"/>
                    <a:pt x="509215" y="2266951"/>
                  </a:cubicBezTo>
                  <a:cubicBezTo>
                    <a:pt x="589846" y="2309496"/>
                    <a:pt x="688545" y="2359184"/>
                    <a:pt x="760142" y="2537460"/>
                  </a:cubicBezTo>
                  <a:lnTo>
                    <a:pt x="42489" y="2538413"/>
                  </a:lnTo>
                  <a:lnTo>
                    <a:pt x="13382" y="2537460"/>
                  </a:lnTo>
                  <a:cubicBezTo>
                    <a:pt x="11375" y="2529919"/>
                    <a:pt x="0" y="2524760"/>
                    <a:pt x="30445" y="2493169"/>
                  </a:cubicBezTo>
                  <a:cubicBezTo>
                    <a:pt x="72935" y="2452053"/>
                    <a:pt x="80465" y="2393553"/>
                    <a:pt x="268325" y="2290763"/>
                  </a:cubicBezTo>
                  <a:close/>
                </a:path>
              </a:pathLst>
            </a:custGeom>
            <a:gradFill>
              <a:gsLst>
                <a:gs pos="0">
                  <a:srgbClr val="1B8A0A"/>
                </a:gs>
                <a:gs pos="100000">
                  <a:srgbClr val="105E03"/>
                </a:gs>
              </a:gsLst>
              <a:lin ang="540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19" name="Group 33"/>
            <p:cNvGrpSpPr>
              <a:grpSpLocks/>
            </p:cNvGrpSpPr>
            <p:nvPr/>
          </p:nvGrpSpPr>
          <p:grpSpPr bwMode="auto">
            <a:xfrm>
              <a:off x="2547584" y="1335138"/>
              <a:ext cx="3504706" cy="2760507"/>
              <a:chOff x="2547584" y="1335138"/>
              <a:chExt cx="3504706" cy="2760507"/>
            </a:xfrm>
          </p:grpSpPr>
          <p:sp>
            <p:nvSpPr>
              <p:cNvPr id="20" name="Freeform 33"/>
              <p:cNvSpPr>
                <a:spLocks/>
              </p:cNvSpPr>
              <p:nvPr/>
            </p:nvSpPr>
            <p:spPr bwMode="auto">
              <a:xfrm rot="4527704">
                <a:off x="5401077" y="2808633"/>
                <a:ext cx="442078" cy="860348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33"/>
              <p:cNvSpPr>
                <a:spLocks/>
              </p:cNvSpPr>
              <p:nvPr/>
            </p:nvSpPr>
            <p:spPr bwMode="auto">
              <a:xfrm rot="3554211">
                <a:off x="5483041" y="2486948"/>
                <a:ext cx="234699" cy="374928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33"/>
              <p:cNvSpPr>
                <a:spLocks/>
              </p:cNvSpPr>
              <p:nvPr/>
            </p:nvSpPr>
            <p:spPr bwMode="auto">
              <a:xfrm rot="-8100000">
                <a:off x="4887128" y="2906676"/>
                <a:ext cx="243392" cy="388584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33"/>
              <p:cNvSpPr>
                <a:spLocks/>
              </p:cNvSpPr>
              <p:nvPr/>
            </p:nvSpPr>
            <p:spPr bwMode="auto">
              <a:xfrm rot="6118253">
                <a:off x="5117413" y="3589063"/>
                <a:ext cx="327833" cy="561150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33"/>
              <p:cNvSpPr>
                <a:spLocks/>
              </p:cNvSpPr>
              <p:nvPr/>
            </p:nvSpPr>
            <p:spPr bwMode="auto">
              <a:xfrm rot="2359261">
                <a:off x="4911367" y="1924989"/>
                <a:ext cx="455624" cy="885399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33"/>
              <p:cNvSpPr>
                <a:spLocks/>
              </p:cNvSpPr>
              <p:nvPr/>
            </p:nvSpPr>
            <p:spPr bwMode="auto">
              <a:xfrm rot="974843">
                <a:off x="4357666" y="2266483"/>
                <a:ext cx="319061" cy="560048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33"/>
              <p:cNvSpPr>
                <a:spLocks/>
              </p:cNvSpPr>
              <p:nvPr/>
            </p:nvSpPr>
            <p:spPr bwMode="auto">
              <a:xfrm rot="1475346">
                <a:off x="4680451" y="1645586"/>
                <a:ext cx="233399" cy="438353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33"/>
              <p:cNvSpPr>
                <a:spLocks/>
              </p:cNvSpPr>
              <p:nvPr/>
            </p:nvSpPr>
            <p:spPr bwMode="auto">
              <a:xfrm>
                <a:off x="3902041" y="1335138"/>
                <a:ext cx="517699" cy="916444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33"/>
              <p:cNvSpPr>
                <a:spLocks/>
              </p:cNvSpPr>
              <p:nvPr/>
            </p:nvSpPr>
            <p:spPr bwMode="auto">
              <a:xfrm rot="8506922">
                <a:off x="3507249" y="2753266"/>
                <a:ext cx="360030" cy="605995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33"/>
              <p:cNvSpPr>
                <a:spLocks/>
              </p:cNvSpPr>
              <p:nvPr/>
            </p:nvSpPr>
            <p:spPr bwMode="auto">
              <a:xfrm rot="-1210568">
                <a:off x="3280058" y="1715127"/>
                <a:ext cx="517698" cy="841936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33"/>
              <p:cNvSpPr>
                <a:spLocks/>
              </p:cNvSpPr>
              <p:nvPr/>
            </p:nvSpPr>
            <p:spPr bwMode="auto">
              <a:xfrm rot="7944345">
                <a:off x="2962204" y="2347253"/>
                <a:ext cx="270711" cy="422104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33"/>
              <p:cNvSpPr>
                <a:spLocks/>
              </p:cNvSpPr>
              <p:nvPr/>
            </p:nvSpPr>
            <p:spPr bwMode="auto">
              <a:xfrm rot="-4052772">
                <a:off x="2700227" y="2711142"/>
                <a:ext cx="468157" cy="773444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33"/>
              <p:cNvSpPr>
                <a:spLocks/>
              </p:cNvSpPr>
              <p:nvPr/>
            </p:nvSpPr>
            <p:spPr bwMode="auto">
              <a:xfrm rot="3552097">
                <a:off x="3537644" y="3877743"/>
                <a:ext cx="173851" cy="261953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3"/>
              <p:cNvSpPr>
                <a:spLocks/>
              </p:cNvSpPr>
              <p:nvPr/>
            </p:nvSpPr>
            <p:spPr bwMode="auto">
              <a:xfrm rot="5645307">
                <a:off x="2970884" y="3411484"/>
                <a:ext cx="358879" cy="540045"/>
              </a:xfrm>
              <a:custGeom>
                <a:avLst/>
                <a:gdLst>
                  <a:gd name="T0" fmla="*/ 2147483647 w 3018"/>
                  <a:gd name="T1" fmla="*/ 2147483647 h 5092"/>
                  <a:gd name="T2" fmla="*/ 2147483647 w 3018"/>
                  <a:gd name="T3" fmla="*/ 2147483647 h 5092"/>
                  <a:gd name="T4" fmla="*/ 2147483647 w 3018"/>
                  <a:gd name="T5" fmla="*/ 2147483647 h 5092"/>
                  <a:gd name="T6" fmla="*/ 2147483647 w 3018"/>
                  <a:gd name="T7" fmla="*/ 2147483647 h 5092"/>
                  <a:gd name="T8" fmla="*/ 2147483647 w 3018"/>
                  <a:gd name="T9" fmla="*/ 2147483647 h 5092"/>
                  <a:gd name="T10" fmla="*/ 2147483647 w 3018"/>
                  <a:gd name="T11" fmla="*/ 2147483647 h 5092"/>
                  <a:gd name="T12" fmla="*/ 2147483647 w 3018"/>
                  <a:gd name="T13" fmla="*/ 2147483647 h 5092"/>
                  <a:gd name="T14" fmla="*/ 2147483647 w 3018"/>
                  <a:gd name="T15" fmla="*/ 2147483647 h 5092"/>
                  <a:gd name="T16" fmla="*/ 2147483647 w 3018"/>
                  <a:gd name="T17" fmla="*/ 2147483647 h 5092"/>
                  <a:gd name="T18" fmla="*/ 2147483647 w 3018"/>
                  <a:gd name="T19" fmla="*/ 2147483647 h 5092"/>
                  <a:gd name="T20" fmla="*/ 2147483647 w 3018"/>
                  <a:gd name="T21" fmla="*/ 2147483647 h 5092"/>
                  <a:gd name="T22" fmla="*/ 2147483647 w 3018"/>
                  <a:gd name="T23" fmla="*/ 2147483647 h 5092"/>
                  <a:gd name="T24" fmla="*/ 2147483647 w 3018"/>
                  <a:gd name="T25" fmla="*/ 2147483647 h 5092"/>
                  <a:gd name="T26" fmla="*/ 2147483647 w 3018"/>
                  <a:gd name="T27" fmla="*/ 2147483647 h 5092"/>
                  <a:gd name="T28" fmla="*/ 0 w 3018"/>
                  <a:gd name="T29" fmla="*/ 2147483647 h 5092"/>
                  <a:gd name="T30" fmla="*/ 2147483647 w 3018"/>
                  <a:gd name="T31" fmla="*/ 2147483647 h 5092"/>
                  <a:gd name="T32" fmla="*/ 2147483647 w 3018"/>
                  <a:gd name="T33" fmla="*/ 2147483647 h 5092"/>
                  <a:gd name="T34" fmla="*/ 2147483647 w 3018"/>
                  <a:gd name="T35" fmla="*/ 2147483647 h 5092"/>
                  <a:gd name="T36" fmla="*/ 2147483647 w 3018"/>
                  <a:gd name="T37" fmla="*/ 2147483647 h 5092"/>
                  <a:gd name="T38" fmla="*/ 2147483647 w 3018"/>
                  <a:gd name="T39" fmla="*/ 2147483647 h 5092"/>
                  <a:gd name="T40" fmla="*/ 2147483647 w 3018"/>
                  <a:gd name="T41" fmla="*/ 2147483647 h 5092"/>
                  <a:gd name="T42" fmla="*/ 2147483647 w 3018"/>
                  <a:gd name="T43" fmla="*/ 2147483647 h 5092"/>
                  <a:gd name="T44" fmla="*/ 2147483647 w 3018"/>
                  <a:gd name="T45" fmla="*/ 2147483647 h 5092"/>
                  <a:gd name="T46" fmla="*/ 2147483647 w 3018"/>
                  <a:gd name="T47" fmla="*/ 2147483647 h 5092"/>
                  <a:gd name="T48" fmla="*/ 2147483647 w 3018"/>
                  <a:gd name="T49" fmla="*/ 2147483647 h 5092"/>
                  <a:gd name="T50" fmla="*/ 2147483647 w 3018"/>
                  <a:gd name="T51" fmla="*/ 2147483647 h 5092"/>
                  <a:gd name="T52" fmla="*/ 2147483647 w 3018"/>
                  <a:gd name="T53" fmla="*/ 2147483647 h 5092"/>
                  <a:gd name="T54" fmla="*/ 2147483647 w 3018"/>
                  <a:gd name="T55" fmla="*/ 2147483647 h 5092"/>
                  <a:gd name="T56" fmla="*/ 2147483647 w 3018"/>
                  <a:gd name="T57" fmla="*/ 0 h 5092"/>
                  <a:gd name="T58" fmla="*/ 2147483647 w 3018"/>
                  <a:gd name="T59" fmla="*/ 2147483647 h 5092"/>
                  <a:gd name="T60" fmla="*/ 2147483647 w 3018"/>
                  <a:gd name="T61" fmla="*/ 2147483647 h 5092"/>
                  <a:gd name="T62" fmla="*/ 2147483647 w 3018"/>
                  <a:gd name="T63" fmla="*/ 2147483647 h 5092"/>
                  <a:gd name="T64" fmla="*/ 2147483647 w 3018"/>
                  <a:gd name="T65" fmla="*/ 2147483647 h 5092"/>
                  <a:gd name="T66" fmla="*/ 2147483647 w 3018"/>
                  <a:gd name="T67" fmla="*/ 2147483647 h 5092"/>
                  <a:gd name="T68" fmla="*/ 2147483647 w 3018"/>
                  <a:gd name="T69" fmla="*/ 2147483647 h 5092"/>
                  <a:gd name="T70" fmla="*/ 2147483647 w 3018"/>
                  <a:gd name="T71" fmla="*/ 2147483647 h 5092"/>
                  <a:gd name="T72" fmla="*/ 2147483647 w 3018"/>
                  <a:gd name="T73" fmla="*/ 2147483647 h 5092"/>
                  <a:gd name="T74" fmla="*/ 2147483647 w 3018"/>
                  <a:gd name="T75" fmla="*/ 2147483647 h 5092"/>
                  <a:gd name="T76" fmla="*/ 2147483647 w 3018"/>
                  <a:gd name="T77" fmla="*/ 2147483647 h 5092"/>
                  <a:gd name="T78" fmla="*/ 2147483647 w 3018"/>
                  <a:gd name="T79" fmla="*/ 2147483647 h 5092"/>
                  <a:gd name="T80" fmla="*/ 2147483647 w 3018"/>
                  <a:gd name="T81" fmla="*/ 2147483647 h 5092"/>
                  <a:gd name="T82" fmla="*/ 2147483647 w 3018"/>
                  <a:gd name="T83" fmla="*/ 2147483647 h 5092"/>
                  <a:gd name="T84" fmla="*/ 2147483647 w 3018"/>
                  <a:gd name="T85" fmla="*/ 2147483647 h 5092"/>
                  <a:gd name="T86" fmla="*/ 2147483647 w 3018"/>
                  <a:gd name="T87" fmla="*/ 2147483647 h 5092"/>
                  <a:gd name="T88" fmla="*/ 2147483647 w 3018"/>
                  <a:gd name="T89" fmla="*/ 2147483647 h 5092"/>
                  <a:gd name="T90" fmla="*/ 2147483647 w 3018"/>
                  <a:gd name="T91" fmla="*/ 2147483647 h 5092"/>
                  <a:gd name="T92" fmla="*/ 2147483647 w 3018"/>
                  <a:gd name="T93" fmla="*/ 2147483647 h 5092"/>
                  <a:gd name="T94" fmla="*/ 2147483647 w 3018"/>
                  <a:gd name="T95" fmla="*/ 2147483647 h 5092"/>
                  <a:gd name="T96" fmla="*/ 2147483647 w 3018"/>
                  <a:gd name="T97" fmla="*/ 2147483647 h 5092"/>
                  <a:gd name="T98" fmla="*/ 2147483647 w 3018"/>
                  <a:gd name="T99" fmla="*/ 2147483647 h 5092"/>
                  <a:gd name="T100" fmla="*/ 2147483647 w 3018"/>
                  <a:gd name="T101" fmla="*/ 2147483647 h 5092"/>
                  <a:gd name="T102" fmla="*/ 2147483647 w 3018"/>
                  <a:gd name="T103" fmla="*/ 2147483647 h 5092"/>
                  <a:gd name="T104" fmla="*/ 2147483647 w 3018"/>
                  <a:gd name="T105" fmla="*/ 2147483647 h 5092"/>
                  <a:gd name="T106" fmla="*/ 2147483647 w 3018"/>
                  <a:gd name="T107" fmla="*/ 2147483647 h 5092"/>
                  <a:gd name="T108" fmla="*/ 2147483647 w 3018"/>
                  <a:gd name="T109" fmla="*/ 2147483647 h 5092"/>
                  <a:gd name="T110" fmla="*/ 2147483647 w 3018"/>
                  <a:gd name="T111" fmla="*/ 2147483647 h 5092"/>
                  <a:gd name="T112" fmla="*/ 2147483647 w 3018"/>
                  <a:gd name="T113" fmla="*/ 2147483647 h 50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018"/>
                  <a:gd name="T172" fmla="*/ 0 h 5092"/>
                  <a:gd name="T173" fmla="*/ 3018 w 3018"/>
                  <a:gd name="T174" fmla="*/ 5092 h 50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018" h="5092">
                    <a:moveTo>
                      <a:pt x="1514" y="5092"/>
                    </a:moveTo>
                    <a:lnTo>
                      <a:pt x="1514" y="5092"/>
                    </a:lnTo>
                    <a:lnTo>
                      <a:pt x="1496" y="5082"/>
                    </a:lnTo>
                    <a:lnTo>
                      <a:pt x="1448" y="5056"/>
                    </a:lnTo>
                    <a:lnTo>
                      <a:pt x="1374" y="5010"/>
                    </a:lnTo>
                    <a:lnTo>
                      <a:pt x="1328" y="4980"/>
                    </a:lnTo>
                    <a:lnTo>
                      <a:pt x="1276" y="4946"/>
                    </a:lnTo>
                    <a:lnTo>
                      <a:pt x="1222" y="4906"/>
                    </a:lnTo>
                    <a:lnTo>
                      <a:pt x="1162" y="4862"/>
                    </a:lnTo>
                    <a:lnTo>
                      <a:pt x="1100" y="4812"/>
                    </a:lnTo>
                    <a:lnTo>
                      <a:pt x="1034" y="4758"/>
                    </a:lnTo>
                    <a:lnTo>
                      <a:pt x="966" y="4698"/>
                    </a:lnTo>
                    <a:lnTo>
                      <a:pt x="896" y="4632"/>
                    </a:lnTo>
                    <a:lnTo>
                      <a:pt x="826" y="4562"/>
                    </a:lnTo>
                    <a:lnTo>
                      <a:pt x="756" y="4488"/>
                    </a:lnTo>
                    <a:lnTo>
                      <a:pt x="684" y="4408"/>
                    </a:lnTo>
                    <a:lnTo>
                      <a:pt x="614" y="4322"/>
                    </a:lnTo>
                    <a:lnTo>
                      <a:pt x="544" y="4230"/>
                    </a:lnTo>
                    <a:lnTo>
                      <a:pt x="510" y="4182"/>
                    </a:lnTo>
                    <a:lnTo>
                      <a:pt x="476" y="4134"/>
                    </a:lnTo>
                    <a:lnTo>
                      <a:pt x="444" y="4084"/>
                    </a:lnTo>
                    <a:lnTo>
                      <a:pt x="412" y="4032"/>
                    </a:lnTo>
                    <a:lnTo>
                      <a:pt x="380" y="3978"/>
                    </a:lnTo>
                    <a:lnTo>
                      <a:pt x="348" y="3924"/>
                    </a:lnTo>
                    <a:lnTo>
                      <a:pt x="318" y="3868"/>
                    </a:lnTo>
                    <a:lnTo>
                      <a:pt x="290" y="3810"/>
                    </a:lnTo>
                    <a:lnTo>
                      <a:pt x="262" y="3752"/>
                    </a:lnTo>
                    <a:lnTo>
                      <a:pt x="234" y="3692"/>
                    </a:lnTo>
                    <a:lnTo>
                      <a:pt x="208" y="3630"/>
                    </a:lnTo>
                    <a:lnTo>
                      <a:pt x="184" y="3566"/>
                    </a:lnTo>
                    <a:lnTo>
                      <a:pt x="160" y="3502"/>
                    </a:lnTo>
                    <a:lnTo>
                      <a:pt x="138" y="3436"/>
                    </a:lnTo>
                    <a:lnTo>
                      <a:pt x="116" y="3368"/>
                    </a:lnTo>
                    <a:lnTo>
                      <a:pt x="98" y="3300"/>
                    </a:lnTo>
                    <a:lnTo>
                      <a:pt x="80" y="3228"/>
                    </a:lnTo>
                    <a:lnTo>
                      <a:pt x="64" y="3158"/>
                    </a:lnTo>
                    <a:lnTo>
                      <a:pt x="48" y="3084"/>
                    </a:lnTo>
                    <a:lnTo>
                      <a:pt x="36" y="3008"/>
                    </a:lnTo>
                    <a:lnTo>
                      <a:pt x="24" y="2932"/>
                    </a:lnTo>
                    <a:lnTo>
                      <a:pt x="16" y="2854"/>
                    </a:lnTo>
                    <a:lnTo>
                      <a:pt x="8" y="2776"/>
                    </a:lnTo>
                    <a:lnTo>
                      <a:pt x="4" y="2694"/>
                    </a:lnTo>
                    <a:lnTo>
                      <a:pt x="0" y="2612"/>
                    </a:lnTo>
                    <a:lnTo>
                      <a:pt x="0" y="2528"/>
                    </a:lnTo>
                    <a:lnTo>
                      <a:pt x="0" y="2444"/>
                    </a:lnTo>
                    <a:lnTo>
                      <a:pt x="4" y="2362"/>
                    </a:lnTo>
                    <a:lnTo>
                      <a:pt x="10" y="2280"/>
                    </a:lnTo>
                    <a:lnTo>
                      <a:pt x="18" y="2202"/>
                    </a:lnTo>
                    <a:lnTo>
                      <a:pt x="26" y="2124"/>
                    </a:lnTo>
                    <a:lnTo>
                      <a:pt x="38" y="2048"/>
                    </a:lnTo>
                    <a:lnTo>
                      <a:pt x="50" y="1974"/>
                    </a:lnTo>
                    <a:lnTo>
                      <a:pt x="66" y="1900"/>
                    </a:lnTo>
                    <a:lnTo>
                      <a:pt x="82" y="1828"/>
                    </a:lnTo>
                    <a:lnTo>
                      <a:pt x="100" y="1758"/>
                    </a:lnTo>
                    <a:lnTo>
                      <a:pt x="120" y="1690"/>
                    </a:lnTo>
                    <a:lnTo>
                      <a:pt x="140" y="1624"/>
                    </a:lnTo>
                    <a:lnTo>
                      <a:pt x="164" y="1558"/>
                    </a:lnTo>
                    <a:lnTo>
                      <a:pt x="186" y="1494"/>
                    </a:lnTo>
                    <a:lnTo>
                      <a:pt x="212" y="1432"/>
                    </a:lnTo>
                    <a:lnTo>
                      <a:pt x="238" y="1370"/>
                    </a:lnTo>
                    <a:lnTo>
                      <a:pt x="264" y="1310"/>
                    </a:lnTo>
                    <a:lnTo>
                      <a:pt x="294" y="1252"/>
                    </a:lnTo>
                    <a:lnTo>
                      <a:pt x="322" y="1196"/>
                    </a:lnTo>
                    <a:lnTo>
                      <a:pt x="352" y="1140"/>
                    </a:lnTo>
                    <a:lnTo>
                      <a:pt x="384" y="1086"/>
                    </a:lnTo>
                    <a:lnTo>
                      <a:pt x="416" y="1034"/>
                    </a:lnTo>
                    <a:lnTo>
                      <a:pt x="448" y="984"/>
                    </a:lnTo>
                    <a:lnTo>
                      <a:pt x="480" y="934"/>
                    </a:lnTo>
                    <a:lnTo>
                      <a:pt x="514" y="886"/>
                    </a:lnTo>
                    <a:lnTo>
                      <a:pt x="548" y="838"/>
                    </a:lnTo>
                    <a:lnTo>
                      <a:pt x="618" y="750"/>
                    </a:lnTo>
                    <a:lnTo>
                      <a:pt x="688" y="666"/>
                    </a:lnTo>
                    <a:lnTo>
                      <a:pt x="758" y="586"/>
                    </a:lnTo>
                    <a:lnTo>
                      <a:pt x="830" y="512"/>
                    </a:lnTo>
                    <a:lnTo>
                      <a:pt x="900" y="444"/>
                    </a:lnTo>
                    <a:lnTo>
                      <a:pt x="968" y="382"/>
                    </a:lnTo>
                    <a:lnTo>
                      <a:pt x="1036" y="324"/>
                    </a:lnTo>
                    <a:lnTo>
                      <a:pt x="1102" y="270"/>
                    </a:lnTo>
                    <a:lnTo>
                      <a:pt x="1164" y="222"/>
                    </a:lnTo>
                    <a:lnTo>
                      <a:pt x="1224" y="180"/>
                    </a:lnTo>
                    <a:lnTo>
                      <a:pt x="1278" y="140"/>
                    </a:lnTo>
                    <a:lnTo>
                      <a:pt x="1330" y="108"/>
                    </a:lnTo>
                    <a:lnTo>
                      <a:pt x="1374" y="78"/>
                    </a:lnTo>
                    <a:lnTo>
                      <a:pt x="1450" y="34"/>
                    </a:lnTo>
                    <a:lnTo>
                      <a:pt x="1498" y="8"/>
                    </a:lnTo>
                    <a:lnTo>
                      <a:pt x="1514" y="0"/>
                    </a:lnTo>
                    <a:lnTo>
                      <a:pt x="1530" y="10"/>
                    </a:lnTo>
                    <a:lnTo>
                      <a:pt x="1576" y="36"/>
                    </a:lnTo>
                    <a:lnTo>
                      <a:pt x="1646" y="82"/>
                    </a:lnTo>
                    <a:lnTo>
                      <a:pt x="1738" y="146"/>
                    </a:lnTo>
                    <a:lnTo>
                      <a:pt x="1792" y="186"/>
                    </a:lnTo>
                    <a:lnTo>
                      <a:pt x="1848" y="230"/>
                    </a:lnTo>
                    <a:lnTo>
                      <a:pt x="1908" y="278"/>
                    </a:lnTo>
                    <a:lnTo>
                      <a:pt x="1970" y="332"/>
                    </a:lnTo>
                    <a:lnTo>
                      <a:pt x="2036" y="390"/>
                    </a:lnTo>
                    <a:lnTo>
                      <a:pt x="2102" y="452"/>
                    </a:lnTo>
                    <a:lnTo>
                      <a:pt x="2170" y="520"/>
                    </a:lnTo>
                    <a:lnTo>
                      <a:pt x="2238" y="594"/>
                    </a:lnTo>
                    <a:lnTo>
                      <a:pt x="2306" y="670"/>
                    </a:lnTo>
                    <a:lnTo>
                      <a:pt x="2376" y="754"/>
                    </a:lnTo>
                    <a:lnTo>
                      <a:pt x="2442" y="840"/>
                    </a:lnTo>
                    <a:lnTo>
                      <a:pt x="2510" y="934"/>
                    </a:lnTo>
                    <a:lnTo>
                      <a:pt x="2574" y="1030"/>
                    </a:lnTo>
                    <a:lnTo>
                      <a:pt x="2604" y="1082"/>
                    </a:lnTo>
                    <a:lnTo>
                      <a:pt x="2636" y="1132"/>
                    </a:lnTo>
                    <a:lnTo>
                      <a:pt x="2666" y="1186"/>
                    </a:lnTo>
                    <a:lnTo>
                      <a:pt x="2694" y="1240"/>
                    </a:lnTo>
                    <a:lnTo>
                      <a:pt x="2724" y="1296"/>
                    </a:lnTo>
                    <a:lnTo>
                      <a:pt x="2750" y="1352"/>
                    </a:lnTo>
                    <a:lnTo>
                      <a:pt x="2778" y="1410"/>
                    </a:lnTo>
                    <a:lnTo>
                      <a:pt x="2802" y="1470"/>
                    </a:lnTo>
                    <a:lnTo>
                      <a:pt x="2828" y="1530"/>
                    </a:lnTo>
                    <a:lnTo>
                      <a:pt x="2850" y="1592"/>
                    </a:lnTo>
                    <a:lnTo>
                      <a:pt x="2872" y="1656"/>
                    </a:lnTo>
                    <a:lnTo>
                      <a:pt x="2894" y="1720"/>
                    </a:lnTo>
                    <a:lnTo>
                      <a:pt x="2912" y="1786"/>
                    </a:lnTo>
                    <a:lnTo>
                      <a:pt x="2930" y="1854"/>
                    </a:lnTo>
                    <a:lnTo>
                      <a:pt x="2948" y="1922"/>
                    </a:lnTo>
                    <a:lnTo>
                      <a:pt x="2962" y="1992"/>
                    </a:lnTo>
                    <a:lnTo>
                      <a:pt x="2976" y="2062"/>
                    </a:lnTo>
                    <a:lnTo>
                      <a:pt x="2986" y="2134"/>
                    </a:lnTo>
                    <a:lnTo>
                      <a:pt x="2996" y="2208"/>
                    </a:lnTo>
                    <a:lnTo>
                      <a:pt x="3006" y="2284"/>
                    </a:lnTo>
                    <a:lnTo>
                      <a:pt x="3012" y="2360"/>
                    </a:lnTo>
                    <a:lnTo>
                      <a:pt x="3016" y="2436"/>
                    </a:lnTo>
                    <a:lnTo>
                      <a:pt x="3018" y="2514"/>
                    </a:lnTo>
                    <a:lnTo>
                      <a:pt x="3018" y="2590"/>
                    </a:lnTo>
                    <a:lnTo>
                      <a:pt x="3016" y="2666"/>
                    </a:lnTo>
                    <a:lnTo>
                      <a:pt x="3014" y="2740"/>
                    </a:lnTo>
                    <a:lnTo>
                      <a:pt x="3008" y="2814"/>
                    </a:lnTo>
                    <a:lnTo>
                      <a:pt x="3002" y="2886"/>
                    </a:lnTo>
                    <a:lnTo>
                      <a:pt x="2992" y="2956"/>
                    </a:lnTo>
                    <a:lnTo>
                      <a:pt x="2982" y="3026"/>
                    </a:lnTo>
                    <a:lnTo>
                      <a:pt x="2970" y="3094"/>
                    </a:lnTo>
                    <a:lnTo>
                      <a:pt x="2956" y="3162"/>
                    </a:lnTo>
                    <a:lnTo>
                      <a:pt x="2942" y="3228"/>
                    </a:lnTo>
                    <a:lnTo>
                      <a:pt x="2926" y="3294"/>
                    </a:lnTo>
                    <a:lnTo>
                      <a:pt x="2908" y="3358"/>
                    </a:lnTo>
                    <a:lnTo>
                      <a:pt x="2888" y="3422"/>
                    </a:lnTo>
                    <a:lnTo>
                      <a:pt x="2868" y="3484"/>
                    </a:lnTo>
                    <a:lnTo>
                      <a:pt x="2848" y="3544"/>
                    </a:lnTo>
                    <a:lnTo>
                      <a:pt x="2824" y="3604"/>
                    </a:lnTo>
                    <a:lnTo>
                      <a:pt x="2800" y="3662"/>
                    </a:lnTo>
                    <a:lnTo>
                      <a:pt x="2776" y="3720"/>
                    </a:lnTo>
                    <a:lnTo>
                      <a:pt x="2750" y="3776"/>
                    </a:lnTo>
                    <a:lnTo>
                      <a:pt x="2724" y="3830"/>
                    </a:lnTo>
                    <a:lnTo>
                      <a:pt x="2696" y="3884"/>
                    </a:lnTo>
                    <a:lnTo>
                      <a:pt x="2668" y="3938"/>
                    </a:lnTo>
                    <a:lnTo>
                      <a:pt x="2640" y="3988"/>
                    </a:lnTo>
                    <a:lnTo>
                      <a:pt x="2580" y="4088"/>
                    </a:lnTo>
                    <a:lnTo>
                      <a:pt x="2516" y="4184"/>
                    </a:lnTo>
                    <a:lnTo>
                      <a:pt x="2452" y="4274"/>
                    </a:lnTo>
                    <a:lnTo>
                      <a:pt x="2388" y="4360"/>
                    </a:lnTo>
                    <a:lnTo>
                      <a:pt x="2320" y="4442"/>
                    </a:lnTo>
                    <a:lnTo>
                      <a:pt x="2254" y="4518"/>
                    </a:lnTo>
                    <a:lnTo>
                      <a:pt x="2186" y="4590"/>
                    </a:lnTo>
                    <a:lnTo>
                      <a:pt x="2120" y="4658"/>
                    </a:lnTo>
                    <a:lnTo>
                      <a:pt x="2054" y="4720"/>
                    </a:lnTo>
                    <a:lnTo>
                      <a:pt x="1990" y="4778"/>
                    </a:lnTo>
                    <a:lnTo>
                      <a:pt x="1926" y="4830"/>
                    </a:lnTo>
                    <a:lnTo>
                      <a:pt x="1866" y="4878"/>
                    </a:lnTo>
                    <a:lnTo>
                      <a:pt x="1808" y="4922"/>
                    </a:lnTo>
                    <a:lnTo>
                      <a:pt x="1754" y="4960"/>
                    </a:lnTo>
                    <a:lnTo>
                      <a:pt x="1702" y="4994"/>
                    </a:lnTo>
                    <a:lnTo>
                      <a:pt x="1654" y="5024"/>
                    </a:lnTo>
                    <a:lnTo>
                      <a:pt x="1612" y="5048"/>
                    </a:lnTo>
                    <a:lnTo>
                      <a:pt x="1574" y="5068"/>
                    </a:lnTo>
                    <a:lnTo>
                      <a:pt x="1540" y="5082"/>
                    </a:lnTo>
                    <a:lnTo>
                      <a:pt x="1514" y="509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9654" y="3228115"/>
            <a:ext cx="3467419" cy="2600564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4933175" y="1462482"/>
            <a:ext cx="29007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3366FF"/>
                </a:solidFill>
              </a:rPr>
              <a:t>Go after the big transformational items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462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95023" y="817582"/>
            <a:ext cx="6965245" cy="1044095"/>
          </a:xfr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rgbClr val="3366FF"/>
                </a:solidFill>
              </a:rPr>
              <a:t>Agile Project Management's </a:t>
            </a:r>
            <a:r>
              <a:rPr lang="en-US" sz="4000" dirty="0" err="1">
                <a:solidFill>
                  <a:srgbClr val="3366FF"/>
                </a:solidFill>
              </a:rPr>
              <a:t>LifeCycle</a:t>
            </a:r>
            <a:r>
              <a:rPr lang="en-US" sz="4000" dirty="0">
                <a:solidFill>
                  <a:srgbClr val="3366FF"/>
                </a:solidFill>
              </a:rPr>
              <a:t> Includes five phases: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875407" y="1861677"/>
            <a:ext cx="7459457" cy="4290488"/>
          </a:xfrm>
        </p:spPr>
        <p:txBody>
          <a:bodyPr>
            <a:normAutofit fontScale="85000" lnSpcReduction="20000"/>
          </a:bodyPr>
          <a:lstStyle/>
          <a:p>
            <a:pPr marL="0" lvl="0" indent="0">
              <a:buNone/>
            </a:pPr>
            <a:r>
              <a:rPr lang="en-US" sz="2300" b="1" i="1" dirty="0">
                <a:solidFill>
                  <a:srgbClr val="3366FF"/>
                </a:solidFill>
              </a:rPr>
              <a:t>Envision</a:t>
            </a:r>
            <a:r>
              <a:rPr lang="en-US" sz="2300" dirty="0"/>
              <a:t> - </a:t>
            </a:r>
            <a:r>
              <a:rPr lang="en-US" sz="2100" dirty="0"/>
              <a:t>ascertaining the product vision, assigning accountability for who will be doing what, clarifying roles and responsibilities, and laying the foundation in how the team will work together</a:t>
            </a:r>
            <a:r>
              <a:rPr lang="en-US" sz="2100" dirty="0" smtClean="0"/>
              <a:t>.</a:t>
            </a:r>
          </a:p>
          <a:p>
            <a:pPr marL="0" lvl="0" indent="0">
              <a:buNone/>
            </a:pPr>
            <a:endParaRPr lang="en-US" sz="2300" dirty="0"/>
          </a:p>
          <a:p>
            <a:pPr marL="0" lvl="0" indent="0">
              <a:buNone/>
            </a:pPr>
            <a:r>
              <a:rPr lang="en-US" sz="2300" b="1" i="1" dirty="0">
                <a:solidFill>
                  <a:srgbClr val="3366FF"/>
                </a:solidFill>
              </a:rPr>
              <a:t>Speculate</a:t>
            </a:r>
            <a:r>
              <a:rPr lang="en-US" sz="2300" dirty="0"/>
              <a:t> - </a:t>
            </a:r>
            <a:r>
              <a:rPr lang="en-US" sz="2100" dirty="0"/>
              <a:t>discerning the feature-based release, milestone, and iterative plan</a:t>
            </a:r>
            <a:r>
              <a:rPr lang="en-US" sz="2100" dirty="0" smtClean="0"/>
              <a:t>.</a:t>
            </a:r>
          </a:p>
          <a:p>
            <a:pPr marL="0" lvl="0" indent="0">
              <a:buNone/>
            </a:pPr>
            <a:endParaRPr lang="en-US" sz="2100" dirty="0"/>
          </a:p>
          <a:p>
            <a:pPr marL="0" lvl="0" indent="0">
              <a:buNone/>
            </a:pPr>
            <a:r>
              <a:rPr lang="en-US" sz="2300" b="1" i="1" dirty="0">
                <a:solidFill>
                  <a:srgbClr val="3366FF"/>
                </a:solidFill>
              </a:rPr>
              <a:t>Iteratively deliver features</a:t>
            </a:r>
            <a:r>
              <a:rPr lang="en-US" sz="2300" dirty="0"/>
              <a:t> - </a:t>
            </a:r>
            <a:r>
              <a:rPr lang="en-US" sz="2100" dirty="0"/>
              <a:t>deliver the tested features in quick turnaround </a:t>
            </a:r>
            <a:r>
              <a:rPr lang="en-US" sz="2100" dirty="0" smtClean="0"/>
              <a:t>timeframes</a:t>
            </a:r>
          </a:p>
          <a:p>
            <a:pPr marL="0" lvl="0" indent="0">
              <a:buNone/>
            </a:pPr>
            <a:endParaRPr lang="en-US" sz="2100" dirty="0"/>
          </a:p>
          <a:p>
            <a:pPr marL="0" lvl="0" indent="0">
              <a:buNone/>
            </a:pPr>
            <a:r>
              <a:rPr lang="en-US" sz="2300" b="1" i="1" dirty="0">
                <a:solidFill>
                  <a:srgbClr val="3366FF"/>
                </a:solidFill>
              </a:rPr>
              <a:t>Monitor and Adapt</a:t>
            </a:r>
            <a:r>
              <a:rPr lang="en-US" sz="2300" dirty="0"/>
              <a:t> - </a:t>
            </a:r>
            <a:r>
              <a:rPr lang="en-US" sz="2100" dirty="0"/>
              <a:t>review the deliverables, the current business environment, and the team's performance - and make changes as </a:t>
            </a:r>
            <a:r>
              <a:rPr lang="en-US" sz="2100" dirty="0" smtClean="0"/>
              <a:t>necessary</a:t>
            </a:r>
          </a:p>
          <a:p>
            <a:pPr marL="0" lvl="0" indent="0">
              <a:buNone/>
            </a:pPr>
            <a:endParaRPr lang="en-US" sz="2100" dirty="0"/>
          </a:p>
          <a:p>
            <a:pPr marL="0" lvl="0" indent="0">
              <a:buNone/>
            </a:pPr>
            <a:r>
              <a:rPr lang="en-US" sz="2300" b="1" i="1" dirty="0">
                <a:solidFill>
                  <a:srgbClr val="3366FF"/>
                </a:solidFill>
              </a:rPr>
              <a:t>Close</a:t>
            </a:r>
            <a:r>
              <a:rPr lang="en-US" sz="2300" dirty="0"/>
              <a:t> - </a:t>
            </a:r>
            <a:r>
              <a:rPr lang="en-US" sz="1900" dirty="0"/>
              <a:t>conclude the project, resolve any outstanding items, and reward the team. </a:t>
            </a:r>
            <a:r>
              <a:rPr lang="en-US" sz="1000" dirty="0"/>
              <a:t>(http://</a:t>
            </a:r>
            <a:r>
              <a:rPr lang="en-US" sz="1000" dirty="0" err="1"/>
              <a:t>www.anticlue.net</a:t>
            </a:r>
            <a:r>
              <a:rPr lang="en-US" sz="1000" dirty="0"/>
              <a:t>/archives/000988.htm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1970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8" name="Group 9"/>
          <p:cNvGrpSpPr>
            <a:grpSpLocks/>
          </p:cNvGrpSpPr>
          <p:nvPr/>
        </p:nvGrpSpPr>
        <p:grpSpPr bwMode="auto">
          <a:xfrm>
            <a:off x="5170874" y="1384317"/>
            <a:ext cx="3742081" cy="3888887"/>
            <a:chOff x="1994222" y="1225825"/>
            <a:chExt cx="5778178" cy="4717775"/>
          </a:xfrm>
        </p:grpSpPr>
        <p:sp>
          <p:nvSpPr>
            <p:cNvPr id="6" name="Oval Callout 5"/>
            <p:cNvSpPr/>
            <p:nvPr/>
          </p:nvSpPr>
          <p:spPr>
            <a:xfrm>
              <a:off x="1994222" y="1225825"/>
              <a:ext cx="5778178" cy="3193775"/>
            </a:xfrm>
            <a:prstGeom prst="wedgeEllipseCallout">
              <a:avLst>
                <a:gd name="adj1" fmla="val -27848"/>
                <a:gd name="adj2" fmla="val 67576"/>
              </a:avLst>
            </a:prstGeom>
            <a:solidFill>
              <a:schemeClr val="accent1">
                <a:lumMod val="75000"/>
              </a:schemeClr>
            </a:solidFill>
            <a:ln w="92075">
              <a:gradFill flip="none" rotWithShape="1">
                <a:gsLst>
                  <a:gs pos="14000">
                    <a:schemeClr val="bg1">
                      <a:lumMod val="50000"/>
                    </a:schemeClr>
                  </a:gs>
                  <a:gs pos="73000">
                    <a:srgbClr val="FFFFFF"/>
                  </a:gs>
                  <a:gs pos="21000">
                    <a:schemeClr val="tx1">
                      <a:lumMod val="75000"/>
                      <a:lumOff val="25000"/>
                    </a:schemeClr>
                  </a:gs>
                  <a:gs pos="28000">
                    <a:schemeClr val="bg1">
                      <a:lumMod val="65000"/>
                    </a:schemeClr>
                  </a:gs>
                  <a:gs pos="100000">
                    <a:schemeClr val="bg1">
                      <a:lumMod val="5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2970243" y="1429177"/>
              <a:ext cx="3812581" cy="1220114"/>
            </a:xfrm>
            <a:prstGeom prst="ellipse">
              <a:avLst/>
            </a:prstGeom>
            <a:gradFill>
              <a:gsLst>
                <a:gs pos="0">
                  <a:schemeClr val="bg1">
                    <a:lumMod val="95000"/>
                    <a:alpha val="56000"/>
                  </a:schemeClr>
                </a:gs>
                <a:gs pos="68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  <p:sp>
          <p:nvSpPr>
            <p:cNvPr id="16422" name="TextBox 7"/>
            <p:cNvSpPr txBox="1">
              <a:spLocks noChangeArrowheads="1"/>
            </p:cNvSpPr>
            <p:nvPr/>
          </p:nvSpPr>
          <p:spPr bwMode="auto">
            <a:xfrm>
              <a:off x="1994222" y="2373642"/>
              <a:ext cx="5778178" cy="69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nb-NO" sz="2000" dirty="0"/>
            </a:p>
          </p:txBody>
        </p:sp>
        <p:sp>
          <p:nvSpPr>
            <p:cNvPr id="9" name="Oval 8"/>
            <p:cNvSpPr/>
            <p:nvPr/>
          </p:nvSpPr>
          <p:spPr>
            <a:xfrm>
              <a:off x="2438177" y="5181028"/>
              <a:ext cx="5015661" cy="762572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alpha val="5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404717"/>
            <a:ext cx="7886700" cy="461665"/>
          </a:xfrm>
        </p:spPr>
        <p:txBody>
          <a:bodyPr>
            <a:noAutofit/>
          </a:bodyPr>
          <a:lstStyle/>
          <a:p>
            <a:r>
              <a:rPr lang="nb-NO" sz="3200" dirty="0"/>
              <a:t>Stop </a:t>
            </a:r>
            <a:r>
              <a:rPr lang="nb-NO" sz="3200" dirty="0" err="1"/>
              <a:t>Making</a:t>
            </a:r>
            <a:r>
              <a:rPr lang="nb-NO" sz="3200" dirty="0"/>
              <a:t> </a:t>
            </a:r>
            <a:r>
              <a:rPr lang="nb-NO" sz="3200" dirty="0" smtClean="0"/>
              <a:t>Plans, </a:t>
            </a:r>
            <a:r>
              <a:rPr lang="nb-NO" sz="3200" dirty="0"/>
              <a:t>Start </a:t>
            </a:r>
            <a:r>
              <a:rPr lang="nb-NO" sz="3200" dirty="0" err="1"/>
              <a:t>Making</a:t>
            </a:r>
            <a:r>
              <a:rPr lang="nb-NO" sz="3200" dirty="0"/>
              <a:t> </a:t>
            </a:r>
            <a:r>
              <a:rPr lang="nb-NO" sz="3200" dirty="0" err="1"/>
              <a:t>Decisions</a:t>
            </a:r>
            <a:endParaRPr lang="nb-NO" sz="3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46221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80000"/>
              </a:lnSpc>
            </a:pPr>
            <a:r>
              <a:rPr lang="en-US" dirty="0" err="1" smtClean="0"/>
              <a:t>Mankins</a:t>
            </a:r>
            <a:r>
              <a:rPr lang="en-US" dirty="0" smtClean="0"/>
              <a:t>, M.C. &amp; </a:t>
            </a:r>
            <a:r>
              <a:rPr lang="en-US" dirty="0" err="1" smtClean="0"/>
              <a:t>Stelle</a:t>
            </a:r>
            <a:r>
              <a:rPr lang="en-US" dirty="0" smtClean="0"/>
              <a:t>, R. (2006). Harvard Business Review, 84(1), 76-78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352309" y="1980735"/>
            <a:ext cx="325447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/>
              <a:t>”</a:t>
            </a:r>
            <a:r>
              <a:rPr lang="nb-NO" dirty="0" err="1"/>
              <a:t>failur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most </a:t>
            </a:r>
            <a:r>
              <a:rPr lang="nb-NO" dirty="0" err="1"/>
              <a:t>strategic</a:t>
            </a:r>
            <a:r>
              <a:rPr lang="nb-NO" dirty="0"/>
              <a:t> planning is due to </a:t>
            </a:r>
            <a:r>
              <a:rPr lang="nb-NO" dirty="0" err="1"/>
              <a:t>two</a:t>
            </a:r>
            <a:r>
              <a:rPr lang="nb-NO" dirty="0"/>
              <a:t> </a:t>
            </a:r>
            <a:r>
              <a:rPr lang="nb-NO" dirty="0" err="1"/>
              <a:t>factors</a:t>
            </a:r>
            <a:r>
              <a:rPr lang="nb-NO" dirty="0"/>
              <a:t>: It is </a:t>
            </a:r>
            <a:r>
              <a:rPr lang="nb-NO" dirty="0" err="1"/>
              <a:t>typically</a:t>
            </a:r>
            <a:r>
              <a:rPr lang="nb-NO" dirty="0"/>
              <a:t> an </a:t>
            </a:r>
            <a:r>
              <a:rPr lang="nb-NO" dirty="0" err="1"/>
              <a:t>annual</a:t>
            </a:r>
            <a:r>
              <a:rPr lang="nb-NO" dirty="0"/>
              <a:t> </a:t>
            </a:r>
            <a:r>
              <a:rPr lang="nb-NO" dirty="0" err="1"/>
              <a:t>process</a:t>
            </a:r>
            <a:r>
              <a:rPr lang="nb-NO" dirty="0"/>
              <a:t>, and it is most </a:t>
            </a:r>
            <a:r>
              <a:rPr lang="nb-NO" dirty="0" err="1"/>
              <a:t>often</a:t>
            </a:r>
            <a:r>
              <a:rPr lang="nb-NO" dirty="0"/>
              <a:t> </a:t>
            </a:r>
            <a:r>
              <a:rPr lang="nb-NO" dirty="0" err="1" smtClean="0"/>
              <a:t>focused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individual</a:t>
            </a:r>
            <a:r>
              <a:rPr lang="nb-NO" dirty="0" smtClean="0"/>
              <a:t> units”</a:t>
            </a:r>
            <a:endParaRPr lang="nb-NO" dirty="0"/>
          </a:p>
        </p:txBody>
      </p:sp>
      <p:grpSp>
        <p:nvGrpSpPr>
          <p:cNvPr id="38" name="Group 9"/>
          <p:cNvGrpSpPr>
            <a:grpSpLocks/>
          </p:cNvGrpSpPr>
          <p:nvPr/>
        </p:nvGrpSpPr>
        <p:grpSpPr bwMode="auto">
          <a:xfrm>
            <a:off x="129720" y="1241869"/>
            <a:ext cx="4343082" cy="4263115"/>
            <a:chOff x="1994222" y="1225825"/>
            <a:chExt cx="5778178" cy="4717775"/>
          </a:xfrm>
        </p:grpSpPr>
        <p:sp>
          <p:nvSpPr>
            <p:cNvPr id="39" name="Oval Callout 38"/>
            <p:cNvSpPr/>
            <p:nvPr/>
          </p:nvSpPr>
          <p:spPr>
            <a:xfrm>
              <a:off x="1994222" y="1225825"/>
              <a:ext cx="5778178" cy="3193775"/>
            </a:xfrm>
            <a:prstGeom prst="wedgeEllipseCallout">
              <a:avLst>
                <a:gd name="adj1" fmla="val -27848"/>
                <a:gd name="adj2" fmla="val 67576"/>
              </a:avLst>
            </a:prstGeom>
            <a:solidFill>
              <a:schemeClr val="accent1">
                <a:lumMod val="75000"/>
              </a:schemeClr>
            </a:solidFill>
            <a:ln w="92075">
              <a:gradFill flip="none" rotWithShape="1">
                <a:gsLst>
                  <a:gs pos="14000">
                    <a:schemeClr val="bg1">
                      <a:lumMod val="50000"/>
                    </a:schemeClr>
                  </a:gs>
                  <a:gs pos="73000">
                    <a:srgbClr val="FFFFFF"/>
                  </a:gs>
                  <a:gs pos="21000">
                    <a:schemeClr val="tx1">
                      <a:lumMod val="75000"/>
                      <a:lumOff val="25000"/>
                    </a:schemeClr>
                  </a:gs>
                  <a:gs pos="28000">
                    <a:schemeClr val="bg1">
                      <a:lumMod val="65000"/>
                    </a:schemeClr>
                  </a:gs>
                  <a:gs pos="100000">
                    <a:schemeClr val="bg1">
                      <a:lumMod val="5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2970243" y="1429177"/>
              <a:ext cx="3812581" cy="1220114"/>
            </a:xfrm>
            <a:prstGeom prst="ellipse">
              <a:avLst/>
            </a:prstGeom>
            <a:gradFill>
              <a:gsLst>
                <a:gs pos="0">
                  <a:schemeClr val="bg1">
                    <a:lumMod val="95000"/>
                    <a:alpha val="56000"/>
                  </a:schemeClr>
                </a:gs>
                <a:gs pos="68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  <p:sp>
          <p:nvSpPr>
            <p:cNvPr id="41" name="TextBox 7"/>
            <p:cNvSpPr txBox="1">
              <a:spLocks noChangeArrowheads="1"/>
            </p:cNvSpPr>
            <p:nvPr/>
          </p:nvSpPr>
          <p:spPr bwMode="auto">
            <a:xfrm>
              <a:off x="1994222" y="2373642"/>
              <a:ext cx="5778178" cy="69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nb-NO" sz="2000" dirty="0"/>
            </a:p>
          </p:txBody>
        </p:sp>
        <p:sp>
          <p:nvSpPr>
            <p:cNvPr id="42" name="Oval 41"/>
            <p:cNvSpPr/>
            <p:nvPr/>
          </p:nvSpPr>
          <p:spPr>
            <a:xfrm>
              <a:off x="2438177" y="5181028"/>
              <a:ext cx="5015661" cy="762572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alpha val="5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</p:grpSp>
      <p:sp>
        <p:nvSpPr>
          <p:cNvPr id="43" name="Rectangle 42"/>
          <p:cNvSpPr/>
          <p:nvPr/>
        </p:nvSpPr>
        <p:spPr>
          <a:xfrm>
            <a:off x="431283" y="1894990"/>
            <a:ext cx="3724009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”forward </a:t>
            </a:r>
            <a:r>
              <a:rPr lang="nb-NO" dirty="0" err="1" smtClean="0"/>
              <a:t>looking</a:t>
            </a:r>
            <a:r>
              <a:rPr lang="nb-NO" dirty="0" smtClean="0"/>
              <a:t> </a:t>
            </a:r>
            <a:r>
              <a:rPr lang="nb-NO" dirty="0" err="1" smtClean="0"/>
              <a:t>companies</a:t>
            </a:r>
            <a:r>
              <a:rPr lang="nb-NO" dirty="0" smtClean="0"/>
              <a:t> have </a:t>
            </a:r>
            <a:r>
              <a:rPr lang="nb-NO" dirty="0" err="1" smtClean="0"/>
              <a:t>thrown</a:t>
            </a:r>
            <a:r>
              <a:rPr lang="nb-NO" dirty="0" smtClean="0"/>
              <a:t> </a:t>
            </a:r>
            <a:r>
              <a:rPr lang="nb-NO" dirty="0" err="1" smtClean="0"/>
              <a:t>out</a:t>
            </a:r>
            <a:r>
              <a:rPr lang="nb-NO" dirty="0" smtClean="0"/>
              <a:t> </a:t>
            </a:r>
            <a:r>
              <a:rPr lang="nb-NO" dirty="0" err="1" smtClean="0"/>
              <a:t>their</a:t>
            </a:r>
            <a:r>
              <a:rPr lang="nb-NO" dirty="0" smtClean="0"/>
              <a:t> </a:t>
            </a:r>
            <a:r>
              <a:rPr lang="nb-NO" dirty="0" err="1" smtClean="0"/>
              <a:t>calendar</a:t>
            </a:r>
            <a:r>
              <a:rPr lang="nb-NO" dirty="0" smtClean="0"/>
              <a:t>-driven, business-unit-</a:t>
            </a:r>
            <a:r>
              <a:rPr lang="nb-NO" dirty="0" err="1" smtClean="0"/>
              <a:t>focused</a:t>
            </a:r>
            <a:r>
              <a:rPr lang="nb-NO" dirty="0" smtClean="0"/>
              <a:t> planning </a:t>
            </a:r>
            <a:r>
              <a:rPr lang="nb-NO" dirty="0" err="1" smtClean="0"/>
              <a:t>processes</a:t>
            </a:r>
            <a:r>
              <a:rPr lang="nb-NO" dirty="0" smtClean="0"/>
              <a:t> and </a:t>
            </a:r>
            <a:r>
              <a:rPr lang="nb-NO" dirty="0" err="1" smtClean="0"/>
              <a:t>replaced</a:t>
            </a:r>
            <a:r>
              <a:rPr lang="nb-NO" dirty="0" smtClean="0"/>
              <a:t> </a:t>
            </a:r>
            <a:r>
              <a:rPr lang="nb-NO" dirty="0" err="1" smtClean="0"/>
              <a:t>them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</a:t>
            </a:r>
            <a:r>
              <a:rPr lang="nb-NO" dirty="0" err="1" smtClean="0"/>
              <a:t>continuous</a:t>
            </a:r>
            <a:r>
              <a:rPr lang="nb-NO" dirty="0" smtClean="0"/>
              <a:t>, </a:t>
            </a:r>
            <a:r>
              <a:rPr lang="nb-NO" dirty="0" err="1" smtClean="0"/>
              <a:t>issues-focused</a:t>
            </a:r>
            <a:r>
              <a:rPr lang="nb-NO" dirty="0" smtClean="0"/>
              <a:t> </a:t>
            </a:r>
            <a:r>
              <a:rPr lang="nb-NO" dirty="0" err="1" smtClean="0"/>
              <a:t>decision</a:t>
            </a:r>
            <a:r>
              <a:rPr lang="nb-NO" dirty="0" smtClean="0"/>
              <a:t> </a:t>
            </a:r>
            <a:r>
              <a:rPr lang="nb-NO" dirty="0" err="1" smtClean="0"/>
              <a:t>making</a:t>
            </a:r>
            <a:r>
              <a:rPr lang="nb-NO" dirty="0" smtClean="0"/>
              <a:t>”</a:t>
            </a:r>
            <a:endParaRPr lang="nb-NO" dirty="0"/>
          </a:p>
        </p:txBody>
      </p:sp>
      <p:grpSp>
        <p:nvGrpSpPr>
          <p:cNvPr id="44" name="Group 9"/>
          <p:cNvGrpSpPr>
            <a:grpSpLocks/>
          </p:cNvGrpSpPr>
          <p:nvPr/>
        </p:nvGrpSpPr>
        <p:grpSpPr bwMode="auto">
          <a:xfrm>
            <a:off x="2658459" y="3680020"/>
            <a:ext cx="3742081" cy="3888887"/>
            <a:chOff x="1994222" y="1225825"/>
            <a:chExt cx="5778178" cy="4717775"/>
          </a:xfrm>
        </p:grpSpPr>
        <p:sp>
          <p:nvSpPr>
            <p:cNvPr id="45" name="Oval Callout 44"/>
            <p:cNvSpPr/>
            <p:nvPr/>
          </p:nvSpPr>
          <p:spPr>
            <a:xfrm>
              <a:off x="1994222" y="1225825"/>
              <a:ext cx="5778178" cy="3193775"/>
            </a:xfrm>
            <a:prstGeom prst="wedgeEllipseCallout">
              <a:avLst>
                <a:gd name="adj1" fmla="val -27848"/>
                <a:gd name="adj2" fmla="val 67576"/>
              </a:avLst>
            </a:prstGeom>
            <a:solidFill>
              <a:schemeClr val="accent1">
                <a:lumMod val="75000"/>
              </a:schemeClr>
            </a:solidFill>
            <a:ln w="92075">
              <a:gradFill flip="none" rotWithShape="1">
                <a:gsLst>
                  <a:gs pos="14000">
                    <a:schemeClr val="bg1">
                      <a:lumMod val="50000"/>
                    </a:schemeClr>
                  </a:gs>
                  <a:gs pos="73000">
                    <a:srgbClr val="FFFFFF"/>
                  </a:gs>
                  <a:gs pos="21000">
                    <a:schemeClr val="tx1">
                      <a:lumMod val="75000"/>
                      <a:lumOff val="25000"/>
                    </a:schemeClr>
                  </a:gs>
                  <a:gs pos="28000">
                    <a:schemeClr val="bg1">
                      <a:lumMod val="65000"/>
                    </a:schemeClr>
                  </a:gs>
                  <a:gs pos="100000">
                    <a:schemeClr val="bg1">
                      <a:lumMod val="5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2970243" y="1429177"/>
              <a:ext cx="3812581" cy="1220114"/>
            </a:xfrm>
            <a:prstGeom prst="ellipse">
              <a:avLst/>
            </a:prstGeom>
            <a:gradFill>
              <a:gsLst>
                <a:gs pos="0">
                  <a:schemeClr val="bg1">
                    <a:lumMod val="95000"/>
                    <a:alpha val="56000"/>
                  </a:schemeClr>
                </a:gs>
                <a:gs pos="68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  <p:sp>
          <p:nvSpPr>
            <p:cNvPr id="47" name="TextBox 7"/>
            <p:cNvSpPr txBox="1">
              <a:spLocks noChangeArrowheads="1"/>
            </p:cNvSpPr>
            <p:nvPr/>
          </p:nvSpPr>
          <p:spPr bwMode="auto">
            <a:xfrm>
              <a:off x="1994222" y="2373642"/>
              <a:ext cx="5778178" cy="69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nb-NO" sz="2000" dirty="0"/>
            </a:p>
          </p:txBody>
        </p:sp>
        <p:sp>
          <p:nvSpPr>
            <p:cNvPr id="48" name="Oval 47"/>
            <p:cNvSpPr/>
            <p:nvPr/>
          </p:nvSpPr>
          <p:spPr>
            <a:xfrm>
              <a:off x="2438177" y="5181028"/>
              <a:ext cx="5015661" cy="762572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alpha val="5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</p:grpSp>
      <p:sp>
        <p:nvSpPr>
          <p:cNvPr id="49" name="Rectangle 48"/>
          <p:cNvSpPr/>
          <p:nvPr/>
        </p:nvSpPr>
        <p:spPr>
          <a:xfrm>
            <a:off x="3009989" y="4287777"/>
            <a:ext cx="325447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”</a:t>
            </a:r>
            <a:r>
              <a:rPr lang="nb-NO" dirty="0" err="1" smtClean="0"/>
              <a:t>effective</a:t>
            </a:r>
            <a:r>
              <a:rPr lang="nb-NO" dirty="0" smtClean="0"/>
              <a:t> </a:t>
            </a:r>
            <a:r>
              <a:rPr lang="nb-NO" dirty="0" err="1" smtClean="0"/>
              <a:t>strategy</a:t>
            </a:r>
            <a:r>
              <a:rPr lang="nb-NO" dirty="0" smtClean="0"/>
              <a:t> </a:t>
            </a:r>
            <a:r>
              <a:rPr lang="nb-NO" dirty="0" err="1" smtClean="0"/>
              <a:t>planners</a:t>
            </a:r>
            <a:r>
              <a:rPr lang="nb-NO" dirty="0" smtClean="0"/>
              <a:t> </a:t>
            </a:r>
            <a:r>
              <a:rPr lang="nb-NO" dirty="0" err="1" smtClean="0"/>
              <a:t>spread</a:t>
            </a:r>
            <a:r>
              <a:rPr lang="nb-NO" dirty="0" smtClean="0"/>
              <a:t> </a:t>
            </a:r>
            <a:r>
              <a:rPr lang="nb-NO" dirty="0" err="1" smtClean="0"/>
              <a:t>strategy</a:t>
            </a:r>
            <a:r>
              <a:rPr lang="nb-NO" dirty="0" smtClean="0"/>
              <a:t> </a:t>
            </a:r>
            <a:r>
              <a:rPr lang="nb-NO" dirty="0" err="1" smtClean="0"/>
              <a:t>reviews</a:t>
            </a:r>
            <a:r>
              <a:rPr lang="nb-NO" dirty="0" smtClean="0"/>
              <a:t> </a:t>
            </a:r>
            <a:r>
              <a:rPr lang="nb-NO" dirty="0" err="1" smtClean="0"/>
              <a:t>throughout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year</a:t>
            </a:r>
            <a:r>
              <a:rPr lang="nb-NO" dirty="0" smtClean="0"/>
              <a:t> </a:t>
            </a:r>
            <a:r>
              <a:rPr lang="nb-NO" dirty="0" err="1" smtClean="0"/>
              <a:t>rather</a:t>
            </a:r>
            <a:r>
              <a:rPr lang="nb-NO" dirty="0" smtClean="0"/>
              <a:t> </a:t>
            </a:r>
            <a:r>
              <a:rPr lang="nb-NO" dirty="0" err="1" smtClean="0"/>
              <a:t>than</a:t>
            </a:r>
            <a:r>
              <a:rPr lang="nb-NO" dirty="0" smtClean="0"/>
              <a:t> </a:t>
            </a:r>
            <a:r>
              <a:rPr lang="nb-NO" dirty="0" err="1" smtClean="0"/>
              <a:t>squeeze</a:t>
            </a:r>
            <a:r>
              <a:rPr lang="nb-NO" dirty="0" smtClean="0"/>
              <a:t> </a:t>
            </a:r>
            <a:r>
              <a:rPr lang="nb-NO" dirty="0" err="1" smtClean="0"/>
              <a:t>them</a:t>
            </a:r>
            <a:r>
              <a:rPr lang="nb-NO" dirty="0" smtClean="0"/>
              <a:t> </a:t>
            </a:r>
            <a:r>
              <a:rPr lang="nb-NO" dirty="0" err="1" smtClean="0"/>
              <a:t>into</a:t>
            </a:r>
            <a:r>
              <a:rPr lang="nb-NO" dirty="0" smtClean="0"/>
              <a:t> a </a:t>
            </a:r>
            <a:r>
              <a:rPr lang="nb-NO" dirty="0" err="1" smtClean="0"/>
              <a:t>two</a:t>
            </a:r>
            <a:r>
              <a:rPr lang="nb-NO" dirty="0" smtClean="0"/>
              <a:t> or </a:t>
            </a:r>
            <a:r>
              <a:rPr lang="nb-NO" dirty="0" err="1" smtClean="0"/>
              <a:t>three</a:t>
            </a:r>
            <a:r>
              <a:rPr lang="nb-NO" dirty="0" smtClean="0"/>
              <a:t> </a:t>
            </a:r>
            <a:r>
              <a:rPr lang="nb-NO" dirty="0" err="1" smtClean="0"/>
              <a:t>month</a:t>
            </a:r>
            <a:r>
              <a:rPr lang="nb-NO" dirty="0" smtClean="0"/>
              <a:t> </a:t>
            </a:r>
            <a:r>
              <a:rPr lang="nb-NO" dirty="0" err="1" smtClean="0"/>
              <a:t>window</a:t>
            </a:r>
            <a:r>
              <a:rPr lang="nb-NO" dirty="0" smtClean="0"/>
              <a:t>”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69206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882249" y="1575754"/>
            <a:ext cx="1399972" cy="2454616"/>
            <a:chOff x="1211181" y="1444415"/>
            <a:chExt cx="2545116" cy="4462436"/>
          </a:xfrm>
        </p:grpSpPr>
        <p:grpSp>
          <p:nvGrpSpPr>
            <p:cNvPr id="84" name="Group 83"/>
            <p:cNvGrpSpPr/>
            <p:nvPr/>
          </p:nvGrpSpPr>
          <p:grpSpPr>
            <a:xfrm>
              <a:off x="1483393" y="2313206"/>
              <a:ext cx="1998731" cy="3593645"/>
              <a:chOff x="2098272" y="1387147"/>
              <a:chExt cx="1131410" cy="2034233"/>
            </a:xfrm>
          </p:grpSpPr>
          <p:grpSp>
            <p:nvGrpSpPr>
              <p:cNvPr id="85" name="Group 84"/>
              <p:cNvGrpSpPr/>
              <p:nvPr/>
            </p:nvGrpSpPr>
            <p:grpSpPr>
              <a:xfrm>
                <a:off x="2098272" y="1387147"/>
                <a:ext cx="1131410" cy="1899589"/>
                <a:chOff x="1571183" y="1489015"/>
                <a:chExt cx="1551685" cy="2605213"/>
              </a:xfrm>
            </p:grpSpPr>
            <p:sp>
              <p:nvSpPr>
                <p:cNvPr id="87" name="Freeform 7"/>
                <p:cNvSpPr>
                  <a:spLocks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2040895" y="3495627"/>
                  <a:ext cx="605886" cy="525786"/>
                </a:xfrm>
                <a:custGeom>
                  <a:avLst/>
                  <a:gdLst>
                    <a:gd name="T0" fmla="*/ 1115 w 1181"/>
                    <a:gd name="T1" fmla="*/ 25 h 1024"/>
                    <a:gd name="T2" fmla="*/ 1093 w 1181"/>
                    <a:gd name="T3" fmla="*/ 32 h 1024"/>
                    <a:gd name="T4" fmla="*/ 1008 w 1181"/>
                    <a:gd name="T5" fmla="*/ 44 h 1024"/>
                    <a:gd name="T6" fmla="*/ 883 w 1181"/>
                    <a:gd name="T7" fmla="*/ 51 h 1024"/>
                    <a:gd name="T8" fmla="*/ 728 w 1181"/>
                    <a:gd name="T9" fmla="*/ 57 h 1024"/>
                    <a:gd name="T10" fmla="*/ 474 w 1181"/>
                    <a:gd name="T11" fmla="*/ 57 h 1024"/>
                    <a:gd name="T12" fmla="*/ 310 w 1181"/>
                    <a:gd name="T13" fmla="*/ 54 h 1024"/>
                    <a:gd name="T14" fmla="*/ 169 w 1181"/>
                    <a:gd name="T15" fmla="*/ 48 h 1024"/>
                    <a:gd name="T16" fmla="*/ 62 w 1181"/>
                    <a:gd name="T17" fmla="*/ 38 h 1024"/>
                    <a:gd name="T18" fmla="*/ 58 w 1181"/>
                    <a:gd name="T19" fmla="*/ 360 h 1024"/>
                    <a:gd name="T20" fmla="*/ 58 w 1181"/>
                    <a:gd name="T21" fmla="*/ 701 h 1024"/>
                    <a:gd name="T22" fmla="*/ 56 w 1181"/>
                    <a:gd name="T23" fmla="*/ 705 h 1024"/>
                    <a:gd name="T24" fmla="*/ 49 w 1181"/>
                    <a:gd name="T25" fmla="*/ 721 h 1024"/>
                    <a:gd name="T26" fmla="*/ 30 w 1181"/>
                    <a:gd name="T27" fmla="*/ 740 h 1024"/>
                    <a:gd name="T28" fmla="*/ 9 w 1181"/>
                    <a:gd name="T29" fmla="*/ 761 h 1024"/>
                    <a:gd name="T30" fmla="*/ 0 w 1181"/>
                    <a:gd name="T31" fmla="*/ 779 h 1024"/>
                    <a:gd name="T32" fmla="*/ 0 w 1181"/>
                    <a:gd name="T33" fmla="*/ 785 h 1024"/>
                    <a:gd name="T34" fmla="*/ 3 w 1181"/>
                    <a:gd name="T35" fmla="*/ 794 h 1024"/>
                    <a:gd name="T36" fmla="*/ 24 w 1181"/>
                    <a:gd name="T37" fmla="*/ 819 h 1024"/>
                    <a:gd name="T38" fmla="*/ 61 w 1181"/>
                    <a:gd name="T39" fmla="*/ 851 h 1024"/>
                    <a:gd name="T40" fmla="*/ 136 w 1181"/>
                    <a:gd name="T41" fmla="*/ 909 h 1024"/>
                    <a:gd name="T42" fmla="*/ 244 w 1181"/>
                    <a:gd name="T43" fmla="*/ 978 h 1024"/>
                    <a:gd name="T44" fmla="*/ 287 w 1181"/>
                    <a:gd name="T45" fmla="*/ 1002 h 1024"/>
                    <a:gd name="T46" fmla="*/ 318 w 1181"/>
                    <a:gd name="T47" fmla="*/ 1014 h 1024"/>
                    <a:gd name="T48" fmla="*/ 332 w 1181"/>
                    <a:gd name="T49" fmla="*/ 1016 h 1024"/>
                    <a:gd name="T50" fmla="*/ 414 w 1181"/>
                    <a:gd name="T51" fmla="*/ 1021 h 1024"/>
                    <a:gd name="T52" fmla="*/ 576 w 1181"/>
                    <a:gd name="T53" fmla="*/ 1024 h 1024"/>
                    <a:gd name="T54" fmla="*/ 738 w 1181"/>
                    <a:gd name="T55" fmla="*/ 1021 h 1024"/>
                    <a:gd name="T56" fmla="*/ 821 w 1181"/>
                    <a:gd name="T57" fmla="*/ 1016 h 1024"/>
                    <a:gd name="T58" fmla="*/ 836 w 1181"/>
                    <a:gd name="T59" fmla="*/ 1014 h 1024"/>
                    <a:gd name="T60" fmla="*/ 864 w 1181"/>
                    <a:gd name="T61" fmla="*/ 1005 h 1024"/>
                    <a:gd name="T62" fmla="*/ 940 w 1181"/>
                    <a:gd name="T63" fmla="*/ 966 h 1024"/>
                    <a:gd name="T64" fmla="*/ 1029 w 1181"/>
                    <a:gd name="T65" fmla="*/ 915 h 1024"/>
                    <a:gd name="T66" fmla="*/ 1098 w 1181"/>
                    <a:gd name="T67" fmla="*/ 870 h 1024"/>
                    <a:gd name="T68" fmla="*/ 1118 w 1181"/>
                    <a:gd name="T69" fmla="*/ 856 h 1024"/>
                    <a:gd name="T70" fmla="*/ 1124 w 1181"/>
                    <a:gd name="T71" fmla="*/ 838 h 1024"/>
                    <a:gd name="T72" fmla="*/ 1128 w 1181"/>
                    <a:gd name="T73" fmla="*/ 799 h 1024"/>
                    <a:gd name="T74" fmla="*/ 1129 w 1181"/>
                    <a:gd name="T75" fmla="*/ 674 h 1024"/>
                    <a:gd name="T76" fmla="*/ 1126 w 1181"/>
                    <a:gd name="T77" fmla="*/ 504 h 1024"/>
                    <a:gd name="T78" fmla="*/ 1121 w 1181"/>
                    <a:gd name="T79" fmla="*/ 321 h 1024"/>
                    <a:gd name="T80" fmla="*/ 1122 w 1181"/>
                    <a:gd name="T81" fmla="*/ 309 h 1024"/>
                    <a:gd name="T82" fmla="*/ 1129 w 1181"/>
                    <a:gd name="T83" fmla="*/ 302 h 1024"/>
                    <a:gd name="T84" fmla="*/ 1152 w 1181"/>
                    <a:gd name="T85" fmla="*/ 287 h 1024"/>
                    <a:gd name="T86" fmla="*/ 1172 w 1181"/>
                    <a:gd name="T87" fmla="*/ 274 h 1024"/>
                    <a:gd name="T88" fmla="*/ 1180 w 1181"/>
                    <a:gd name="T89" fmla="*/ 265 h 1024"/>
                    <a:gd name="T90" fmla="*/ 1181 w 1181"/>
                    <a:gd name="T91" fmla="*/ 255 h 1024"/>
                    <a:gd name="T92" fmla="*/ 1177 w 1181"/>
                    <a:gd name="T93" fmla="*/ 181 h 1024"/>
                    <a:gd name="T94" fmla="*/ 1165 w 1181"/>
                    <a:gd name="T95" fmla="*/ 50 h 1024"/>
                    <a:gd name="T96" fmla="*/ 1159 w 1181"/>
                    <a:gd name="T97" fmla="*/ 0 h 1024"/>
                    <a:gd name="T98" fmla="*/ 1115 w 1181"/>
                    <a:gd name="T99" fmla="*/ 25 h 10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181" h="1024">
                      <a:moveTo>
                        <a:pt x="1115" y="25"/>
                      </a:moveTo>
                      <a:lnTo>
                        <a:pt x="1115" y="25"/>
                      </a:lnTo>
                      <a:lnTo>
                        <a:pt x="1106" y="29"/>
                      </a:lnTo>
                      <a:lnTo>
                        <a:pt x="1093" y="32"/>
                      </a:lnTo>
                      <a:lnTo>
                        <a:pt x="1057" y="38"/>
                      </a:lnTo>
                      <a:lnTo>
                        <a:pt x="1008" y="44"/>
                      </a:lnTo>
                      <a:lnTo>
                        <a:pt x="951" y="48"/>
                      </a:lnTo>
                      <a:lnTo>
                        <a:pt x="883" y="51"/>
                      </a:lnTo>
                      <a:lnTo>
                        <a:pt x="808" y="54"/>
                      </a:lnTo>
                      <a:lnTo>
                        <a:pt x="728" y="57"/>
                      </a:lnTo>
                      <a:lnTo>
                        <a:pt x="645" y="57"/>
                      </a:lnTo>
                      <a:lnTo>
                        <a:pt x="474" y="57"/>
                      </a:lnTo>
                      <a:lnTo>
                        <a:pt x="390" y="56"/>
                      </a:lnTo>
                      <a:lnTo>
                        <a:pt x="310" y="54"/>
                      </a:lnTo>
                      <a:lnTo>
                        <a:pt x="237" y="51"/>
                      </a:lnTo>
                      <a:lnTo>
                        <a:pt x="169" y="48"/>
                      </a:lnTo>
                      <a:lnTo>
                        <a:pt x="110" y="44"/>
                      </a:lnTo>
                      <a:lnTo>
                        <a:pt x="62" y="38"/>
                      </a:lnTo>
                      <a:lnTo>
                        <a:pt x="62" y="38"/>
                      </a:lnTo>
                      <a:lnTo>
                        <a:pt x="58" y="360"/>
                      </a:lnTo>
                      <a:lnTo>
                        <a:pt x="56" y="541"/>
                      </a:lnTo>
                      <a:lnTo>
                        <a:pt x="58" y="701"/>
                      </a:lnTo>
                      <a:lnTo>
                        <a:pt x="58" y="701"/>
                      </a:lnTo>
                      <a:lnTo>
                        <a:pt x="56" y="705"/>
                      </a:lnTo>
                      <a:lnTo>
                        <a:pt x="55" y="711"/>
                      </a:lnTo>
                      <a:lnTo>
                        <a:pt x="49" y="721"/>
                      </a:lnTo>
                      <a:lnTo>
                        <a:pt x="40" y="730"/>
                      </a:lnTo>
                      <a:lnTo>
                        <a:pt x="30" y="740"/>
                      </a:lnTo>
                      <a:lnTo>
                        <a:pt x="20" y="751"/>
                      </a:lnTo>
                      <a:lnTo>
                        <a:pt x="9" y="761"/>
                      </a:lnTo>
                      <a:lnTo>
                        <a:pt x="3" y="773"/>
                      </a:lnTo>
                      <a:lnTo>
                        <a:pt x="0" y="779"/>
                      </a:lnTo>
                      <a:lnTo>
                        <a:pt x="0" y="785"/>
                      </a:lnTo>
                      <a:lnTo>
                        <a:pt x="0" y="785"/>
                      </a:lnTo>
                      <a:lnTo>
                        <a:pt x="0" y="788"/>
                      </a:lnTo>
                      <a:lnTo>
                        <a:pt x="3" y="794"/>
                      </a:lnTo>
                      <a:lnTo>
                        <a:pt x="11" y="804"/>
                      </a:lnTo>
                      <a:lnTo>
                        <a:pt x="24" y="819"/>
                      </a:lnTo>
                      <a:lnTo>
                        <a:pt x="40" y="835"/>
                      </a:lnTo>
                      <a:lnTo>
                        <a:pt x="61" y="851"/>
                      </a:lnTo>
                      <a:lnTo>
                        <a:pt x="85" y="870"/>
                      </a:lnTo>
                      <a:lnTo>
                        <a:pt x="136" y="909"/>
                      </a:lnTo>
                      <a:lnTo>
                        <a:pt x="191" y="946"/>
                      </a:lnTo>
                      <a:lnTo>
                        <a:pt x="244" y="978"/>
                      </a:lnTo>
                      <a:lnTo>
                        <a:pt x="266" y="991"/>
                      </a:lnTo>
                      <a:lnTo>
                        <a:pt x="287" y="1002"/>
                      </a:lnTo>
                      <a:lnTo>
                        <a:pt x="304" y="1009"/>
                      </a:lnTo>
                      <a:lnTo>
                        <a:pt x="318" y="1014"/>
                      </a:lnTo>
                      <a:lnTo>
                        <a:pt x="318" y="1014"/>
                      </a:lnTo>
                      <a:lnTo>
                        <a:pt x="332" y="1016"/>
                      </a:lnTo>
                      <a:lnTo>
                        <a:pt x="353" y="1018"/>
                      </a:lnTo>
                      <a:lnTo>
                        <a:pt x="414" y="1021"/>
                      </a:lnTo>
                      <a:lnTo>
                        <a:pt x="492" y="1022"/>
                      </a:lnTo>
                      <a:lnTo>
                        <a:pt x="576" y="1024"/>
                      </a:lnTo>
                      <a:lnTo>
                        <a:pt x="662" y="1022"/>
                      </a:lnTo>
                      <a:lnTo>
                        <a:pt x="738" y="1021"/>
                      </a:lnTo>
                      <a:lnTo>
                        <a:pt x="800" y="1018"/>
                      </a:lnTo>
                      <a:lnTo>
                        <a:pt x="821" y="1016"/>
                      </a:lnTo>
                      <a:lnTo>
                        <a:pt x="836" y="1014"/>
                      </a:lnTo>
                      <a:lnTo>
                        <a:pt x="836" y="1014"/>
                      </a:lnTo>
                      <a:lnTo>
                        <a:pt x="849" y="1011"/>
                      </a:lnTo>
                      <a:lnTo>
                        <a:pt x="864" y="1005"/>
                      </a:lnTo>
                      <a:lnTo>
                        <a:pt x="899" y="988"/>
                      </a:lnTo>
                      <a:lnTo>
                        <a:pt x="940" y="966"/>
                      </a:lnTo>
                      <a:lnTo>
                        <a:pt x="985" y="941"/>
                      </a:lnTo>
                      <a:lnTo>
                        <a:pt x="1029" y="915"/>
                      </a:lnTo>
                      <a:lnTo>
                        <a:pt x="1067" y="891"/>
                      </a:lnTo>
                      <a:lnTo>
                        <a:pt x="1098" y="870"/>
                      </a:lnTo>
                      <a:lnTo>
                        <a:pt x="1118" y="856"/>
                      </a:lnTo>
                      <a:lnTo>
                        <a:pt x="1118" y="856"/>
                      </a:lnTo>
                      <a:lnTo>
                        <a:pt x="1121" y="850"/>
                      </a:lnTo>
                      <a:lnTo>
                        <a:pt x="1124" y="838"/>
                      </a:lnTo>
                      <a:lnTo>
                        <a:pt x="1126" y="822"/>
                      </a:lnTo>
                      <a:lnTo>
                        <a:pt x="1128" y="799"/>
                      </a:lnTo>
                      <a:lnTo>
                        <a:pt x="1129" y="743"/>
                      </a:lnTo>
                      <a:lnTo>
                        <a:pt x="1129" y="674"/>
                      </a:lnTo>
                      <a:lnTo>
                        <a:pt x="1129" y="593"/>
                      </a:lnTo>
                      <a:lnTo>
                        <a:pt x="1126" y="504"/>
                      </a:lnTo>
                      <a:lnTo>
                        <a:pt x="1121" y="321"/>
                      </a:lnTo>
                      <a:lnTo>
                        <a:pt x="1121" y="321"/>
                      </a:lnTo>
                      <a:lnTo>
                        <a:pt x="1121" y="315"/>
                      </a:lnTo>
                      <a:lnTo>
                        <a:pt x="1122" y="309"/>
                      </a:lnTo>
                      <a:lnTo>
                        <a:pt x="1125" y="305"/>
                      </a:lnTo>
                      <a:lnTo>
                        <a:pt x="1129" y="302"/>
                      </a:lnTo>
                      <a:lnTo>
                        <a:pt x="1140" y="295"/>
                      </a:lnTo>
                      <a:lnTo>
                        <a:pt x="1152" y="287"/>
                      </a:lnTo>
                      <a:lnTo>
                        <a:pt x="1162" y="280"/>
                      </a:lnTo>
                      <a:lnTo>
                        <a:pt x="1172" y="274"/>
                      </a:lnTo>
                      <a:lnTo>
                        <a:pt x="1177" y="270"/>
                      </a:lnTo>
                      <a:lnTo>
                        <a:pt x="1180" y="265"/>
                      </a:lnTo>
                      <a:lnTo>
                        <a:pt x="1181" y="261"/>
                      </a:lnTo>
                      <a:lnTo>
                        <a:pt x="1181" y="255"/>
                      </a:lnTo>
                      <a:lnTo>
                        <a:pt x="1181" y="255"/>
                      </a:lnTo>
                      <a:lnTo>
                        <a:pt x="1177" y="181"/>
                      </a:lnTo>
                      <a:lnTo>
                        <a:pt x="1171" y="112"/>
                      </a:lnTo>
                      <a:lnTo>
                        <a:pt x="1165" y="50"/>
                      </a:lnTo>
                      <a:lnTo>
                        <a:pt x="1159" y="0"/>
                      </a:lnTo>
                      <a:lnTo>
                        <a:pt x="1159" y="0"/>
                      </a:lnTo>
                      <a:lnTo>
                        <a:pt x="1115" y="25"/>
                      </a:lnTo>
                      <a:lnTo>
                        <a:pt x="1115" y="25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bg1">
                        <a:lumMod val="85000"/>
                      </a:schemeClr>
                    </a:gs>
                    <a:gs pos="37000">
                      <a:srgbClr val="A39793"/>
                    </a:gs>
                    <a:gs pos="74000">
                      <a:schemeClr val="tx1">
                        <a:lumMod val="75000"/>
                        <a:lumOff val="25000"/>
                      </a:schemeClr>
                    </a:gs>
                    <a:gs pos="0">
                      <a:srgbClr val="55382D"/>
                    </a:gs>
                  </a:gsLst>
                  <a:lin ang="0" scaled="1"/>
                  <a:tileRect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8" name="Rounded Rectangle 2"/>
                <p:cNvSpPr/>
                <p:nvPr>
                  <p:custDataLst>
                    <p:tags r:id="rId35"/>
                  </p:custDataLst>
                </p:nvPr>
              </p:nvSpPr>
              <p:spPr>
                <a:xfrm>
                  <a:off x="2070995" y="3495627"/>
                  <a:ext cx="575786" cy="1571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0094" h="242887">
                      <a:moveTo>
                        <a:pt x="872646" y="0"/>
                      </a:moveTo>
                      <a:lnTo>
                        <a:pt x="877405" y="39688"/>
                      </a:lnTo>
                      <a:lnTo>
                        <a:pt x="882163" y="88900"/>
                      </a:lnTo>
                      <a:lnTo>
                        <a:pt x="886922" y="143669"/>
                      </a:lnTo>
                      <a:lnTo>
                        <a:pt x="890094" y="202406"/>
                      </a:lnTo>
                      <a:lnTo>
                        <a:pt x="890094" y="207169"/>
                      </a:lnTo>
                      <a:lnTo>
                        <a:pt x="889301" y="210344"/>
                      </a:lnTo>
                      <a:lnTo>
                        <a:pt x="886922" y="214313"/>
                      </a:lnTo>
                      <a:lnTo>
                        <a:pt x="882956" y="217488"/>
                      </a:lnTo>
                      <a:lnTo>
                        <a:pt x="875026" y="222250"/>
                      </a:lnTo>
                      <a:lnTo>
                        <a:pt x="867095" y="227806"/>
                      </a:lnTo>
                      <a:lnTo>
                        <a:pt x="857578" y="234156"/>
                      </a:lnTo>
                      <a:lnTo>
                        <a:pt x="848854" y="239713"/>
                      </a:lnTo>
                      <a:lnTo>
                        <a:pt x="845682" y="242094"/>
                      </a:lnTo>
                      <a:lnTo>
                        <a:pt x="845087" y="242887"/>
                      </a:lnTo>
                      <a:lnTo>
                        <a:pt x="0" y="242887"/>
                      </a:lnTo>
                      <a:lnTo>
                        <a:pt x="2640" y="30163"/>
                      </a:lnTo>
                      <a:lnTo>
                        <a:pt x="40708" y="34925"/>
                      </a:lnTo>
                      <a:lnTo>
                        <a:pt x="87499" y="38100"/>
                      </a:lnTo>
                      <a:lnTo>
                        <a:pt x="141429" y="40481"/>
                      </a:lnTo>
                      <a:lnTo>
                        <a:pt x="199323" y="42863"/>
                      </a:lnTo>
                      <a:lnTo>
                        <a:pt x="262770" y="44450"/>
                      </a:lnTo>
                      <a:lnTo>
                        <a:pt x="329388" y="45244"/>
                      </a:lnTo>
                      <a:lnTo>
                        <a:pt x="465004" y="45244"/>
                      </a:lnTo>
                      <a:lnTo>
                        <a:pt x="530830" y="45244"/>
                      </a:lnTo>
                      <a:lnTo>
                        <a:pt x="594276" y="42863"/>
                      </a:lnTo>
                      <a:lnTo>
                        <a:pt x="653757" y="40481"/>
                      </a:lnTo>
                      <a:lnTo>
                        <a:pt x="707686" y="38100"/>
                      </a:lnTo>
                      <a:lnTo>
                        <a:pt x="752892" y="34925"/>
                      </a:lnTo>
                      <a:lnTo>
                        <a:pt x="791752" y="30163"/>
                      </a:lnTo>
                      <a:lnTo>
                        <a:pt x="820303" y="25400"/>
                      </a:lnTo>
                      <a:lnTo>
                        <a:pt x="830613" y="23019"/>
                      </a:lnTo>
                      <a:lnTo>
                        <a:pt x="837751" y="19844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bg1">
                        <a:lumMod val="85000"/>
                      </a:schemeClr>
                    </a:gs>
                    <a:gs pos="24000">
                      <a:srgbClr val="A39793">
                        <a:lumMod val="77000"/>
                      </a:srgbClr>
                    </a:gs>
                    <a:gs pos="84000">
                      <a:srgbClr val="887B77"/>
                    </a:gs>
                    <a:gs pos="63000">
                      <a:schemeClr val="bg1">
                        <a:lumMod val="85000"/>
                      </a:schemeClr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9" name="Freeform 8"/>
                <p:cNvSpPr>
                  <a:spLocks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2035760" y="3691770"/>
                  <a:ext cx="616155" cy="128366"/>
                </a:xfrm>
                <a:custGeom>
                  <a:avLst/>
                  <a:gdLst>
                    <a:gd name="T0" fmla="*/ 68 w 1201"/>
                    <a:gd name="T1" fmla="*/ 0 h 249"/>
                    <a:gd name="T2" fmla="*/ 44 w 1201"/>
                    <a:gd name="T3" fmla="*/ 16 h 249"/>
                    <a:gd name="T4" fmla="*/ 18 w 1201"/>
                    <a:gd name="T5" fmla="*/ 37 h 249"/>
                    <a:gd name="T6" fmla="*/ 3 w 1201"/>
                    <a:gd name="T7" fmla="*/ 54 h 249"/>
                    <a:gd name="T8" fmla="*/ 0 w 1201"/>
                    <a:gd name="T9" fmla="*/ 66 h 249"/>
                    <a:gd name="T10" fmla="*/ 0 w 1201"/>
                    <a:gd name="T11" fmla="*/ 71 h 249"/>
                    <a:gd name="T12" fmla="*/ 15 w 1201"/>
                    <a:gd name="T13" fmla="*/ 84 h 249"/>
                    <a:gd name="T14" fmla="*/ 49 w 1201"/>
                    <a:gd name="T15" fmla="*/ 100 h 249"/>
                    <a:gd name="T16" fmla="*/ 100 w 1201"/>
                    <a:gd name="T17" fmla="*/ 119 h 249"/>
                    <a:gd name="T18" fmla="*/ 170 w 1201"/>
                    <a:gd name="T19" fmla="*/ 140 h 249"/>
                    <a:gd name="T20" fmla="*/ 255 w 1201"/>
                    <a:gd name="T21" fmla="*/ 162 h 249"/>
                    <a:gd name="T22" fmla="*/ 357 w 1201"/>
                    <a:gd name="T23" fmla="*/ 183 h 249"/>
                    <a:gd name="T24" fmla="*/ 471 w 1201"/>
                    <a:gd name="T25" fmla="*/ 202 h 249"/>
                    <a:gd name="T26" fmla="*/ 598 w 1201"/>
                    <a:gd name="T27" fmla="*/ 220 h 249"/>
                    <a:gd name="T28" fmla="*/ 725 w 1201"/>
                    <a:gd name="T29" fmla="*/ 232 h 249"/>
                    <a:gd name="T30" fmla="*/ 942 w 1201"/>
                    <a:gd name="T31" fmla="*/ 246 h 249"/>
                    <a:gd name="T32" fmla="*/ 1100 w 1201"/>
                    <a:gd name="T33" fmla="*/ 249 h 249"/>
                    <a:gd name="T34" fmla="*/ 1172 w 1201"/>
                    <a:gd name="T35" fmla="*/ 243 h 249"/>
                    <a:gd name="T36" fmla="*/ 1197 w 1201"/>
                    <a:gd name="T37" fmla="*/ 237 h 249"/>
                    <a:gd name="T38" fmla="*/ 1200 w 1201"/>
                    <a:gd name="T39" fmla="*/ 234 h 249"/>
                    <a:gd name="T40" fmla="*/ 1201 w 1201"/>
                    <a:gd name="T41" fmla="*/ 230 h 249"/>
                    <a:gd name="T42" fmla="*/ 1197 w 1201"/>
                    <a:gd name="T43" fmla="*/ 220 h 249"/>
                    <a:gd name="T44" fmla="*/ 1179 w 1201"/>
                    <a:gd name="T45" fmla="*/ 199 h 249"/>
                    <a:gd name="T46" fmla="*/ 1145 w 1201"/>
                    <a:gd name="T47" fmla="*/ 171 h 249"/>
                    <a:gd name="T48" fmla="*/ 1116 w 1201"/>
                    <a:gd name="T49" fmla="*/ 150 h 249"/>
                    <a:gd name="T50" fmla="*/ 1107 w 1201"/>
                    <a:gd name="T51" fmla="*/ 147 h 249"/>
                    <a:gd name="T52" fmla="*/ 943 w 1201"/>
                    <a:gd name="T53" fmla="*/ 142 h 249"/>
                    <a:gd name="T54" fmla="*/ 781 w 1201"/>
                    <a:gd name="T55" fmla="*/ 131 h 249"/>
                    <a:gd name="T56" fmla="*/ 586 w 1201"/>
                    <a:gd name="T57" fmla="*/ 111 h 249"/>
                    <a:gd name="T58" fmla="*/ 525 w 1201"/>
                    <a:gd name="T59" fmla="*/ 103 h 249"/>
                    <a:gd name="T60" fmla="*/ 363 w 1201"/>
                    <a:gd name="T61" fmla="*/ 75 h 249"/>
                    <a:gd name="T62" fmla="*/ 201 w 1201"/>
                    <a:gd name="T63" fmla="*/ 40 h 249"/>
                    <a:gd name="T64" fmla="*/ 102 w 1201"/>
                    <a:gd name="T65" fmla="*/ 12 h 249"/>
                    <a:gd name="T66" fmla="*/ 68 w 1201"/>
                    <a:gd name="T67" fmla="*/ 0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01" h="249">
                      <a:moveTo>
                        <a:pt x="68" y="0"/>
                      </a:moveTo>
                      <a:lnTo>
                        <a:pt x="68" y="0"/>
                      </a:lnTo>
                      <a:lnTo>
                        <a:pt x="56" y="7"/>
                      </a:lnTo>
                      <a:lnTo>
                        <a:pt x="44" y="16"/>
                      </a:lnTo>
                      <a:lnTo>
                        <a:pt x="31" y="25"/>
                      </a:lnTo>
                      <a:lnTo>
                        <a:pt x="18" y="37"/>
                      </a:lnTo>
                      <a:lnTo>
                        <a:pt x="7" y="49"/>
                      </a:lnTo>
                      <a:lnTo>
                        <a:pt x="3" y="54"/>
                      </a:lnTo>
                      <a:lnTo>
                        <a:pt x="0" y="60"/>
                      </a:lnTo>
                      <a:lnTo>
                        <a:pt x="0" y="66"/>
                      </a:lnTo>
                      <a:lnTo>
                        <a:pt x="0" y="71"/>
                      </a:lnTo>
                      <a:lnTo>
                        <a:pt x="0" y="71"/>
                      </a:lnTo>
                      <a:lnTo>
                        <a:pt x="4" y="77"/>
                      </a:lnTo>
                      <a:lnTo>
                        <a:pt x="15" y="84"/>
                      </a:lnTo>
                      <a:lnTo>
                        <a:pt x="30" y="91"/>
                      </a:lnTo>
                      <a:lnTo>
                        <a:pt x="49" y="100"/>
                      </a:lnTo>
                      <a:lnTo>
                        <a:pt x="72" y="109"/>
                      </a:lnTo>
                      <a:lnTo>
                        <a:pt x="100" y="119"/>
                      </a:lnTo>
                      <a:lnTo>
                        <a:pt x="133" y="130"/>
                      </a:lnTo>
                      <a:lnTo>
                        <a:pt x="170" y="140"/>
                      </a:lnTo>
                      <a:lnTo>
                        <a:pt x="211" y="152"/>
                      </a:lnTo>
                      <a:lnTo>
                        <a:pt x="255" y="162"/>
                      </a:lnTo>
                      <a:lnTo>
                        <a:pt x="304" y="172"/>
                      </a:lnTo>
                      <a:lnTo>
                        <a:pt x="357" y="183"/>
                      </a:lnTo>
                      <a:lnTo>
                        <a:pt x="412" y="193"/>
                      </a:lnTo>
                      <a:lnTo>
                        <a:pt x="471" y="202"/>
                      </a:lnTo>
                      <a:lnTo>
                        <a:pt x="533" y="211"/>
                      </a:lnTo>
                      <a:lnTo>
                        <a:pt x="598" y="220"/>
                      </a:lnTo>
                      <a:lnTo>
                        <a:pt x="598" y="220"/>
                      </a:lnTo>
                      <a:lnTo>
                        <a:pt x="725" y="232"/>
                      </a:lnTo>
                      <a:lnTo>
                        <a:pt x="840" y="242"/>
                      </a:lnTo>
                      <a:lnTo>
                        <a:pt x="942" y="246"/>
                      </a:lnTo>
                      <a:lnTo>
                        <a:pt x="1029" y="249"/>
                      </a:lnTo>
                      <a:lnTo>
                        <a:pt x="1100" y="249"/>
                      </a:lnTo>
                      <a:lnTo>
                        <a:pt x="1153" y="246"/>
                      </a:lnTo>
                      <a:lnTo>
                        <a:pt x="1172" y="243"/>
                      </a:lnTo>
                      <a:lnTo>
                        <a:pt x="1187" y="240"/>
                      </a:lnTo>
                      <a:lnTo>
                        <a:pt x="1197" y="237"/>
                      </a:lnTo>
                      <a:lnTo>
                        <a:pt x="1198" y="236"/>
                      </a:lnTo>
                      <a:lnTo>
                        <a:pt x="1200" y="234"/>
                      </a:lnTo>
                      <a:lnTo>
                        <a:pt x="1200" y="234"/>
                      </a:lnTo>
                      <a:lnTo>
                        <a:pt x="1201" y="230"/>
                      </a:lnTo>
                      <a:lnTo>
                        <a:pt x="1200" y="226"/>
                      </a:lnTo>
                      <a:lnTo>
                        <a:pt x="1197" y="220"/>
                      </a:lnTo>
                      <a:lnTo>
                        <a:pt x="1191" y="212"/>
                      </a:lnTo>
                      <a:lnTo>
                        <a:pt x="1179" y="199"/>
                      </a:lnTo>
                      <a:lnTo>
                        <a:pt x="1163" y="184"/>
                      </a:lnTo>
                      <a:lnTo>
                        <a:pt x="1145" y="171"/>
                      </a:lnTo>
                      <a:lnTo>
                        <a:pt x="1129" y="159"/>
                      </a:lnTo>
                      <a:lnTo>
                        <a:pt x="1116" y="150"/>
                      </a:lnTo>
                      <a:lnTo>
                        <a:pt x="1107" y="147"/>
                      </a:lnTo>
                      <a:lnTo>
                        <a:pt x="1107" y="147"/>
                      </a:lnTo>
                      <a:lnTo>
                        <a:pt x="1057" y="146"/>
                      </a:lnTo>
                      <a:lnTo>
                        <a:pt x="943" y="142"/>
                      </a:lnTo>
                      <a:lnTo>
                        <a:pt x="868" y="139"/>
                      </a:lnTo>
                      <a:lnTo>
                        <a:pt x="781" y="131"/>
                      </a:lnTo>
                      <a:lnTo>
                        <a:pt x="688" y="122"/>
                      </a:lnTo>
                      <a:lnTo>
                        <a:pt x="586" y="111"/>
                      </a:lnTo>
                      <a:lnTo>
                        <a:pt x="586" y="111"/>
                      </a:lnTo>
                      <a:lnTo>
                        <a:pt x="525" y="103"/>
                      </a:lnTo>
                      <a:lnTo>
                        <a:pt x="468" y="93"/>
                      </a:lnTo>
                      <a:lnTo>
                        <a:pt x="363" y="75"/>
                      </a:lnTo>
                      <a:lnTo>
                        <a:pt x="275" y="56"/>
                      </a:lnTo>
                      <a:lnTo>
                        <a:pt x="201" y="40"/>
                      </a:lnTo>
                      <a:lnTo>
                        <a:pt x="143" y="23"/>
                      </a:lnTo>
                      <a:lnTo>
                        <a:pt x="102" y="12"/>
                      </a:lnTo>
                      <a:lnTo>
                        <a:pt x="68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bg1">
                        <a:lumMod val="85000"/>
                      </a:schemeClr>
                    </a:gs>
                    <a:gs pos="12000">
                      <a:srgbClr val="A39793">
                        <a:lumMod val="77000"/>
                      </a:srgbClr>
                    </a:gs>
                    <a:gs pos="84000">
                      <a:schemeClr val="tx1">
                        <a:lumMod val="75000"/>
                        <a:lumOff val="25000"/>
                      </a:schemeClr>
                    </a:gs>
                    <a:gs pos="44000">
                      <a:schemeClr val="bg1">
                        <a:lumMod val="95000"/>
                      </a:schemeClr>
                    </a:gs>
                  </a:gsLst>
                  <a:lin ang="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0" name="Freeform 9"/>
                <p:cNvSpPr>
                  <a:spLocks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2031653" y="3593185"/>
                  <a:ext cx="621290" cy="139662"/>
                </a:xfrm>
                <a:custGeom>
                  <a:avLst/>
                  <a:gdLst>
                    <a:gd name="T0" fmla="*/ 79 w 1210"/>
                    <a:gd name="T1" fmla="*/ 0 h 274"/>
                    <a:gd name="T2" fmla="*/ 53 w 1210"/>
                    <a:gd name="T3" fmla="*/ 18 h 274"/>
                    <a:gd name="T4" fmla="*/ 22 w 1210"/>
                    <a:gd name="T5" fmla="*/ 43 h 274"/>
                    <a:gd name="T6" fmla="*/ 6 w 1210"/>
                    <a:gd name="T7" fmla="*/ 62 h 274"/>
                    <a:gd name="T8" fmla="*/ 0 w 1210"/>
                    <a:gd name="T9" fmla="*/ 76 h 274"/>
                    <a:gd name="T10" fmla="*/ 1 w 1210"/>
                    <a:gd name="T11" fmla="*/ 82 h 274"/>
                    <a:gd name="T12" fmla="*/ 6 w 1210"/>
                    <a:gd name="T13" fmla="*/ 89 h 274"/>
                    <a:gd name="T14" fmla="*/ 34 w 1210"/>
                    <a:gd name="T15" fmla="*/ 105 h 274"/>
                    <a:gd name="T16" fmla="*/ 87 w 1210"/>
                    <a:gd name="T17" fmla="*/ 127 h 274"/>
                    <a:gd name="T18" fmla="*/ 159 w 1210"/>
                    <a:gd name="T19" fmla="*/ 151 h 274"/>
                    <a:gd name="T20" fmla="*/ 249 w 1210"/>
                    <a:gd name="T21" fmla="*/ 176 h 274"/>
                    <a:gd name="T22" fmla="*/ 354 w 1210"/>
                    <a:gd name="T23" fmla="*/ 200 h 274"/>
                    <a:gd name="T24" fmla="*/ 469 w 1210"/>
                    <a:gd name="T25" fmla="*/ 222 h 274"/>
                    <a:gd name="T26" fmla="*/ 593 w 1210"/>
                    <a:gd name="T27" fmla="*/ 238 h 274"/>
                    <a:gd name="T28" fmla="*/ 656 w 1210"/>
                    <a:gd name="T29" fmla="*/ 245 h 274"/>
                    <a:gd name="T30" fmla="*/ 890 w 1210"/>
                    <a:gd name="T31" fmla="*/ 265 h 274"/>
                    <a:gd name="T32" fmla="*/ 1061 w 1210"/>
                    <a:gd name="T33" fmla="*/ 274 h 274"/>
                    <a:gd name="T34" fmla="*/ 1167 w 1210"/>
                    <a:gd name="T35" fmla="*/ 271 h 274"/>
                    <a:gd name="T36" fmla="*/ 1197 w 1210"/>
                    <a:gd name="T37" fmla="*/ 266 h 274"/>
                    <a:gd name="T38" fmla="*/ 1208 w 1210"/>
                    <a:gd name="T39" fmla="*/ 259 h 274"/>
                    <a:gd name="T40" fmla="*/ 1210 w 1210"/>
                    <a:gd name="T41" fmla="*/ 253 h 274"/>
                    <a:gd name="T42" fmla="*/ 1204 w 1210"/>
                    <a:gd name="T43" fmla="*/ 241 h 274"/>
                    <a:gd name="T44" fmla="*/ 1182 w 1210"/>
                    <a:gd name="T45" fmla="*/ 219 h 274"/>
                    <a:gd name="T46" fmla="*/ 1143 w 1210"/>
                    <a:gd name="T47" fmla="*/ 189 h 274"/>
                    <a:gd name="T48" fmla="*/ 1108 w 1210"/>
                    <a:gd name="T49" fmla="*/ 167 h 274"/>
                    <a:gd name="T50" fmla="*/ 1071 w 1210"/>
                    <a:gd name="T51" fmla="*/ 166 h 274"/>
                    <a:gd name="T52" fmla="*/ 890 w 1210"/>
                    <a:gd name="T53" fmla="*/ 155 h 274"/>
                    <a:gd name="T54" fmla="*/ 702 w 1210"/>
                    <a:gd name="T55" fmla="*/ 139 h 274"/>
                    <a:gd name="T56" fmla="*/ 591 w 1210"/>
                    <a:gd name="T57" fmla="*/ 126 h 274"/>
                    <a:gd name="T58" fmla="*/ 462 w 1210"/>
                    <a:gd name="T59" fmla="*/ 108 h 274"/>
                    <a:gd name="T60" fmla="*/ 354 w 1210"/>
                    <a:gd name="T61" fmla="*/ 88 h 274"/>
                    <a:gd name="T62" fmla="*/ 265 w 1210"/>
                    <a:gd name="T63" fmla="*/ 67 h 274"/>
                    <a:gd name="T64" fmla="*/ 196 w 1210"/>
                    <a:gd name="T65" fmla="*/ 46 h 274"/>
                    <a:gd name="T66" fmla="*/ 107 w 1210"/>
                    <a:gd name="T67" fmla="*/ 14 h 274"/>
                    <a:gd name="T68" fmla="*/ 79 w 1210"/>
                    <a:gd name="T69" fmla="*/ 0 h 2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210" h="274">
                      <a:moveTo>
                        <a:pt x="79" y="0"/>
                      </a:moveTo>
                      <a:lnTo>
                        <a:pt x="79" y="0"/>
                      </a:lnTo>
                      <a:lnTo>
                        <a:pt x="66" y="9"/>
                      </a:lnTo>
                      <a:lnTo>
                        <a:pt x="53" y="18"/>
                      </a:lnTo>
                      <a:lnTo>
                        <a:pt x="38" y="30"/>
                      </a:lnTo>
                      <a:lnTo>
                        <a:pt x="22" y="43"/>
                      </a:lnTo>
                      <a:lnTo>
                        <a:pt x="10" y="57"/>
                      </a:lnTo>
                      <a:lnTo>
                        <a:pt x="6" y="62"/>
                      </a:lnTo>
                      <a:lnTo>
                        <a:pt x="3" y="70"/>
                      </a:lnTo>
                      <a:lnTo>
                        <a:pt x="0" y="76"/>
                      </a:lnTo>
                      <a:lnTo>
                        <a:pt x="1" y="82"/>
                      </a:lnTo>
                      <a:lnTo>
                        <a:pt x="1" y="82"/>
                      </a:lnTo>
                      <a:lnTo>
                        <a:pt x="3" y="85"/>
                      </a:lnTo>
                      <a:lnTo>
                        <a:pt x="6" y="89"/>
                      </a:lnTo>
                      <a:lnTo>
                        <a:pt x="16" y="96"/>
                      </a:lnTo>
                      <a:lnTo>
                        <a:pt x="34" y="105"/>
                      </a:lnTo>
                      <a:lnTo>
                        <a:pt x="57" y="116"/>
                      </a:lnTo>
                      <a:lnTo>
                        <a:pt x="87" y="127"/>
                      </a:lnTo>
                      <a:lnTo>
                        <a:pt x="121" y="139"/>
                      </a:lnTo>
                      <a:lnTo>
                        <a:pt x="159" y="151"/>
                      </a:lnTo>
                      <a:lnTo>
                        <a:pt x="202" y="163"/>
                      </a:lnTo>
                      <a:lnTo>
                        <a:pt x="249" y="176"/>
                      </a:lnTo>
                      <a:lnTo>
                        <a:pt x="299" y="188"/>
                      </a:lnTo>
                      <a:lnTo>
                        <a:pt x="354" y="200"/>
                      </a:lnTo>
                      <a:lnTo>
                        <a:pt x="410" y="210"/>
                      </a:lnTo>
                      <a:lnTo>
                        <a:pt x="469" y="222"/>
                      </a:lnTo>
                      <a:lnTo>
                        <a:pt x="529" y="231"/>
                      </a:lnTo>
                      <a:lnTo>
                        <a:pt x="593" y="238"/>
                      </a:lnTo>
                      <a:lnTo>
                        <a:pt x="656" y="245"/>
                      </a:lnTo>
                      <a:lnTo>
                        <a:pt x="656" y="245"/>
                      </a:lnTo>
                      <a:lnTo>
                        <a:pt x="780" y="257"/>
                      </a:lnTo>
                      <a:lnTo>
                        <a:pt x="890" y="265"/>
                      </a:lnTo>
                      <a:lnTo>
                        <a:pt x="984" y="271"/>
                      </a:lnTo>
                      <a:lnTo>
                        <a:pt x="1061" y="274"/>
                      </a:lnTo>
                      <a:lnTo>
                        <a:pt x="1121" y="274"/>
                      </a:lnTo>
                      <a:lnTo>
                        <a:pt x="1167" y="271"/>
                      </a:lnTo>
                      <a:lnTo>
                        <a:pt x="1183" y="269"/>
                      </a:lnTo>
                      <a:lnTo>
                        <a:pt x="1197" y="266"/>
                      </a:lnTo>
                      <a:lnTo>
                        <a:pt x="1204" y="262"/>
                      </a:lnTo>
                      <a:lnTo>
                        <a:pt x="1208" y="259"/>
                      </a:lnTo>
                      <a:lnTo>
                        <a:pt x="1208" y="259"/>
                      </a:lnTo>
                      <a:lnTo>
                        <a:pt x="1210" y="253"/>
                      </a:lnTo>
                      <a:lnTo>
                        <a:pt x="1208" y="247"/>
                      </a:lnTo>
                      <a:lnTo>
                        <a:pt x="1204" y="241"/>
                      </a:lnTo>
                      <a:lnTo>
                        <a:pt x="1198" y="234"/>
                      </a:lnTo>
                      <a:lnTo>
                        <a:pt x="1182" y="219"/>
                      </a:lnTo>
                      <a:lnTo>
                        <a:pt x="1163" y="204"/>
                      </a:lnTo>
                      <a:lnTo>
                        <a:pt x="1143" y="189"/>
                      </a:lnTo>
                      <a:lnTo>
                        <a:pt x="1126" y="178"/>
                      </a:lnTo>
                      <a:lnTo>
                        <a:pt x="1108" y="167"/>
                      </a:lnTo>
                      <a:lnTo>
                        <a:pt x="1108" y="167"/>
                      </a:lnTo>
                      <a:lnTo>
                        <a:pt x="1071" y="166"/>
                      </a:lnTo>
                      <a:lnTo>
                        <a:pt x="965" y="160"/>
                      </a:lnTo>
                      <a:lnTo>
                        <a:pt x="890" y="155"/>
                      </a:lnTo>
                      <a:lnTo>
                        <a:pt x="803" y="148"/>
                      </a:lnTo>
                      <a:lnTo>
                        <a:pt x="702" y="139"/>
                      </a:lnTo>
                      <a:lnTo>
                        <a:pt x="591" y="126"/>
                      </a:lnTo>
                      <a:lnTo>
                        <a:pt x="591" y="126"/>
                      </a:lnTo>
                      <a:lnTo>
                        <a:pt x="524" y="117"/>
                      </a:lnTo>
                      <a:lnTo>
                        <a:pt x="462" y="108"/>
                      </a:lnTo>
                      <a:lnTo>
                        <a:pt x="406" y="98"/>
                      </a:lnTo>
                      <a:lnTo>
                        <a:pt x="354" y="88"/>
                      </a:lnTo>
                      <a:lnTo>
                        <a:pt x="307" y="77"/>
                      </a:lnTo>
                      <a:lnTo>
                        <a:pt x="265" y="67"/>
                      </a:lnTo>
                      <a:lnTo>
                        <a:pt x="228" y="57"/>
                      </a:lnTo>
                      <a:lnTo>
                        <a:pt x="196" y="46"/>
                      </a:lnTo>
                      <a:lnTo>
                        <a:pt x="143" y="29"/>
                      </a:lnTo>
                      <a:lnTo>
                        <a:pt x="107" y="14"/>
                      </a:lnTo>
                      <a:lnTo>
                        <a:pt x="87" y="3"/>
                      </a:lnTo>
                      <a:lnTo>
                        <a:pt x="79" y="0"/>
                      </a:lnTo>
                      <a:lnTo>
                        <a:pt x="79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bg1">
                        <a:lumMod val="85000"/>
                      </a:schemeClr>
                    </a:gs>
                    <a:gs pos="12000">
                      <a:srgbClr val="A39793">
                        <a:lumMod val="77000"/>
                      </a:srgbClr>
                    </a:gs>
                    <a:gs pos="84000">
                      <a:schemeClr val="tx1">
                        <a:lumMod val="75000"/>
                        <a:lumOff val="25000"/>
                      </a:schemeClr>
                    </a:gs>
                    <a:gs pos="44000">
                      <a:schemeClr val="bg1">
                        <a:lumMod val="95000"/>
                      </a:schemeClr>
                    </a:gs>
                  </a:gsLst>
                  <a:lin ang="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1" name="Freeform 10"/>
                <p:cNvSpPr>
                  <a:spLocks/>
                </p:cNvSpPr>
                <p:nvPr>
                  <p:custDataLst>
                    <p:tags r:id="rId38"/>
                  </p:custDataLst>
                </p:nvPr>
              </p:nvSpPr>
              <p:spPr bwMode="auto">
                <a:xfrm>
                  <a:off x="2030626" y="3516165"/>
                  <a:ext cx="621290" cy="125285"/>
                </a:xfrm>
                <a:custGeom>
                  <a:avLst/>
                  <a:gdLst>
                    <a:gd name="T0" fmla="*/ 90 w 1210"/>
                    <a:gd name="T1" fmla="*/ 0 h 244"/>
                    <a:gd name="T2" fmla="*/ 90 w 1210"/>
                    <a:gd name="T3" fmla="*/ 0 h 244"/>
                    <a:gd name="T4" fmla="*/ 75 w 1210"/>
                    <a:gd name="T5" fmla="*/ 5 h 244"/>
                    <a:gd name="T6" fmla="*/ 46 w 1210"/>
                    <a:gd name="T7" fmla="*/ 18 h 244"/>
                    <a:gd name="T8" fmla="*/ 28 w 1210"/>
                    <a:gd name="T9" fmla="*/ 27 h 244"/>
                    <a:gd name="T10" fmla="*/ 15 w 1210"/>
                    <a:gd name="T11" fmla="*/ 36 h 244"/>
                    <a:gd name="T12" fmla="*/ 9 w 1210"/>
                    <a:gd name="T13" fmla="*/ 40 h 244"/>
                    <a:gd name="T14" fmla="*/ 5 w 1210"/>
                    <a:gd name="T15" fmla="*/ 45 h 244"/>
                    <a:gd name="T16" fmla="*/ 2 w 1210"/>
                    <a:gd name="T17" fmla="*/ 49 h 244"/>
                    <a:gd name="T18" fmla="*/ 0 w 1210"/>
                    <a:gd name="T19" fmla="*/ 54 h 244"/>
                    <a:gd name="T20" fmla="*/ 0 w 1210"/>
                    <a:gd name="T21" fmla="*/ 54 h 244"/>
                    <a:gd name="T22" fmla="*/ 0 w 1210"/>
                    <a:gd name="T23" fmla="*/ 56 h 244"/>
                    <a:gd name="T24" fmla="*/ 3 w 1210"/>
                    <a:gd name="T25" fmla="*/ 59 h 244"/>
                    <a:gd name="T26" fmla="*/ 13 w 1210"/>
                    <a:gd name="T27" fmla="*/ 67 h 244"/>
                    <a:gd name="T28" fmla="*/ 30 w 1210"/>
                    <a:gd name="T29" fmla="*/ 74 h 244"/>
                    <a:gd name="T30" fmla="*/ 52 w 1210"/>
                    <a:gd name="T31" fmla="*/ 85 h 244"/>
                    <a:gd name="T32" fmla="*/ 78 w 1210"/>
                    <a:gd name="T33" fmla="*/ 95 h 244"/>
                    <a:gd name="T34" fmla="*/ 112 w 1210"/>
                    <a:gd name="T35" fmla="*/ 105 h 244"/>
                    <a:gd name="T36" fmla="*/ 191 w 1210"/>
                    <a:gd name="T37" fmla="*/ 130 h 244"/>
                    <a:gd name="T38" fmla="*/ 285 w 1210"/>
                    <a:gd name="T39" fmla="*/ 154 h 244"/>
                    <a:gd name="T40" fmla="*/ 335 w 1210"/>
                    <a:gd name="T41" fmla="*/ 167 h 244"/>
                    <a:gd name="T42" fmla="*/ 390 w 1210"/>
                    <a:gd name="T43" fmla="*/ 179 h 244"/>
                    <a:gd name="T44" fmla="*/ 446 w 1210"/>
                    <a:gd name="T45" fmla="*/ 191 h 244"/>
                    <a:gd name="T46" fmla="*/ 503 w 1210"/>
                    <a:gd name="T47" fmla="*/ 201 h 244"/>
                    <a:gd name="T48" fmla="*/ 562 w 1210"/>
                    <a:gd name="T49" fmla="*/ 210 h 244"/>
                    <a:gd name="T50" fmla="*/ 623 w 1210"/>
                    <a:gd name="T51" fmla="*/ 219 h 244"/>
                    <a:gd name="T52" fmla="*/ 623 w 1210"/>
                    <a:gd name="T53" fmla="*/ 219 h 244"/>
                    <a:gd name="T54" fmla="*/ 682 w 1210"/>
                    <a:gd name="T55" fmla="*/ 226 h 244"/>
                    <a:gd name="T56" fmla="*/ 740 w 1210"/>
                    <a:gd name="T57" fmla="*/ 232 h 244"/>
                    <a:gd name="T58" fmla="*/ 794 w 1210"/>
                    <a:gd name="T59" fmla="*/ 237 h 244"/>
                    <a:gd name="T60" fmla="*/ 847 w 1210"/>
                    <a:gd name="T61" fmla="*/ 239 h 244"/>
                    <a:gd name="T62" fmla="*/ 898 w 1210"/>
                    <a:gd name="T63" fmla="*/ 242 h 244"/>
                    <a:gd name="T64" fmla="*/ 945 w 1210"/>
                    <a:gd name="T65" fmla="*/ 242 h 244"/>
                    <a:gd name="T66" fmla="*/ 989 w 1210"/>
                    <a:gd name="T67" fmla="*/ 244 h 244"/>
                    <a:gd name="T68" fmla="*/ 1030 w 1210"/>
                    <a:gd name="T69" fmla="*/ 242 h 244"/>
                    <a:gd name="T70" fmla="*/ 1067 w 1210"/>
                    <a:gd name="T71" fmla="*/ 241 h 244"/>
                    <a:gd name="T72" fmla="*/ 1101 w 1210"/>
                    <a:gd name="T73" fmla="*/ 238 h 244"/>
                    <a:gd name="T74" fmla="*/ 1131 w 1210"/>
                    <a:gd name="T75" fmla="*/ 237 h 244"/>
                    <a:gd name="T76" fmla="*/ 1156 w 1210"/>
                    <a:gd name="T77" fmla="*/ 232 h 244"/>
                    <a:gd name="T78" fmla="*/ 1178 w 1210"/>
                    <a:gd name="T79" fmla="*/ 229 h 244"/>
                    <a:gd name="T80" fmla="*/ 1193 w 1210"/>
                    <a:gd name="T81" fmla="*/ 225 h 244"/>
                    <a:gd name="T82" fmla="*/ 1204 w 1210"/>
                    <a:gd name="T83" fmla="*/ 220 h 244"/>
                    <a:gd name="T84" fmla="*/ 1210 w 1210"/>
                    <a:gd name="T85" fmla="*/ 216 h 244"/>
                    <a:gd name="T86" fmla="*/ 1210 w 1210"/>
                    <a:gd name="T87" fmla="*/ 216 h 244"/>
                    <a:gd name="T88" fmla="*/ 1210 w 1210"/>
                    <a:gd name="T89" fmla="*/ 213 h 244"/>
                    <a:gd name="T90" fmla="*/ 1209 w 1210"/>
                    <a:gd name="T91" fmla="*/ 211 h 244"/>
                    <a:gd name="T92" fmla="*/ 1199 w 1210"/>
                    <a:gd name="T93" fmla="*/ 209 h 244"/>
                    <a:gd name="T94" fmla="*/ 1181 w 1210"/>
                    <a:gd name="T95" fmla="*/ 206 h 244"/>
                    <a:gd name="T96" fmla="*/ 1157 w 1210"/>
                    <a:gd name="T97" fmla="*/ 201 h 244"/>
                    <a:gd name="T98" fmla="*/ 1092 w 1210"/>
                    <a:gd name="T99" fmla="*/ 192 h 244"/>
                    <a:gd name="T100" fmla="*/ 1010 w 1210"/>
                    <a:gd name="T101" fmla="*/ 182 h 244"/>
                    <a:gd name="T102" fmla="*/ 917 w 1210"/>
                    <a:gd name="T103" fmla="*/ 172 h 244"/>
                    <a:gd name="T104" fmla="*/ 816 w 1210"/>
                    <a:gd name="T105" fmla="*/ 158 h 244"/>
                    <a:gd name="T106" fmla="*/ 715 w 1210"/>
                    <a:gd name="T107" fmla="*/ 142 h 244"/>
                    <a:gd name="T108" fmla="*/ 666 w 1210"/>
                    <a:gd name="T109" fmla="*/ 135 h 244"/>
                    <a:gd name="T110" fmla="*/ 619 w 1210"/>
                    <a:gd name="T111" fmla="*/ 126 h 244"/>
                    <a:gd name="T112" fmla="*/ 619 w 1210"/>
                    <a:gd name="T113" fmla="*/ 126 h 244"/>
                    <a:gd name="T114" fmla="*/ 534 w 1210"/>
                    <a:gd name="T115" fmla="*/ 108 h 244"/>
                    <a:gd name="T116" fmla="*/ 446 w 1210"/>
                    <a:gd name="T117" fmla="*/ 87 h 244"/>
                    <a:gd name="T118" fmla="*/ 275 w 1210"/>
                    <a:gd name="T119" fmla="*/ 48 h 244"/>
                    <a:gd name="T120" fmla="*/ 142 w 1210"/>
                    <a:gd name="T121" fmla="*/ 14 h 244"/>
                    <a:gd name="T122" fmla="*/ 90 w 1210"/>
                    <a:gd name="T123" fmla="*/ 0 h 244"/>
                    <a:gd name="T124" fmla="*/ 90 w 1210"/>
                    <a:gd name="T125" fmla="*/ 0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10" h="244">
                      <a:moveTo>
                        <a:pt x="90" y="0"/>
                      </a:moveTo>
                      <a:lnTo>
                        <a:pt x="90" y="0"/>
                      </a:lnTo>
                      <a:lnTo>
                        <a:pt x="75" y="5"/>
                      </a:lnTo>
                      <a:lnTo>
                        <a:pt x="46" y="18"/>
                      </a:lnTo>
                      <a:lnTo>
                        <a:pt x="28" y="27"/>
                      </a:lnTo>
                      <a:lnTo>
                        <a:pt x="15" y="36"/>
                      </a:lnTo>
                      <a:lnTo>
                        <a:pt x="9" y="40"/>
                      </a:lnTo>
                      <a:lnTo>
                        <a:pt x="5" y="45"/>
                      </a:lnTo>
                      <a:lnTo>
                        <a:pt x="2" y="49"/>
                      </a:lnTo>
                      <a:lnTo>
                        <a:pt x="0" y="54"/>
                      </a:lnTo>
                      <a:lnTo>
                        <a:pt x="0" y="54"/>
                      </a:lnTo>
                      <a:lnTo>
                        <a:pt x="0" y="56"/>
                      </a:lnTo>
                      <a:lnTo>
                        <a:pt x="3" y="59"/>
                      </a:lnTo>
                      <a:lnTo>
                        <a:pt x="13" y="67"/>
                      </a:lnTo>
                      <a:lnTo>
                        <a:pt x="30" y="74"/>
                      </a:lnTo>
                      <a:lnTo>
                        <a:pt x="52" y="85"/>
                      </a:lnTo>
                      <a:lnTo>
                        <a:pt x="78" y="95"/>
                      </a:lnTo>
                      <a:lnTo>
                        <a:pt x="112" y="105"/>
                      </a:lnTo>
                      <a:lnTo>
                        <a:pt x="191" y="130"/>
                      </a:lnTo>
                      <a:lnTo>
                        <a:pt x="285" y="154"/>
                      </a:lnTo>
                      <a:lnTo>
                        <a:pt x="335" y="167"/>
                      </a:lnTo>
                      <a:lnTo>
                        <a:pt x="390" y="179"/>
                      </a:lnTo>
                      <a:lnTo>
                        <a:pt x="446" y="191"/>
                      </a:lnTo>
                      <a:lnTo>
                        <a:pt x="503" y="201"/>
                      </a:lnTo>
                      <a:lnTo>
                        <a:pt x="562" y="210"/>
                      </a:lnTo>
                      <a:lnTo>
                        <a:pt x="623" y="219"/>
                      </a:lnTo>
                      <a:lnTo>
                        <a:pt x="623" y="219"/>
                      </a:lnTo>
                      <a:lnTo>
                        <a:pt x="682" y="226"/>
                      </a:lnTo>
                      <a:lnTo>
                        <a:pt x="740" y="232"/>
                      </a:lnTo>
                      <a:lnTo>
                        <a:pt x="794" y="237"/>
                      </a:lnTo>
                      <a:lnTo>
                        <a:pt x="847" y="239"/>
                      </a:lnTo>
                      <a:lnTo>
                        <a:pt x="898" y="242"/>
                      </a:lnTo>
                      <a:lnTo>
                        <a:pt x="945" y="242"/>
                      </a:lnTo>
                      <a:lnTo>
                        <a:pt x="989" y="244"/>
                      </a:lnTo>
                      <a:lnTo>
                        <a:pt x="1030" y="242"/>
                      </a:lnTo>
                      <a:lnTo>
                        <a:pt x="1067" y="241"/>
                      </a:lnTo>
                      <a:lnTo>
                        <a:pt x="1101" y="238"/>
                      </a:lnTo>
                      <a:lnTo>
                        <a:pt x="1131" y="237"/>
                      </a:lnTo>
                      <a:lnTo>
                        <a:pt x="1156" y="232"/>
                      </a:lnTo>
                      <a:lnTo>
                        <a:pt x="1178" y="229"/>
                      </a:lnTo>
                      <a:lnTo>
                        <a:pt x="1193" y="225"/>
                      </a:lnTo>
                      <a:lnTo>
                        <a:pt x="1204" y="220"/>
                      </a:lnTo>
                      <a:lnTo>
                        <a:pt x="1210" y="216"/>
                      </a:lnTo>
                      <a:lnTo>
                        <a:pt x="1210" y="216"/>
                      </a:lnTo>
                      <a:lnTo>
                        <a:pt x="1210" y="213"/>
                      </a:lnTo>
                      <a:lnTo>
                        <a:pt x="1209" y="211"/>
                      </a:lnTo>
                      <a:lnTo>
                        <a:pt x="1199" y="209"/>
                      </a:lnTo>
                      <a:lnTo>
                        <a:pt x="1181" y="206"/>
                      </a:lnTo>
                      <a:lnTo>
                        <a:pt x="1157" y="201"/>
                      </a:lnTo>
                      <a:lnTo>
                        <a:pt x="1092" y="192"/>
                      </a:lnTo>
                      <a:lnTo>
                        <a:pt x="1010" y="182"/>
                      </a:lnTo>
                      <a:lnTo>
                        <a:pt x="917" y="172"/>
                      </a:lnTo>
                      <a:lnTo>
                        <a:pt x="816" y="158"/>
                      </a:lnTo>
                      <a:lnTo>
                        <a:pt x="715" y="142"/>
                      </a:lnTo>
                      <a:lnTo>
                        <a:pt x="666" y="135"/>
                      </a:lnTo>
                      <a:lnTo>
                        <a:pt x="619" y="126"/>
                      </a:lnTo>
                      <a:lnTo>
                        <a:pt x="619" y="126"/>
                      </a:lnTo>
                      <a:lnTo>
                        <a:pt x="534" y="108"/>
                      </a:lnTo>
                      <a:lnTo>
                        <a:pt x="446" y="87"/>
                      </a:lnTo>
                      <a:lnTo>
                        <a:pt x="275" y="48"/>
                      </a:lnTo>
                      <a:lnTo>
                        <a:pt x="142" y="14"/>
                      </a:lnTo>
                      <a:lnTo>
                        <a:pt x="90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bg1">
                        <a:lumMod val="85000"/>
                      </a:schemeClr>
                    </a:gs>
                    <a:gs pos="12000">
                      <a:srgbClr val="A39793">
                        <a:lumMod val="77000"/>
                      </a:srgbClr>
                    </a:gs>
                    <a:gs pos="84000">
                      <a:schemeClr val="tx1">
                        <a:lumMod val="75000"/>
                        <a:lumOff val="25000"/>
                      </a:schemeClr>
                    </a:gs>
                    <a:gs pos="44000">
                      <a:schemeClr val="bg1">
                        <a:lumMod val="95000"/>
                      </a:schemeClr>
                    </a:gs>
                  </a:gsLst>
                  <a:lin ang="0" scaled="0"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2" name="Freeform 11"/>
                <p:cNvSpPr>
                  <a:spLocks/>
                </p:cNvSpPr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191853" y="4010215"/>
                  <a:ext cx="283431" cy="84013"/>
                </a:xfrm>
                <a:custGeom>
                  <a:avLst/>
                  <a:gdLst>
                    <a:gd name="T0" fmla="*/ 542 w 554"/>
                    <a:gd name="T1" fmla="*/ 9 h 162"/>
                    <a:gd name="T2" fmla="*/ 542 w 554"/>
                    <a:gd name="T3" fmla="*/ 9 h 162"/>
                    <a:gd name="T4" fmla="*/ 527 w 554"/>
                    <a:gd name="T5" fmla="*/ 11 h 162"/>
                    <a:gd name="T6" fmla="*/ 506 w 554"/>
                    <a:gd name="T7" fmla="*/ 13 h 162"/>
                    <a:gd name="T8" fmla="*/ 444 w 554"/>
                    <a:gd name="T9" fmla="*/ 16 h 162"/>
                    <a:gd name="T10" fmla="*/ 368 w 554"/>
                    <a:gd name="T11" fmla="*/ 17 h 162"/>
                    <a:gd name="T12" fmla="*/ 282 w 554"/>
                    <a:gd name="T13" fmla="*/ 19 h 162"/>
                    <a:gd name="T14" fmla="*/ 198 w 554"/>
                    <a:gd name="T15" fmla="*/ 17 h 162"/>
                    <a:gd name="T16" fmla="*/ 120 w 554"/>
                    <a:gd name="T17" fmla="*/ 16 h 162"/>
                    <a:gd name="T18" fmla="*/ 59 w 554"/>
                    <a:gd name="T19" fmla="*/ 13 h 162"/>
                    <a:gd name="T20" fmla="*/ 38 w 554"/>
                    <a:gd name="T21" fmla="*/ 11 h 162"/>
                    <a:gd name="T22" fmla="*/ 24 w 554"/>
                    <a:gd name="T23" fmla="*/ 9 h 162"/>
                    <a:gd name="T24" fmla="*/ 24 w 554"/>
                    <a:gd name="T25" fmla="*/ 9 h 162"/>
                    <a:gd name="T26" fmla="*/ 13 w 554"/>
                    <a:gd name="T27" fmla="*/ 6 h 162"/>
                    <a:gd name="T28" fmla="*/ 0 w 554"/>
                    <a:gd name="T29" fmla="*/ 0 h 162"/>
                    <a:gd name="T30" fmla="*/ 0 w 554"/>
                    <a:gd name="T31" fmla="*/ 0 h 162"/>
                    <a:gd name="T32" fmla="*/ 24 w 554"/>
                    <a:gd name="T33" fmla="*/ 19 h 162"/>
                    <a:gd name="T34" fmla="*/ 56 w 554"/>
                    <a:gd name="T35" fmla="*/ 42 h 162"/>
                    <a:gd name="T36" fmla="*/ 93 w 554"/>
                    <a:gd name="T37" fmla="*/ 68 h 162"/>
                    <a:gd name="T38" fmla="*/ 131 w 554"/>
                    <a:gd name="T39" fmla="*/ 93 h 162"/>
                    <a:gd name="T40" fmla="*/ 201 w 554"/>
                    <a:gd name="T41" fmla="*/ 135 h 162"/>
                    <a:gd name="T42" fmla="*/ 236 w 554"/>
                    <a:gd name="T43" fmla="*/ 158 h 162"/>
                    <a:gd name="T44" fmla="*/ 236 w 554"/>
                    <a:gd name="T45" fmla="*/ 158 h 162"/>
                    <a:gd name="T46" fmla="*/ 244 w 554"/>
                    <a:gd name="T47" fmla="*/ 159 h 162"/>
                    <a:gd name="T48" fmla="*/ 254 w 554"/>
                    <a:gd name="T49" fmla="*/ 161 h 162"/>
                    <a:gd name="T50" fmla="*/ 279 w 554"/>
                    <a:gd name="T51" fmla="*/ 162 h 162"/>
                    <a:gd name="T52" fmla="*/ 304 w 554"/>
                    <a:gd name="T53" fmla="*/ 161 h 162"/>
                    <a:gd name="T54" fmla="*/ 314 w 554"/>
                    <a:gd name="T55" fmla="*/ 159 h 162"/>
                    <a:gd name="T56" fmla="*/ 322 w 554"/>
                    <a:gd name="T57" fmla="*/ 156 h 162"/>
                    <a:gd name="T58" fmla="*/ 322 w 554"/>
                    <a:gd name="T59" fmla="*/ 156 h 162"/>
                    <a:gd name="T60" fmla="*/ 337 w 554"/>
                    <a:gd name="T61" fmla="*/ 149 h 162"/>
                    <a:gd name="T62" fmla="*/ 360 w 554"/>
                    <a:gd name="T63" fmla="*/ 135 h 162"/>
                    <a:gd name="T64" fmla="*/ 425 w 554"/>
                    <a:gd name="T65" fmla="*/ 93 h 162"/>
                    <a:gd name="T66" fmla="*/ 554 w 554"/>
                    <a:gd name="T67" fmla="*/ 6 h 162"/>
                    <a:gd name="T68" fmla="*/ 554 w 554"/>
                    <a:gd name="T69" fmla="*/ 6 h 162"/>
                    <a:gd name="T70" fmla="*/ 542 w 554"/>
                    <a:gd name="T71" fmla="*/ 9 h 162"/>
                    <a:gd name="T72" fmla="*/ 542 w 554"/>
                    <a:gd name="T73" fmla="*/ 9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54" h="162">
                      <a:moveTo>
                        <a:pt x="542" y="9"/>
                      </a:moveTo>
                      <a:lnTo>
                        <a:pt x="542" y="9"/>
                      </a:lnTo>
                      <a:lnTo>
                        <a:pt x="527" y="11"/>
                      </a:lnTo>
                      <a:lnTo>
                        <a:pt x="506" y="13"/>
                      </a:lnTo>
                      <a:lnTo>
                        <a:pt x="444" y="16"/>
                      </a:lnTo>
                      <a:lnTo>
                        <a:pt x="368" y="17"/>
                      </a:lnTo>
                      <a:lnTo>
                        <a:pt x="282" y="19"/>
                      </a:lnTo>
                      <a:lnTo>
                        <a:pt x="198" y="17"/>
                      </a:lnTo>
                      <a:lnTo>
                        <a:pt x="120" y="16"/>
                      </a:lnTo>
                      <a:lnTo>
                        <a:pt x="59" y="13"/>
                      </a:lnTo>
                      <a:lnTo>
                        <a:pt x="38" y="11"/>
                      </a:lnTo>
                      <a:lnTo>
                        <a:pt x="24" y="9"/>
                      </a:lnTo>
                      <a:lnTo>
                        <a:pt x="24" y="9"/>
                      </a:lnTo>
                      <a:lnTo>
                        <a:pt x="13" y="6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4" y="19"/>
                      </a:lnTo>
                      <a:lnTo>
                        <a:pt x="56" y="42"/>
                      </a:lnTo>
                      <a:lnTo>
                        <a:pt x="93" y="68"/>
                      </a:lnTo>
                      <a:lnTo>
                        <a:pt x="131" y="93"/>
                      </a:lnTo>
                      <a:lnTo>
                        <a:pt x="201" y="135"/>
                      </a:lnTo>
                      <a:lnTo>
                        <a:pt x="236" y="158"/>
                      </a:lnTo>
                      <a:lnTo>
                        <a:pt x="236" y="158"/>
                      </a:lnTo>
                      <a:lnTo>
                        <a:pt x="244" y="159"/>
                      </a:lnTo>
                      <a:lnTo>
                        <a:pt x="254" y="161"/>
                      </a:lnTo>
                      <a:lnTo>
                        <a:pt x="279" y="162"/>
                      </a:lnTo>
                      <a:lnTo>
                        <a:pt x="304" y="161"/>
                      </a:lnTo>
                      <a:lnTo>
                        <a:pt x="314" y="159"/>
                      </a:lnTo>
                      <a:lnTo>
                        <a:pt x="322" y="156"/>
                      </a:lnTo>
                      <a:lnTo>
                        <a:pt x="322" y="156"/>
                      </a:lnTo>
                      <a:lnTo>
                        <a:pt x="337" y="149"/>
                      </a:lnTo>
                      <a:lnTo>
                        <a:pt x="360" y="135"/>
                      </a:lnTo>
                      <a:lnTo>
                        <a:pt x="425" y="93"/>
                      </a:lnTo>
                      <a:lnTo>
                        <a:pt x="554" y="6"/>
                      </a:lnTo>
                      <a:lnTo>
                        <a:pt x="554" y="6"/>
                      </a:lnTo>
                      <a:lnTo>
                        <a:pt x="542" y="9"/>
                      </a:lnTo>
                      <a:lnTo>
                        <a:pt x="542" y="9"/>
                      </a:lnTo>
                      <a:close/>
                    </a:path>
                  </a:pathLst>
                </a:custGeom>
                <a:gradFill flip="none" rotWithShape="1">
                  <a:gsLst>
                    <a:gs pos="82000">
                      <a:schemeClr val="tx1"/>
                    </a:gs>
                    <a:gs pos="19000">
                      <a:schemeClr val="bg2">
                        <a:lumMod val="10000"/>
                      </a:schemeClr>
                    </a:gs>
                    <a:gs pos="41000">
                      <a:srgbClr val="55382D"/>
                    </a:gs>
                  </a:gsLst>
                  <a:lin ang="9000000" scaled="0"/>
                  <a:tileRect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3" name="Freeform 12"/>
                <p:cNvSpPr>
                  <a:spLocks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2045003" y="3908451"/>
                  <a:ext cx="574052" cy="112962"/>
                </a:xfrm>
                <a:custGeom>
                  <a:avLst/>
                  <a:gdLst>
                    <a:gd name="T0" fmla="*/ 1109 w 1119"/>
                    <a:gd name="T1" fmla="*/ 54 h 222"/>
                    <a:gd name="T2" fmla="*/ 1109 w 1119"/>
                    <a:gd name="T3" fmla="*/ 54 h 222"/>
                    <a:gd name="T4" fmla="*/ 1112 w 1119"/>
                    <a:gd name="T5" fmla="*/ 49 h 222"/>
                    <a:gd name="T6" fmla="*/ 1115 w 1119"/>
                    <a:gd name="T7" fmla="*/ 39 h 222"/>
                    <a:gd name="T8" fmla="*/ 1116 w 1119"/>
                    <a:gd name="T9" fmla="*/ 24 h 222"/>
                    <a:gd name="T10" fmla="*/ 1119 w 1119"/>
                    <a:gd name="T11" fmla="*/ 5 h 222"/>
                    <a:gd name="T12" fmla="*/ 1119 w 1119"/>
                    <a:gd name="T13" fmla="*/ 5 h 222"/>
                    <a:gd name="T14" fmla="*/ 1013 w 1119"/>
                    <a:gd name="T15" fmla="*/ 11 h 222"/>
                    <a:gd name="T16" fmla="*/ 881 w 1119"/>
                    <a:gd name="T17" fmla="*/ 15 h 222"/>
                    <a:gd name="T18" fmla="*/ 809 w 1119"/>
                    <a:gd name="T19" fmla="*/ 18 h 222"/>
                    <a:gd name="T20" fmla="*/ 735 w 1119"/>
                    <a:gd name="T21" fmla="*/ 18 h 222"/>
                    <a:gd name="T22" fmla="*/ 658 w 1119"/>
                    <a:gd name="T23" fmla="*/ 18 h 222"/>
                    <a:gd name="T24" fmla="*/ 582 w 1119"/>
                    <a:gd name="T25" fmla="*/ 17 h 222"/>
                    <a:gd name="T26" fmla="*/ 582 w 1119"/>
                    <a:gd name="T27" fmla="*/ 17 h 222"/>
                    <a:gd name="T28" fmla="*/ 0 w 1119"/>
                    <a:gd name="T29" fmla="*/ 0 h 222"/>
                    <a:gd name="T30" fmla="*/ 0 w 1119"/>
                    <a:gd name="T31" fmla="*/ 0 h 222"/>
                    <a:gd name="T32" fmla="*/ 12 w 1119"/>
                    <a:gd name="T33" fmla="*/ 12 h 222"/>
                    <a:gd name="T34" fmla="*/ 25 w 1119"/>
                    <a:gd name="T35" fmla="*/ 27 h 222"/>
                    <a:gd name="T36" fmla="*/ 62 w 1119"/>
                    <a:gd name="T37" fmla="*/ 57 h 222"/>
                    <a:gd name="T38" fmla="*/ 105 w 1119"/>
                    <a:gd name="T39" fmla="*/ 90 h 222"/>
                    <a:gd name="T40" fmla="*/ 154 w 1119"/>
                    <a:gd name="T41" fmla="*/ 124 h 222"/>
                    <a:gd name="T42" fmla="*/ 201 w 1119"/>
                    <a:gd name="T43" fmla="*/ 155 h 222"/>
                    <a:gd name="T44" fmla="*/ 245 w 1119"/>
                    <a:gd name="T45" fmla="*/ 182 h 222"/>
                    <a:gd name="T46" fmla="*/ 282 w 1119"/>
                    <a:gd name="T47" fmla="*/ 201 h 222"/>
                    <a:gd name="T48" fmla="*/ 297 w 1119"/>
                    <a:gd name="T49" fmla="*/ 209 h 222"/>
                    <a:gd name="T50" fmla="*/ 309 w 1119"/>
                    <a:gd name="T51" fmla="*/ 212 h 222"/>
                    <a:gd name="T52" fmla="*/ 309 w 1119"/>
                    <a:gd name="T53" fmla="*/ 212 h 222"/>
                    <a:gd name="T54" fmla="*/ 323 w 1119"/>
                    <a:gd name="T55" fmla="*/ 214 h 222"/>
                    <a:gd name="T56" fmla="*/ 344 w 1119"/>
                    <a:gd name="T57" fmla="*/ 216 h 222"/>
                    <a:gd name="T58" fmla="*/ 405 w 1119"/>
                    <a:gd name="T59" fmla="*/ 219 h 222"/>
                    <a:gd name="T60" fmla="*/ 483 w 1119"/>
                    <a:gd name="T61" fmla="*/ 220 h 222"/>
                    <a:gd name="T62" fmla="*/ 567 w 1119"/>
                    <a:gd name="T63" fmla="*/ 222 h 222"/>
                    <a:gd name="T64" fmla="*/ 653 w 1119"/>
                    <a:gd name="T65" fmla="*/ 220 h 222"/>
                    <a:gd name="T66" fmla="*/ 729 w 1119"/>
                    <a:gd name="T67" fmla="*/ 219 h 222"/>
                    <a:gd name="T68" fmla="*/ 791 w 1119"/>
                    <a:gd name="T69" fmla="*/ 216 h 222"/>
                    <a:gd name="T70" fmla="*/ 812 w 1119"/>
                    <a:gd name="T71" fmla="*/ 214 h 222"/>
                    <a:gd name="T72" fmla="*/ 827 w 1119"/>
                    <a:gd name="T73" fmla="*/ 212 h 222"/>
                    <a:gd name="T74" fmla="*/ 827 w 1119"/>
                    <a:gd name="T75" fmla="*/ 212 h 222"/>
                    <a:gd name="T76" fmla="*/ 840 w 1119"/>
                    <a:gd name="T77" fmla="*/ 209 h 222"/>
                    <a:gd name="T78" fmla="*/ 855 w 1119"/>
                    <a:gd name="T79" fmla="*/ 203 h 222"/>
                    <a:gd name="T80" fmla="*/ 890 w 1119"/>
                    <a:gd name="T81" fmla="*/ 186 h 222"/>
                    <a:gd name="T82" fmla="*/ 931 w 1119"/>
                    <a:gd name="T83" fmla="*/ 164 h 222"/>
                    <a:gd name="T84" fmla="*/ 976 w 1119"/>
                    <a:gd name="T85" fmla="*/ 139 h 222"/>
                    <a:gd name="T86" fmla="*/ 1020 w 1119"/>
                    <a:gd name="T87" fmla="*/ 113 h 222"/>
                    <a:gd name="T88" fmla="*/ 1058 w 1119"/>
                    <a:gd name="T89" fmla="*/ 89 h 222"/>
                    <a:gd name="T90" fmla="*/ 1089 w 1119"/>
                    <a:gd name="T91" fmla="*/ 68 h 222"/>
                    <a:gd name="T92" fmla="*/ 1109 w 1119"/>
                    <a:gd name="T93" fmla="*/ 54 h 222"/>
                    <a:gd name="T94" fmla="*/ 1109 w 1119"/>
                    <a:gd name="T95" fmla="*/ 54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119" h="222">
                      <a:moveTo>
                        <a:pt x="1109" y="54"/>
                      </a:moveTo>
                      <a:lnTo>
                        <a:pt x="1109" y="54"/>
                      </a:lnTo>
                      <a:lnTo>
                        <a:pt x="1112" y="49"/>
                      </a:lnTo>
                      <a:lnTo>
                        <a:pt x="1115" y="39"/>
                      </a:lnTo>
                      <a:lnTo>
                        <a:pt x="1116" y="24"/>
                      </a:lnTo>
                      <a:lnTo>
                        <a:pt x="1119" y="5"/>
                      </a:lnTo>
                      <a:lnTo>
                        <a:pt x="1119" y="5"/>
                      </a:lnTo>
                      <a:lnTo>
                        <a:pt x="1013" y="11"/>
                      </a:lnTo>
                      <a:lnTo>
                        <a:pt x="881" y="15"/>
                      </a:lnTo>
                      <a:lnTo>
                        <a:pt x="809" y="18"/>
                      </a:lnTo>
                      <a:lnTo>
                        <a:pt x="735" y="18"/>
                      </a:lnTo>
                      <a:lnTo>
                        <a:pt x="658" y="18"/>
                      </a:lnTo>
                      <a:lnTo>
                        <a:pt x="582" y="17"/>
                      </a:lnTo>
                      <a:lnTo>
                        <a:pt x="582" y="17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2" y="12"/>
                      </a:lnTo>
                      <a:lnTo>
                        <a:pt x="25" y="27"/>
                      </a:lnTo>
                      <a:lnTo>
                        <a:pt x="62" y="57"/>
                      </a:lnTo>
                      <a:lnTo>
                        <a:pt x="105" y="90"/>
                      </a:lnTo>
                      <a:lnTo>
                        <a:pt x="154" y="124"/>
                      </a:lnTo>
                      <a:lnTo>
                        <a:pt x="201" y="155"/>
                      </a:lnTo>
                      <a:lnTo>
                        <a:pt x="245" y="182"/>
                      </a:lnTo>
                      <a:lnTo>
                        <a:pt x="282" y="201"/>
                      </a:lnTo>
                      <a:lnTo>
                        <a:pt x="297" y="209"/>
                      </a:lnTo>
                      <a:lnTo>
                        <a:pt x="309" y="212"/>
                      </a:lnTo>
                      <a:lnTo>
                        <a:pt x="309" y="212"/>
                      </a:lnTo>
                      <a:lnTo>
                        <a:pt x="323" y="214"/>
                      </a:lnTo>
                      <a:lnTo>
                        <a:pt x="344" y="216"/>
                      </a:lnTo>
                      <a:lnTo>
                        <a:pt x="405" y="219"/>
                      </a:lnTo>
                      <a:lnTo>
                        <a:pt x="483" y="220"/>
                      </a:lnTo>
                      <a:lnTo>
                        <a:pt x="567" y="222"/>
                      </a:lnTo>
                      <a:lnTo>
                        <a:pt x="653" y="220"/>
                      </a:lnTo>
                      <a:lnTo>
                        <a:pt x="729" y="219"/>
                      </a:lnTo>
                      <a:lnTo>
                        <a:pt x="791" y="216"/>
                      </a:lnTo>
                      <a:lnTo>
                        <a:pt x="812" y="214"/>
                      </a:lnTo>
                      <a:lnTo>
                        <a:pt x="827" y="212"/>
                      </a:lnTo>
                      <a:lnTo>
                        <a:pt x="827" y="212"/>
                      </a:lnTo>
                      <a:lnTo>
                        <a:pt x="840" y="209"/>
                      </a:lnTo>
                      <a:lnTo>
                        <a:pt x="855" y="203"/>
                      </a:lnTo>
                      <a:lnTo>
                        <a:pt x="890" y="186"/>
                      </a:lnTo>
                      <a:lnTo>
                        <a:pt x="931" y="164"/>
                      </a:lnTo>
                      <a:lnTo>
                        <a:pt x="976" y="139"/>
                      </a:lnTo>
                      <a:lnTo>
                        <a:pt x="1020" y="113"/>
                      </a:lnTo>
                      <a:lnTo>
                        <a:pt x="1058" y="89"/>
                      </a:lnTo>
                      <a:lnTo>
                        <a:pt x="1089" y="68"/>
                      </a:lnTo>
                      <a:lnTo>
                        <a:pt x="1109" y="54"/>
                      </a:lnTo>
                      <a:lnTo>
                        <a:pt x="1109" y="54"/>
                      </a:lnTo>
                      <a:close/>
                    </a:path>
                  </a:pathLst>
                </a:custGeom>
                <a:gradFill>
                  <a:gsLst>
                    <a:gs pos="56000">
                      <a:srgbClr val="544030">
                        <a:lumMod val="99000"/>
                      </a:srgbClr>
                    </a:gs>
                    <a:gs pos="100000">
                      <a:schemeClr val="bg1">
                        <a:lumMod val="75000"/>
                      </a:schemeClr>
                    </a:gs>
                    <a:gs pos="15000">
                      <a:schemeClr val="bg1">
                        <a:lumMod val="50000"/>
                      </a:schemeClr>
                    </a:gs>
                  </a:gsLst>
                  <a:lin ang="9000000" scaled="0"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4" name="Freeform 13"/>
                <p:cNvSpPr>
                  <a:spLocks/>
                </p:cNvSpPr>
                <p:nvPr>
                  <p:custDataLst>
                    <p:tags r:id="rId41"/>
                  </p:custDataLst>
                </p:nvPr>
              </p:nvSpPr>
              <p:spPr bwMode="auto">
                <a:xfrm>
                  <a:off x="2031653" y="3773924"/>
                  <a:ext cx="621290" cy="146851"/>
                </a:xfrm>
                <a:custGeom>
                  <a:avLst/>
                  <a:gdLst>
                    <a:gd name="T0" fmla="*/ 73 w 1210"/>
                    <a:gd name="T1" fmla="*/ 0 h 285"/>
                    <a:gd name="T2" fmla="*/ 110 w 1210"/>
                    <a:gd name="T3" fmla="*/ 16 h 285"/>
                    <a:gd name="T4" fmla="*/ 215 w 1210"/>
                    <a:gd name="T5" fmla="*/ 55 h 285"/>
                    <a:gd name="T6" fmla="*/ 293 w 1210"/>
                    <a:gd name="T7" fmla="*/ 78 h 285"/>
                    <a:gd name="T8" fmla="*/ 388 w 1210"/>
                    <a:gd name="T9" fmla="*/ 101 h 285"/>
                    <a:gd name="T10" fmla="*/ 499 w 1210"/>
                    <a:gd name="T11" fmla="*/ 121 h 285"/>
                    <a:gd name="T12" fmla="*/ 624 w 1210"/>
                    <a:gd name="T13" fmla="*/ 139 h 285"/>
                    <a:gd name="T14" fmla="*/ 749 w 1210"/>
                    <a:gd name="T15" fmla="*/ 151 h 285"/>
                    <a:gd name="T16" fmla="*/ 944 w 1210"/>
                    <a:gd name="T17" fmla="*/ 164 h 285"/>
                    <a:gd name="T18" fmla="*/ 1073 w 1210"/>
                    <a:gd name="T19" fmla="*/ 167 h 285"/>
                    <a:gd name="T20" fmla="*/ 1142 w 1210"/>
                    <a:gd name="T21" fmla="*/ 166 h 285"/>
                    <a:gd name="T22" fmla="*/ 1154 w 1210"/>
                    <a:gd name="T23" fmla="*/ 174 h 285"/>
                    <a:gd name="T24" fmla="*/ 1179 w 1210"/>
                    <a:gd name="T25" fmla="*/ 198 h 285"/>
                    <a:gd name="T26" fmla="*/ 1202 w 1210"/>
                    <a:gd name="T27" fmla="*/ 228 h 285"/>
                    <a:gd name="T28" fmla="*/ 1208 w 1210"/>
                    <a:gd name="T29" fmla="*/ 242 h 285"/>
                    <a:gd name="T30" fmla="*/ 1208 w 1210"/>
                    <a:gd name="T31" fmla="*/ 257 h 285"/>
                    <a:gd name="T32" fmla="*/ 1204 w 1210"/>
                    <a:gd name="T33" fmla="*/ 260 h 285"/>
                    <a:gd name="T34" fmla="*/ 1179 w 1210"/>
                    <a:gd name="T35" fmla="*/ 267 h 285"/>
                    <a:gd name="T36" fmla="*/ 1133 w 1210"/>
                    <a:gd name="T37" fmla="*/ 275 h 285"/>
                    <a:gd name="T38" fmla="*/ 1068 w 1210"/>
                    <a:gd name="T39" fmla="*/ 281 h 285"/>
                    <a:gd name="T40" fmla="*/ 987 w 1210"/>
                    <a:gd name="T41" fmla="*/ 285 h 285"/>
                    <a:gd name="T42" fmla="*/ 888 w 1210"/>
                    <a:gd name="T43" fmla="*/ 284 h 285"/>
                    <a:gd name="T44" fmla="*/ 777 w 1210"/>
                    <a:gd name="T45" fmla="*/ 279 h 285"/>
                    <a:gd name="T46" fmla="*/ 653 w 1210"/>
                    <a:gd name="T47" fmla="*/ 267 h 285"/>
                    <a:gd name="T48" fmla="*/ 589 w 1210"/>
                    <a:gd name="T49" fmla="*/ 258 h 285"/>
                    <a:gd name="T50" fmla="*/ 460 w 1210"/>
                    <a:gd name="T51" fmla="*/ 238 h 285"/>
                    <a:gd name="T52" fmla="*/ 346 w 1210"/>
                    <a:gd name="T53" fmla="*/ 216 h 285"/>
                    <a:gd name="T54" fmla="*/ 248 w 1210"/>
                    <a:gd name="T55" fmla="*/ 192 h 285"/>
                    <a:gd name="T56" fmla="*/ 163 w 1210"/>
                    <a:gd name="T57" fmla="*/ 167 h 285"/>
                    <a:gd name="T58" fmla="*/ 96 w 1210"/>
                    <a:gd name="T59" fmla="*/ 145 h 285"/>
                    <a:gd name="T60" fmla="*/ 45 w 1210"/>
                    <a:gd name="T61" fmla="*/ 123 h 285"/>
                    <a:gd name="T62" fmla="*/ 13 w 1210"/>
                    <a:gd name="T63" fmla="*/ 104 h 285"/>
                    <a:gd name="T64" fmla="*/ 1 w 1210"/>
                    <a:gd name="T65" fmla="*/ 92 h 285"/>
                    <a:gd name="T66" fmla="*/ 0 w 1210"/>
                    <a:gd name="T67" fmla="*/ 87 h 285"/>
                    <a:gd name="T68" fmla="*/ 1 w 1210"/>
                    <a:gd name="T69" fmla="*/ 73 h 285"/>
                    <a:gd name="T70" fmla="*/ 9 w 1210"/>
                    <a:gd name="T71" fmla="*/ 58 h 285"/>
                    <a:gd name="T72" fmla="*/ 34 w 1210"/>
                    <a:gd name="T73" fmla="*/ 30 h 285"/>
                    <a:gd name="T74" fmla="*/ 62 w 1210"/>
                    <a:gd name="T75" fmla="*/ 9 h 285"/>
                    <a:gd name="T76" fmla="*/ 73 w 1210"/>
                    <a:gd name="T77" fmla="*/ 0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210" h="285">
                      <a:moveTo>
                        <a:pt x="73" y="0"/>
                      </a:moveTo>
                      <a:lnTo>
                        <a:pt x="73" y="0"/>
                      </a:lnTo>
                      <a:lnTo>
                        <a:pt x="82" y="5"/>
                      </a:lnTo>
                      <a:lnTo>
                        <a:pt x="110" y="16"/>
                      </a:lnTo>
                      <a:lnTo>
                        <a:pt x="155" y="34"/>
                      </a:lnTo>
                      <a:lnTo>
                        <a:pt x="215" y="55"/>
                      </a:lnTo>
                      <a:lnTo>
                        <a:pt x="252" y="67"/>
                      </a:lnTo>
                      <a:lnTo>
                        <a:pt x="293" y="78"/>
                      </a:lnTo>
                      <a:lnTo>
                        <a:pt x="339" y="90"/>
                      </a:lnTo>
                      <a:lnTo>
                        <a:pt x="388" y="101"/>
                      </a:lnTo>
                      <a:lnTo>
                        <a:pt x="441" y="112"/>
                      </a:lnTo>
                      <a:lnTo>
                        <a:pt x="499" y="121"/>
                      </a:lnTo>
                      <a:lnTo>
                        <a:pt x="559" y="132"/>
                      </a:lnTo>
                      <a:lnTo>
                        <a:pt x="624" y="139"/>
                      </a:lnTo>
                      <a:lnTo>
                        <a:pt x="624" y="139"/>
                      </a:lnTo>
                      <a:lnTo>
                        <a:pt x="749" y="151"/>
                      </a:lnTo>
                      <a:lnTo>
                        <a:pt x="856" y="160"/>
                      </a:lnTo>
                      <a:lnTo>
                        <a:pt x="944" y="164"/>
                      </a:lnTo>
                      <a:lnTo>
                        <a:pt x="1017" y="167"/>
                      </a:lnTo>
                      <a:lnTo>
                        <a:pt x="1073" y="167"/>
                      </a:lnTo>
                      <a:lnTo>
                        <a:pt x="1111" y="167"/>
                      </a:lnTo>
                      <a:lnTo>
                        <a:pt x="1142" y="166"/>
                      </a:lnTo>
                      <a:lnTo>
                        <a:pt x="1142" y="166"/>
                      </a:lnTo>
                      <a:lnTo>
                        <a:pt x="1154" y="174"/>
                      </a:lnTo>
                      <a:lnTo>
                        <a:pt x="1166" y="185"/>
                      </a:lnTo>
                      <a:lnTo>
                        <a:pt x="1179" y="198"/>
                      </a:lnTo>
                      <a:lnTo>
                        <a:pt x="1192" y="213"/>
                      </a:lnTo>
                      <a:lnTo>
                        <a:pt x="1202" y="228"/>
                      </a:lnTo>
                      <a:lnTo>
                        <a:pt x="1207" y="235"/>
                      </a:lnTo>
                      <a:lnTo>
                        <a:pt x="1208" y="242"/>
                      </a:lnTo>
                      <a:lnTo>
                        <a:pt x="1210" y="250"/>
                      </a:lnTo>
                      <a:lnTo>
                        <a:pt x="1208" y="257"/>
                      </a:lnTo>
                      <a:lnTo>
                        <a:pt x="1208" y="257"/>
                      </a:lnTo>
                      <a:lnTo>
                        <a:pt x="1204" y="260"/>
                      </a:lnTo>
                      <a:lnTo>
                        <a:pt x="1194" y="263"/>
                      </a:lnTo>
                      <a:lnTo>
                        <a:pt x="1179" y="267"/>
                      </a:lnTo>
                      <a:lnTo>
                        <a:pt x="1158" y="272"/>
                      </a:lnTo>
                      <a:lnTo>
                        <a:pt x="1133" y="275"/>
                      </a:lnTo>
                      <a:lnTo>
                        <a:pt x="1104" y="278"/>
                      </a:lnTo>
                      <a:lnTo>
                        <a:pt x="1068" y="281"/>
                      </a:lnTo>
                      <a:lnTo>
                        <a:pt x="1030" y="284"/>
                      </a:lnTo>
                      <a:lnTo>
                        <a:pt x="987" y="285"/>
                      </a:lnTo>
                      <a:lnTo>
                        <a:pt x="940" y="285"/>
                      </a:lnTo>
                      <a:lnTo>
                        <a:pt x="888" y="284"/>
                      </a:lnTo>
                      <a:lnTo>
                        <a:pt x="835" y="282"/>
                      </a:lnTo>
                      <a:lnTo>
                        <a:pt x="777" y="279"/>
                      </a:lnTo>
                      <a:lnTo>
                        <a:pt x="717" y="273"/>
                      </a:lnTo>
                      <a:lnTo>
                        <a:pt x="653" y="267"/>
                      </a:lnTo>
                      <a:lnTo>
                        <a:pt x="589" y="258"/>
                      </a:lnTo>
                      <a:lnTo>
                        <a:pt x="589" y="258"/>
                      </a:lnTo>
                      <a:lnTo>
                        <a:pt x="522" y="248"/>
                      </a:lnTo>
                      <a:lnTo>
                        <a:pt x="460" y="238"/>
                      </a:lnTo>
                      <a:lnTo>
                        <a:pt x="403" y="226"/>
                      </a:lnTo>
                      <a:lnTo>
                        <a:pt x="346" y="216"/>
                      </a:lnTo>
                      <a:lnTo>
                        <a:pt x="295" y="204"/>
                      </a:lnTo>
                      <a:lnTo>
                        <a:pt x="248" y="192"/>
                      </a:lnTo>
                      <a:lnTo>
                        <a:pt x="203" y="179"/>
                      </a:lnTo>
                      <a:lnTo>
                        <a:pt x="163" y="167"/>
                      </a:lnTo>
                      <a:lnTo>
                        <a:pt x="127" y="155"/>
                      </a:lnTo>
                      <a:lnTo>
                        <a:pt x="96" y="145"/>
                      </a:lnTo>
                      <a:lnTo>
                        <a:pt x="68" y="133"/>
                      </a:lnTo>
                      <a:lnTo>
                        <a:pt x="45" y="123"/>
                      </a:lnTo>
                      <a:lnTo>
                        <a:pt x="26" y="112"/>
                      </a:lnTo>
                      <a:lnTo>
                        <a:pt x="13" y="104"/>
                      </a:lnTo>
                      <a:lnTo>
                        <a:pt x="4" y="95"/>
                      </a:lnTo>
                      <a:lnTo>
                        <a:pt x="1" y="92"/>
                      </a:lnTo>
                      <a:lnTo>
                        <a:pt x="0" y="87"/>
                      </a:lnTo>
                      <a:lnTo>
                        <a:pt x="0" y="87"/>
                      </a:lnTo>
                      <a:lnTo>
                        <a:pt x="0" y="80"/>
                      </a:lnTo>
                      <a:lnTo>
                        <a:pt x="1" y="73"/>
                      </a:lnTo>
                      <a:lnTo>
                        <a:pt x="4" y="65"/>
                      </a:lnTo>
                      <a:lnTo>
                        <a:pt x="9" y="58"/>
                      </a:lnTo>
                      <a:lnTo>
                        <a:pt x="20" y="44"/>
                      </a:lnTo>
                      <a:lnTo>
                        <a:pt x="34" y="30"/>
                      </a:lnTo>
                      <a:lnTo>
                        <a:pt x="48" y="18"/>
                      </a:lnTo>
                      <a:lnTo>
                        <a:pt x="62" y="9"/>
                      </a:lnTo>
                      <a:lnTo>
                        <a:pt x="73" y="0"/>
                      </a:lnTo>
                      <a:lnTo>
                        <a:pt x="73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bg1">
                        <a:lumMod val="85000"/>
                      </a:schemeClr>
                    </a:gs>
                    <a:gs pos="12000">
                      <a:srgbClr val="A39793">
                        <a:lumMod val="77000"/>
                      </a:srgbClr>
                    </a:gs>
                    <a:gs pos="84000">
                      <a:schemeClr val="tx1">
                        <a:lumMod val="75000"/>
                        <a:lumOff val="25000"/>
                      </a:schemeClr>
                    </a:gs>
                    <a:gs pos="44000">
                      <a:schemeClr val="bg1">
                        <a:lumMod val="95000"/>
                      </a:schemeClr>
                    </a:gs>
                  </a:gsLst>
                  <a:lin ang="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5" name="Freeform 5"/>
                <p:cNvSpPr>
                  <a:spLocks/>
                </p:cNvSpPr>
                <p:nvPr>
                  <p:custDataLst>
                    <p:tags r:id="rId42"/>
                  </p:custDataLst>
                </p:nvPr>
              </p:nvSpPr>
              <p:spPr bwMode="auto">
                <a:xfrm>
                  <a:off x="1571183" y="1489015"/>
                  <a:ext cx="1551685" cy="2049744"/>
                </a:xfrm>
                <a:custGeom>
                  <a:avLst/>
                  <a:gdLst>
                    <a:gd name="T0" fmla="*/ 2131 w 3021"/>
                    <a:gd name="T1" fmla="*/ 3920 h 3993"/>
                    <a:gd name="T2" fmla="*/ 2199 w 3021"/>
                    <a:gd name="T3" fmla="*/ 3864 h 3993"/>
                    <a:gd name="T4" fmla="*/ 2258 w 3021"/>
                    <a:gd name="T5" fmla="*/ 3782 h 3993"/>
                    <a:gd name="T6" fmla="*/ 2298 w 3021"/>
                    <a:gd name="T7" fmla="*/ 3665 h 3993"/>
                    <a:gd name="T8" fmla="*/ 2318 w 3021"/>
                    <a:gd name="T9" fmla="*/ 3491 h 3993"/>
                    <a:gd name="T10" fmla="*/ 2354 w 3021"/>
                    <a:gd name="T11" fmla="*/ 3252 h 3993"/>
                    <a:gd name="T12" fmla="*/ 2413 w 3021"/>
                    <a:gd name="T13" fmla="*/ 3039 h 3993"/>
                    <a:gd name="T14" fmla="*/ 2475 w 3021"/>
                    <a:gd name="T15" fmla="*/ 2883 h 3993"/>
                    <a:gd name="T16" fmla="*/ 2561 w 3021"/>
                    <a:gd name="T17" fmla="*/ 2719 h 3993"/>
                    <a:gd name="T18" fmla="*/ 2674 w 3021"/>
                    <a:gd name="T19" fmla="*/ 2540 h 3993"/>
                    <a:gd name="T20" fmla="*/ 2829 w 3021"/>
                    <a:gd name="T21" fmla="*/ 2270 h 3993"/>
                    <a:gd name="T22" fmla="*/ 2910 w 3021"/>
                    <a:gd name="T23" fmla="*/ 2096 h 3993"/>
                    <a:gd name="T24" fmla="*/ 2969 w 3021"/>
                    <a:gd name="T25" fmla="*/ 1922 h 3993"/>
                    <a:gd name="T26" fmla="*/ 3008 w 3021"/>
                    <a:gd name="T27" fmla="*/ 1743 h 3993"/>
                    <a:gd name="T28" fmla="*/ 3021 w 3021"/>
                    <a:gd name="T29" fmla="*/ 1560 h 3993"/>
                    <a:gd name="T30" fmla="*/ 3008 w 3021"/>
                    <a:gd name="T31" fmla="*/ 1365 h 3993"/>
                    <a:gd name="T32" fmla="*/ 2968 w 3021"/>
                    <a:gd name="T33" fmla="*/ 1159 h 3993"/>
                    <a:gd name="T34" fmla="*/ 2919 w 3021"/>
                    <a:gd name="T35" fmla="*/ 996 h 3993"/>
                    <a:gd name="T36" fmla="*/ 2839 w 3021"/>
                    <a:gd name="T37" fmla="*/ 805 h 3993"/>
                    <a:gd name="T38" fmla="*/ 2745 w 3021"/>
                    <a:gd name="T39" fmla="*/ 639 h 3993"/>
                    <a:gd name="T40" fmla="*/ 2640 w 3021"/>
                    <a:gd name="T41" fmla="*/ 498 h 3993"/>
                    <a:gd name="T42" fmla="*/ 2525 w 3021"/>
                    <a:gd name="T43" fmla="*/ 380 h 3993"/>
                    <a:gd name="T44" fmla="*/ 2406 w 3021"/>
                    <a:gd name="T45" fmla="*/ 281 h 3993"/>
                    <a:gd name="T46" fmla="*/ 2283 w 3021"/>
                    <a:gd name="T47" fmla="*/ 201 h 3993"/>
                    <a:gd name="T48" fmla="*/ 2071 w 3021"/>
                    <a:gd name="T49" fmla="*/ 101 h 3993"/>
                    <a:gd name="T50" fmla="*/ 1848 w 3021"/>
                    <a:gd name="T51" fmla="*/ 34 h 3993"/>
                    <a:gd name="T52" fmla="*/ 1669 w 3021"/>
                    <a:gd name="T53" fmla="*/ 6 h 3993"/>
                    <a:gd name="T54" fmla="*/ 1526 w 3021"/>
                    <a:gd name="T55" fmla="*/ 0 h 3993"/>
                    <a:gd name="T56" fmla="*/ 1417 w 3021"/>
                    <a:gd name="T57" fmla="*/ 3 h 3993"/>
                    <a:gd name="T58" fmla="*/ 1247 w 3021"/>
                    <a:gd name="T59" fmla="*/ 25 h 3993"/>
                    <a:gd name="T60" fmla="*/ 1027 w 3021"/>
                    <a:gd name="T61" fmla="*/ 80 h 3993"/>
                    <a:gd name="T62" fmla="*/ 781 w 3021"/>
                    <a:gd name="T63" fmla="*/ 183 h 3993"/>
                    <a:gd name="T64" fmla="*/ 655 w 3021"/>
                    <a:gd name="T65" fmla="*/ 259 h 3993"/>
                    <a:gd name="T66" fmla="*/ 531 w 3021"/>
                    <a:gd name="T67" fmla="*/ 353 h 3993"/>
                    <a:gd name="T68" fmla="*/ 413 w 3021"/>
                    <a:gd name="T69" fmla="*/ 467 h 3993"/>
                    <a:gd name="T70" fmla="*/ 304 w 3021"/>
                    <a:gd name="T71" fmla="*/ 601 h 3993"/>
                    <a:gd name="T72" fmla="*/ 205 w 3021"/>
                    <a:gd name="T73" fmla="*/ 760 h 3993"/>
                    <a:gd name="T74" fmla="*/ 119 w 3021"/>
                    <a:gd name="T75" fmla="*/ 946 h 3993"/>
                    <a:gd name="T76" fmla="*/ 52 w 3021"/>
                    <a:gd name="T77" fmla="*/ 1159 h 3993"/>
                    <a:gd name="T78" fmla="*/ 19 w 3021"/>
                    <a:gd name="T79" fmla="*/ 1315 h 3993"/>
                    <a:gd name="T80" fmla="*/ 0 w 3021"/>
                    <a:gd name="T81" fmla="*/ 1512 h 3993"/>
                    <a:gd name="T82" fmla="*/ 7 w 3021"/>
                    <a:gd name="T83" fmla="*/ 1699 h 3993"/>
                    <a:gd name="T84" fmla="*/ 38 w 3021"/>
                    <a:gd name="T85" fmla="*/ 1878 h 3993"/>
                    <a:gd name="T86" fmla="*/ 93 w 3021"/>
                    <a:gd name="T87" fmla="*/ 2053 h 3993"/>
                    <a:gd name="T88" fmla="*/ 168 w 3021"/>
                    <a:gd name="T89" fmla="*/ 2227 h 3993"/>
                    <a:gd name="T90" fmla="*/ 291 w 3021"/>
                    <a:gd name="T91" fmla="*/ 2449 h 3993"/>
                    <a:gd name="T92" fmla="*/ 434 w 3021"/>
                    <a:gd name="T93" fmla="*/ 2676 h 3993"/>
                    <a:gd name="T94" fmla="*/ 527 w 3021"/>
                    <a:gd name="T95" fmla="*/ 2843 h 3993"/>
                    <a:gd name="T96" fmla="*/ 593 w 3021"/>
                    <a:gd name="T97" fmla="*/ 3001 h 3993"/>
                    <a:gd name="T98" fmla="*/ 649 w 3021"/>
                    <a:gd name="T99" fmla="*/ 3184 h 3993"/>
                    <a:gd name="T100" fmla="*/ 695 w 3021"/>
                    <a:gd name="T101" fmla="*/ 3436 h 3993"/>
                    <a:gd name="T102" fmla="*/ 723 w 3021"/>
                    <a:gd name="T103" fmla="*/ 3665 h 3993"/>
                    <a:gd name="T104" fmla="*/ 750 w 3021"/>
                    <a:gd name="T105" fmla="*/ 3756 h 3993"/>
                    <a:gd name="T106" fmla="*/ 804 w 3021"/>
                    <a:gd name="T107" fmla="*/ 3846 h 3993"/>
                    <a:gd name="T108" fmla="*/ 872 w 3021"/>
                    <a:gd name="T109" fmla="*/ 3908 h 3993"/>
                    <a:gd name="T110" fmla="*/ 956 w 3021"/>
                    <a:gd name="T111" fmla="*/ 3959 h 3993"/>
                    <a:gd name="T112" fmla="*/ 1024 w 3021"/>
                    <a:gd name="T113" fmla="*/ 3973 h 3993"/>
                    <a:gd name="T114" fmla="*/ 1321 w 3021"/>
                    <a:gd name="T115" fmla="*/ 3990 h 3993"/>
                    <a:gd name="T116" fmla="*/ 1699 w 3021"/>
                    <a:gd name="T117" fmla="*/ 3990 h 3993"/>
                    <a:gd name="T118" fmla="*/ 1997 w 3021"/>
                    <a:gd name="T119" fmla="*/ 3973 h 3993"/>
                    <a:gd name="T120" fmla="*/ 2065 w 3021"/>
                    <a:gd name="T121" fmla="*/ 3959 h 39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021" h="3993">
                      <a:moveTo>
                        <a:pt x="2065" y="3959"/>
                      </a:moveTo>
                      <a:lnTo>
                        <a:pt x="2065" y="3959"/>
                      </a:lnTo>
                      <a:lnTo>
                        <a:pt x="2097" y="3941"/>
                      </a:lnTo>
                      <a:lnTo>
                        <a:pt x="2131" y="3920"/>
                      </a:lnTo>
                      <a:lnTo>
                        <a:pt x="2149" y="3908"/>
                      </a:lnTo>
                      <a:lnTo>
                        <a:pt x="2166" y="3895"/>
                      </a:lnTo>
                      <a:lnTo>
                        <a:pt x="2183" y="3880"/>
                      </a:lnTo>
                      <a:lnTo>
                        <a:pt x="2199" y="3864"/>
                      </a:lnTo>
                      <a:lnTo>
                        <a:pt x="2215" y="3846"/>
                      </a:lnTo>
                      <a:lnTo>
                        <a:pt x="2231" y="3827"/>
                      </a:lnTo>
                      <a:lnTo>
                        <a:pt x="2245" y="3805"/>
                      </a:lnTo>
                      <a:lnTo>
                        <a:pt x="2258" y="3782"/>
                      </a:lnTo>
                      <a:lnTo>
                        <a:pt x="2270" y="3756"/>
                      </a:lnTo>
                      <a:lnTo>
                        <a:pt x="2282" y="3728"/>
                      </a:lnTo>
                      <a:lnTo>
                        <a:pt x="2290" y="3697"/>
                      </a:lnTo>
                      <a:lnTo>
                        <a:pt x="2298" y="3665"/>
                      </a:lnTo>
                      <a:lnTo>
                        <a:pt x="2298" y="3665"/>
                      </a:lnTo>
                      <a:lnTo>
                        <a:pt x="2302" y="3628"/>
                      </a:lnTo>
                      <a:lnTo>
                        <a:pt x="2308" y="3587"/>
                      </a:lnTo>
                      <a:lnTo>
                        <a:pt x="2318" y="3491"/>
                      </a:lnTo>
                      <a:lnTo>
                        <a:pt x="2324" y="3436"/>
                      </a:lnTo>
                      <a:lnTo>
                        <a:pt x="2332" y="3379"/>
                      </a:lnTo>
                      <a:lnTo>
                        <a:pt x="2342" y="3317"/>
                      </a:lnTo>
                      <a:lnTo>
                        <a:pt x="2354" y="3252"/>
                      </a:lnTo>
                      <a:lnTo>
                        <a:pt x="2370" y="3184"/>
                      </a:lnTo>
                      <a:lnTo>
                        <a:pt x="2389" y="3113"/>
                      </a:lnTo>
                      <a:lnTo>
                        <a:pt x="2401" y="3076"/>
                      </a:lnTo>
                      <a:lnTo>
                        <a:pt x="2413" y="3039"/>
                      </a:lnTo>
                      <a:lnTo>
                        <a:pt x="2426" y="3001"/>
                      </a:lnTo>
                      <a:lnTo>
                        <a:pt x="2441" y="2962"/>
                      </a:lnTo>
                      <a:lnTo>
                        <a:pt x="2457" y="2923"/>
                      </a:lnTo>
                      <a:lnTo>
                        <a:pt x="2475" y="2883"/>
                      </a:lnTo>
                      <a:lnTo>
                        <a:pt x="2494" y="2843"/>
                      </a:lnTo>
                      <a:lnTo>
                        <a:pt x="2515" y="2802"/>
                      </a:lnTo>
                      <a:lnTo>
                        <a:pt x="2537" y="2760"/>
                      </a:lnTo>
                      <a:lnTo>
                        <a:pt x="2561" y="2719"/>
                      </a:lnTo>
                      <a:lnTo>
                        <a:pt x="2586" y="2676"/>
                      </a:lnTo>
                      <a:lnTo>
                        <a:pt x="2614" y="2633"/>
                      </a:lnTo>
                      <a:lnTo>
                        <a:pt x="2614" y="2633"/>
                      </a:lnTo>
                      <a:lnTo>
                        <a:pt x="2674" y="2540"/>
                      </a:lnTo>
                      <a:lnTo>
                        <a:pt x="2730" y="2449"/>
                      </a:lnTo>
                      <a:lnTo>
                        <a:pt x="2782" y="2359"/>
                      </a:lnTo>
                      <a:lnTo>
                        <a:pt x="2806" y="2314"/>
                      </a:lnTo>
                      <a:lnTo>
                        <a:pt x="2829" y="2270"/>
                      </a:lnTo>
                      <a:lnTo>
                        <a:pt x="2851" y="2227"/>
                      </a:lnTo>
                      <a:lnTo>
                        <a:pt x="2872" y="2183"/>
                      </a:lnTo>
                      <a:lnTo>
                        <a:pt x="2891" y="2140"/>
                      </a:lnTo>
                      <a:lnTo>
                        <a:pt x="2910" y="2096"/>
                      </a:lnTo>
                      <a:lnTo>
                        <a:pt x="2927" y="2053"/>
                      </a:lnTo>
                      <a:lnTo>
                        <a:pt x="2943" y="2009"/>
                      </a:lnTo>
                      <a:lnTo>
                        <a:pt x="2958" y="1965"/>
                      </a:lnTo>
                      <a:lnTo>
                        <a:pt x="2969" y="1922"/>
                      </a:lnTo>
                      <a:lnTo>
                        <a:pt x="2981" y="1878"/>
                      </a:lnTo>
                      <a:lnTo>
                        <a:pt x="2991" y="1833"/>
                      </a:lnTo>
                      <a:lnTo>
                        <a:pt x="3000" y="1789"/>
                      </a:lnTo>
                      <a:lnTo>
                        <a:pt x="3008" y="1743"/>
                      </a:lnTo>
                      <a:lnTo>
                        <a:pt x="3014" y="1699"/>
                      </a:lnTo>
                      <a:lnTo>
                        <a:pt x="3017" y="1653"/>
                      </a:lnTo>
                      <a:lnTo>
                        <a:pt x="3020" y="1606"/>
                      </a:lnTo>
                      <a:lnTo>
                        <a:pt x="3021" y="1560"/>
                      </a:lnTo>
                      <a:lnTo>
                        <a:pt x="3020" y="1512"/>
                      </a:lnTo>
                      <a:lnTo>
                        <a:pt x="3018" y="1464"/>
                      </a:lnTo>
                      <a:lnTo>
                        <a:pt x="3014" y="1416"/>
                      </a:lnTo>
                      <a:lnTo>
                        <a:pt x="3008" y="1365"/>
                      </a:lnTo>
                      <a:lnTo>
                        <a:pt x="3000" y="1315"/>
                      </a:lnTo>
                      <a:lnTo>
                        <a:pt x="2991" y="1265"/>
                      </a:lnTo>
                      <a:lnTo>
                        <a:pt x="2981" y="1212"/>
                      </a:lnTo>
                      <a:lnTo>
                        <a:pt x="2968" y="1159"/>
                      </a:lnTo>
                      <a:lnTo>
                        <a:pt x="2968" y="1159"/>
                      </a:lnTo>
                      <a:lnTo>
                        <a:pt x="2953" y="1103"/>
                      </a:lnTo>
                      <a:lnTo>
                        <a:pt x="2937" y="1050"/>
                      </a:lnTo>
                      <a:lnTo>
                        <a:pt x="2919" y="996"/>
                      </a:lnTo>
                      <a:lnTo>
                        <a:pt x="2900" y="946"/>
                      </a:lnTo>
                      <a:lnTo>
                        <a:pt x="2881" y="898"/>
                      </a:lnTo>
                      <a:lnTo>
                        <a:pt x="2860" y="850"/>
                      </a:lnTo>
                      <a:lnTo>
                        <a:pt x="2839" y="805"/>
                      </a:lnTo>
                      <a:lnTo>
                        <a:pt x="2817" y="760"/>
                      </a:lnTo>
                      <a:lnTo>
                        <a:pt x="2794" y="719"/>
                      </a:lnTo>
                      <a:lnTo>
                        <a:pt x="2770" y="678"/>
                      </a:lnTo>
                      <a:lnTo>
                        <a:pt x="2745" y="639"/>
                      </a:lnTo>
                      <a:lnTo>
                        <a:pt x="2720" y="601"/>
                      </a:lnTo>
                      <a:lnTo>
                        <a:pt x="2693" y="566"/>
                      </a:lnTo>
                      <a:lnTo>
                        <a:pt x="2667" y="532"/>
                      </a:lnTo>
                      <a:lnTo>
                        <a:pt x="2640" y="498"/>
                      </a:lnTo>
                      <a:lnTo>
                        <a:pt x="2612" y="467"/>
                      </a:lnTo>
                      <a:lnTo>
                        <a:pt x="2584" y="436"/>
                      </a:lnTo>
                      <a:lnTo>
                        <a:pt x="2555" y="406"/>
                      </a:lnTo>
                      <a:lnTo>
                        <a:pt x="2525" y="380"/>
                      </a:lnTo>
                      <a:lnTo>
                        <a:pt x="2496" y="353"/>
                      </a:lnTo>
                      <a:lnTo>
                        <a:pt x="2466" y="328"/>
                      </a:lnTo>
                      <a:lnTo>
                        <a:pt x="2437" y="303"/>
                      </a:lnTo>
                      <a:lnTo>
                        <a:pt x="2406" y="281"/>
                      </a:lnTo>
                      <a:lnTo>
                        <a:pt x="2376" y="259"/>
                      </a:lnTo>
                      <a:lnTo>
                        <a:pt x="2345" y="239"/>
                      </a:lnTo>
                      <a:lnTo>
                        <a:pt x="2314" y="219"/>
                      </a:lnTo>
                      <a:lnTo>
                        <a:pt x="2283" y="201"/>
                      </a:lnTo>
                      <a:lnTo>
                        <a:pt x="2252" y="183"/>
                      </a:lnTo>
                      <a:lnTo>
                        <a:pt x="2192" y="152"/>
                      </a:lnTo>
                      <a:lnTo>
                        <a:pt x="2131" y="124"/>
                      </a:lnTo>
                      <a:lnTo>
                        <a:pt x="2071" y="101"/>
                      </a:lnTo>
                      <a:lnTo>
                        <a:pt x="2013" y="80"/>
                      </a:lnTo>
                      <a:lnTo>
                        <a:pt x="1955" y="62"/>
                      </a:lnTo>
                      <a:lnTo>
                        <a:pt x="1901" y="47"/>
                      </a:lnTo>
                      <a:lnTo>
                        <a:pt x="1848" y="34"/>
                      </a:lnTo>
                      <a:lnTo>
                        <a:pt x="1799" y="25"/>
                      </a:lnTo>
                      <a:lnTo>
                        <a:pt x="1752" y="16"/>
                      </a:lnTo>
                      <a:lnTo>
                        <a:pt x="1707" y="11"/>
                      </a:lnTo>
                      <a:lnTo>
                        <a:pt x="1669" y="6"/>
                      </a:lnTo>
                      <a:lnTo>
                        <a:pt x="1634" y="3"/>
                      </a:lnTo>
                      <a:lnTo>
                        <a:pt x="1576" y="0"/>
                      </a:lnTo>
                      <a:lnTo>
                        <a:pt x="1539" y="0"/>
                      </a:lnTo>
                      <a:lnTo>
                        <a:pt x="1526" y="0"/>
                      </a:lnTo>
                      <a:lnTo>
                        <a:pt x="1526" y="0"/>
                      </a:lnTo>
                      <a:lnTo>
                        <a:pt x="1514" y="0"/>
                      </a:lnTo>
                      <a:lnTo>
                        <a:pt x="1476" y="0"/>
                      </a:lnTo>
                      <a:lnTo>
                        <a:pt x="1417" y="3"/>
                      </a:lnTo>
                      <a:lnTo>
                        <a:pt x="1381" y="6"/>
                      </a:lnTo>
                      <a:lnTo>
                        <a:pt x="1340" y="11"/>
                      </a:lnTo>
                      <a:lnTo>
                        <a:pt x="1296" y="16"/>
                      </a:lnTo>
                      <a:lnTo>
                        <a:pt x="1247" y="25"/>
                      </a:lnTo>
                      <a:lnTo>
                        <a:pt x="1195" y="34"/>
                      </a:lnTo>
                      <a:lnTo>
                        <a:pt x="1142" y="47"/>
                      </a:lnTo>
                      <a:lnTo>
                        <a:pt x="1086" y="62"/>
                      </a:lnTo>
                      <a:lnTo>
                        <a:pt x="1027" y="80"/>
                      </a:lnTo>
                      <a:lnTo>
                        <a:pt x="967" y="101"/>
                      </a:lnTo>
                      <a:lnTo>
                        <a:pt x="906" y="124"/>
                      </a:lnTo>
                      <a:lnTo>
                        <a:pt x="844" y="152"/>
                      </a:lnTo>
                      <a:lnTo>
                        <a:pt x="781" y="183"/>
                      </a:lnTo>
                      <a:lnTo>
                        <a:pt x="750" y="201"/>
                      </a:lnTo>
                      <a:lnTo>
                        <a:pt x="717" y="219"/>
                      </a:lnTo>
                      <a:lnTo>
                        <a:pt x="686" y="239"/>
                      </a:lnTo>
                      <a:lnTo>
                        <a:pt x="655" y="259"/>
                      </a:lnTo>
                      <a:lnTo>
                        <a:pt x="624" y="281"/>
                      </a:lnTo>
                      <a:lnTo>
                        <a:pt x="593" y="303"/>
                      </a:lnTo>
                      <a:lnTo>
                        <a:pt x="562" y="328"/>
                      </a:lnTo>
                      <a:lnTo>
                        <a:pt x="531" y="353"/>
                      </a:lnTo>
                      <a:lnTo>
                        <a:pt x="502" y="380"/>
                      </a:lnTo>
                      <a:lnTo>
                        <a:pt x="472" y="406"/>
                      </a:lnTo>
                      <a:lnTo>
                        <a:pt x="443" y="436"/>
                      </a:lnTo>
                      <a:lnTo>
                        <a:pt x="413" y="467"/>
                      </a:lnTo>
                      <a:lnTo>
                        <a:pt x="385" y="498"/>
                      </a:lnTo>
                      <a:lnTo>
                        <a:pt x="357" y="532"/>
                      </a:lnTo>
                      <a:lnTo>
                        <a:pt x="331" y="566"/>
                      </a:lnTo>
                      <a:lnTo>
                        <a:pt x="304" y="601"/>
                      </a:lnTo>
                      <a:lnTo>
                        <a:pt x="277" y="639"/>
                      </a:lnTo>
                      <a:lnTo>
                        <a:pt x="252" y="678"/>
                      </a:lnTo>
                      <a:lnTo>
                        <a:pt x="229" y="719"/>
                      </a:lnTo>
                      <a:lnTo>
                        <a:pt x="205" y="760"/>
                      </a:lnTo>
                      <a:lnTo>
                        <a:pt x="181" y="805"/>
                      </a:lnTo>
                      <a:lnTo>
                        <a:pt x="161" y="850"/>
                      </a:lnTo>
                      <a:lnTo>
                        <a:pt x="140" y="898"/>
                      </a:lnTo>
                      <a:lnTo>
                        <a:pt x="119" y="946"/>
                      </a:lnTo>
                      <a:lnTo>
                        <a:pt x="102" y="996"/>
                      </a:lnTo>
                      <a:lnTo>
                        <a:pt x="84" y="1050"/>
                      </a:lnTo>
                      <a:lnTo>
                        <a:pt x="68" y="1103"/>
                      </a:lnTo>
                      <a:lnTo>
                        <a:pt x="52" y="1159"/>
                      </a:lnTo>
                      <a:lnTo>
                        <a:pt x="52" y="1159"/>
                      </a:lnTo>
                      <a:lnTo>
                        <a:pt x="40" y="1212"/>
                      </a:lnTo>
                      <a:lnTo>
                        <a:pt x="28" y="1265"/>
                      </a:lnTo>
                      <a:lnTo>
                        <a:pt x="19" y="1315"/>
                      </a:lnTo>
                      <a:lnTo>
                        <a:pt x="12" y="1365"/>
                      </a:lnTo>
                      <a:lnTo>
                        <a:pt x="6" y="1416"/>
                      </a:lnTo>
                      <a:lnTo>
                        <a:pt x="3" y="1464"/>
                      </a:lnTo>
                      <a:lnTo>
                        <a:pt x="0" y="1512"/>
                      </a:lnTo>
                      <a:lnTo>
                        <a:pt x="0" y="1560"/>
                      </a:lnTo>
                      <a:lnTo>
                        <a:pt x="0" y="1606"/>
                      </a:lnTo>
                      <a:lnTo>
                        <a:pt x="3" y="1653"/>
                      </a:lnTo>
                      <a:lnTo>
                        <a:pt x="7" y="1699"/>
                      </a:lnTo>
                      <a:lnTo>
                        <a:pt x="13" y="1743"/>
                      </a:lnTo>
                      <a:lnTo>
                        <a:pt x="19" y="1789"/>
                      </a:lnTo>
                      <a:lnTo>
                        <a:pt x="28" y="1833"/>
                      </a:lnTo>
                      <a:lnTo>
                        <a:pt x="38" y="1878"/>
                      </a:lnTo>
                      <a:lnTo>
                        <a:pt x="50" y="1922"/>
                      </a:lnTo>
                      <a:lnTo>
                        <a:pt x="63" y="1965"/>
                      </a:lnTo>
                      <a:lnTo>
                        <a:pt x="77" y="2009"/>
                      </a:lnTo>
                      <a:lnTo>
                        <a:pt x="93" y="2053"/>
                      </a:lnTo>
                      <a:lnTo>
                        <a:pt x="111" y="2096"/>
                      </a:lnTo>
                      <a:lnTo>
                        <a:pt x="128" y="2140"/>
                      </a:lnTo>
                      <a:lnTo>
                        <a:pt x="148" y="2183"/>
                      </a:lnTo>
                      <a:lnTo>
                        <a:pt x="168" y="2227"/>
                      </a:lnTo>
                      <a:lnTo>
                        <a:pt x="190" y="2270"/>
                      </a:lnTo>
                      <a:lnTo>
                        <a:pt x="214" y="2314"/>
                      </a:lnTo>
                      <a:lnTo>
                        <a:pt x="238" y="2359"/>
                      </a:lnTo>
                      <a:lnTo>
                        <a:pt x="291" y="2449"/>
                      </a:lnTo>
                      <a:lnTo>
                        <a:pt x="347" y="2540"/>
                      </a:lnTo>
                      <a:lnTo>
                        <a:pt x="407" y="2633"/>
                      </a:lnTo>
                      <a:lnTo>
                        <a:pt x="407" y="2633"/>
                      </a:lnTo>
                      <a:lnTo>
                        <a:pt x="434" y="2676"/>
                      </a:lnTo>
                      <a:lnTo>
                        <a:pt x="460" y="2719"/>
                      </a:lnTo>
                      <a:lnTo>
                        <a:pt x="484" y="2760"/>
                      </a:lnTo>
                      <a:lnTo>
                        <a:pt x="506" y="2802"/>
                      </a:lnTo>
                      <a:lnTo>
                        <a:pt x="527" y="2843"/>
                      </a:lnTo>
                      <a:lnTo>
                        <a:pt x="545" y="2883"/>
                      </a:lnTo>
                      <a:lnTo>
                        <a:pt x="562" y="2923"/>
                      </a:lnTo>
                      <a:lnTo>
                        <a:pt x="578" y="2962"/>
                      </a:lnTo>
                      <a:lnTo>
                        <a:pt x="593" y="3001"/>
                      </a:lnTo>
                      <a:lnTo>
                        <a:pt x="607" y="3039"/>
                      </a:lnTo>
                      <a:lnTo>
                        <a:pt x="620" y="3076"/>
                      </a:lnTo>
                      <a:lnTo>
                        <a:pt x="630" y="3113"/>
                      </a:lnTo>
                      <a:lnTo>
                        <a:pt x="649" y="3184"/>
                      </a:lnTo>
                      <a:lnTo>
                        <a:pt x="666" y="3252"/>
                      </a:lnTo>
                      <a:lnTo>
                        <a:pt x="677" y="3317"/>
                      </a:lnTo>
                      <a:lnTo>
                        <a:pt x="688" y="3379"/>
                      </a:lnTo>
                      <a:lnTo>
                        <a:pt x="695" y="3436"/>
                      </a:lnTo>
                      <a:lnTo>
                        <a:pt x="702" y="3491"/>
                      </a:lnTo>
                      <a:lnTo>
                        <a:pt x="713" y="3587"/>
                      </a:lnTo>
                      <a:lnTo>
                        <a:pt x="717" y="3628"/>
                      </a:lnTo>
                      <a:lnTo>
                        <a:pt x="723" y="3665"/>
                      </a:lnTo>
                      <a:lnTo>
                        <a:pt x="723" y="3665"/>
                      </a:lnTo>
                      <a:lnTo>
                        <a:pt x="730" y="3697"/>
                      </a:lnTo>
                      <a:lnTo>
                        <a:pt x="739" y="3728"/>
                      </a:lnTo>
                      <a:lnTo>
                        <a:pt x="750" y="3756"/>
                      </a:lnTo>
                      <a:lnTo>
                        <a:pt x="761" y="3782"/>
                      </a:lnTo>
                      <a:lnTo>
                        <a:pt x="775" y="3805"/>
                      </a:lnTo>
                      <a:lnTo>
                        <a:pt x="790" y="3827"/>
                      </a:lnTo>
                      <a:lnTo>
                        <a:pt x="804" y="3846"/>
                      </a:lnTo>
                      <a:lnTo>
                        <a:pt x="821" y="3864"/>
                      </a:lnTo>
                      <a:lnTo>
                        <a:pt x="837" y="3880"/>
                      </a:lnTo>
                      <a:lnTo>
                        <a:pt x="854" y="3895"/>
                      </a:lnTo>
                      <a:lnTo>
                        <a:pt x="872" y="3908"/>
                      </a:lnTo>
                      <a:lnTo>
                        <a:pt x="888" y="3920"/>
                      </a:lnTo>
                      <a:lnTo>
                        <a:pt x="924" y="3941"/>
                      </a:lnTo>
                      <a:lnTo>
                        <a:pt x="956" y="3959"/>
                      </a:lnTo>
                      <a:lnTo>
                        <a:pt x="956" y="3959"/>
                      </a:lnTo>
                      <a:lnTo>
                        <a:pt x="967" y="3963"/>
                      </a:lnTo>
                      <a:lnTo>
                        <a:pt x="981" y="3966"/>
                      </a:lnTo>
                      <a:lnTo>
                        <a:pt x="1001" y="3970"/>
                      </a:lnTo>
                      <a:lnTo>
                        <a:pt x="1024" y="3973"/>
                      </a:lnTo>
                      <a:lnTo>
                        <a:pt x="1082" y="3979"/>
                      </a:lnTo>
                      <a:lnTo>
                        <a:pt x="1153" y="3984"/>
                      </a:lnTo>
                      <a:lnTo>
                        <a:pt x="1232" y="3987"/>
                      </a:lnTo>
                      <a:lnTo>
                        <a:pt x="1321" y="3990"/>
                      </a:lnTo>
                      <a:lnTo>
                        <a:pt x="1414" y="3991"/>
                      </a:lnTo>
                      <a:lnTo>
                        <a:pt x="1510" y="3993"/>
                      </a:lnTo>
                      <a:lnTo>
                        <a:pt x="1606" y="3991"/>
                      </a:lnTo>
                      <a:lnTo>
                        <a:pt x="1699" y="3990"/>
                      </a:lnTo>
                      <a:lnTo>
                        <a:pt x="1787" y="3987"/>
                      </a:lnTo>
                      <a:lnTo>
                        <a:pt x="1868" y="3984"/>
                      </a:lnTo>
                      <a:lnTo>
                        <a:pt x="1938" y="3979"/>
                      </a:lnTo>
                      <a:lnTo>
                        <a:pt x="1997" y="3973"/>
                      </a:lnTo>
                      <a:lnTo>
                        <a:pt x="2020" y="3970"/>
                      </a:lnTo>
                      <a:lnTo>
                        <a:pt x="2040" y="3966"/>
                      </a:lnTo>
                      <a:lnTo>
                        <a:pt x="2054" y="3963"/>
                      </a:lnTo>
                      <a:lnTo>
                        <a:pt x="2065" y="3959"/>
                      </a:lnTo>
                      <a:lnTo>
                        <a:pt x="2065" y="3959"/>
                      </a:lnTo>
                      <a:close/>
                    </a:path>
                  </a:pathLst>
                </a:custGeom>
                <a:gradFill flip="none" rotWithShape="1">
                  <a:gsLst>
                    <a:gs pos="88000">
                      <a:srgbClr val="4A7DBA"/>
                    </a:gs>
                    <a:gs pos="49000">
                      <a:srgbClr val="95B3D7"/>
                    </a:gs>
                    <a:gs pos="7000">
                      <a:schemeClr val="bg1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2225" cap="rnd">
                  <a:solidFill>
                    <a:srgbClr val="17375E">
                      <a:alpha val="66000"/>
                    </a:srgbClr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6" name="Freeform 6"/>
                <p:cNvSpPr>
                  <a:spLocks/>
                </p:cNvSpPr>
                <p:nvPr>
                  <p:custDataLst>
                    <p:tags r:id="rId43"/>
                  </p:custDataLst>
                </p:nvPr>
              </p:nvSpPr>
              <p:spPr bwMode="auto">
                <a:xfrm>
                  <a:off x="1600964" y="1543442"/>
                  <a:ext cx="1445911" cy="743494"/>
                </a:xfrm>
                <a:custGeom>
                  <a:avLst/>
                  <a:gdLst>
                    <a:gd name="T0" fmla="*/ 74 w 2817"/>
                    <a:gd name="T1" fmla="*/ 1061 h 1446"/>
                    <a:gd name="T2" fmla="*/ 148 w 2817"/>
                    <a:gd name="T3" fmla="*/ 863 h 1446"/>
                    <a:gd name="T4" fmla="*/ 235 w 2817"/>
                    <a:gd name="T5" fmla="*/ 694 h 1446"/>
                    <a:gd name="T6" fmla="*/ 335 w 2817"/>
                    <a:gd name="T7" fmla="*/ 549 h 1446"/>
                    <a:gd name="T8" fmla="*/ 443 w 2817"/>
                    <a:gd name="T9" fmla="*/ 428 h 1446"/>
                    <a:gd name="T10" fmla="*/ 558 w 2817"/>
                    <a:gd name="T11" fmla="*/ 328 h 1446"/>
                    <a:gd name="T12" fmla="*/ 676 w 2817"/>
                    <a:gd name="T13" fmla="*/ 248 h 1446"/>
                    <a:gd name="T14" fmla="*/ 853 w 2817"/>
                    <a:gd name="T15" fmla="*/ 159 h 1446"/>
                    <a:gd name="T16" fmla="*/ 1076 w 2817"/>
                    <a:gd name="T17" fmla="*/ 90 h 1446"/>
                    <a:gd name="T18" fmla="*/ 1262 w 2817"/>
                    <a:gd name="T19" fmla="*/ 60 h 1446"/>
                    <a:gd name="T20" fmla="*/ 1424 w 2817"/>
                    <a:gd name="T21" fmla="*/ 56 h 1446"/>
                    <a:gd name="T22" fmla="*/ 1483 w 2817"/>
                    <a:gd name="T23" fmla="*/ 56 h 1446"/>
                    <a:gd name="T24" fmla="*/ 1649 w 2817"/>
                    <a:gd name="T25" fmla="*/ 72 h 1446"/>
                    <a:gd name="T26" fmla="*/ 1842 w 2817"/>
                    <a:gd name="T27" fmla="*/ 115 h 1446"/>
                    <a:gd name="T28" fmla="*/ 2066 w 2817"/>
                    <a:gd name="T29" fmla="*/ 202 h 1446"/>
                    <a:gd name="T30" fmla="*/ 2240 w 2817"/>
                    <a:gd name="T31" fmla="*/ 304 h 1446"/>
                    <a:gd name="T32" fmla="*/ 2357 w 2817"/>
                    <a:gd name="T33" fmla="*/ 394 h 1446"/>
                    <a:gd name="T34" fmla="*/ 2468 w 2817"/>
                    <a:gd name="T35" fmla="*/ 503 h 1446"/>
                    <a:gd name="T36" fmla="*/ 2571 w 2817"/>
                    <a:gd name="T37" fmla="*/ 633 h 1446"/>
                    <a:gd name="T38" fmla="*/ 2665 w 2817"/>
                    <a:gd name="T39" fmla="*/ 787 h 1446"/>
                    <a:gd name="T40" fmla="*/ 2748 w 2817"/>
                    <a:gd name="T41" fmla="*/ 964 h 1446"/>
                    <a:gd name="T42" fmla="*/ 2816 w 2817"/>
                    <a:gd name="T43" fmla="*/ 1169 h 1446"/>
                    <a:gd name="T44" fmla="*/ 2788 w 2817"/>
                    <a:gd name="T45" fmla="*/ 1049 h 1446"/>
                    <a:gd name="T46" fmla="*/ 2714 w 2817"/>
                    <a:gd name="T47" fmla="*/ 850 h 1446"/>
                    <a:gd name="T48" fmla="*/ 2627 w 2817"/>
                    <a:gd name="T49" fmla="*/ 679 h 1446"/>
                    <a:gd name="T50" fmla="*/ 2527 w 2817"/>
                    <a:gd name="T51" fmla="*/ 531 h 1446"/>
                    <a:gd name="T52" fmla="*/ 2419 w 2817"/>
                    <a:gd name="T53" fmla="*/ 407 h 1446"/>
                    <a:gd name="T54" fmla="*/ 2305 w 2817"/>
                    <a:gd name="T55" fmla="*/ 304 h 1446"/>
                    <a:gd name="T56" fmla="*/ 2187 w 2817"/>
                    <a:gd name="T57" fmla="*/ 220 h 1446"/>
                    <a:gd name="T58" fmla="*/ 2010 w 2817"/>
                    <a:gd name="T59" fmla="*/ 125 h 1446"/>
                    <a:gd name="T60" fmla="*/ 1789 w 2817"/>
                    <a:gd name="T61" fmla="*/ 47 h 1446"/>
                    <a:gd name="T62" fmla="*/ 1603 w 2817"/>
                    <a:gd name="T63" fmla="*/ 12 h 1446"/>
                    <a:gd name="T64" fmla="*/ 1439 w 2817"/>
                    <a:gd name="T65" fmla="*/ 0 h 1446"/>
                    <a:gd name="T66" fmla="*/ 1378 w 2817"/>
                    <a:gd name="T67" fmla="*/ 1 h 1446"/>
                    <a:gd name="T68" fmla="*/ 1207 w 2817"/>
                    <a:gd name="T69" fmla="*/ 18 h 1446"/>
                    <a:gd name="T70" fmla="*/ 1007 w 2817"/>
                    <a:gd name="T71" fmla="*/ 63 h 1446"/>
                    <a:gd name="T72" fmla="*/ 776 w 2817"/>
                    <a:gd name="T73" fmla="*/ 155 h 1446"/>
                    <a:gd name="T74" fmla="*/ 627 w 2817"/>
                    <a:gd name="T75" fmla="*/ 242 h 1446"/>
                    <a:gd name="T76" fmla="*/ 508 w 2817"/>
                    <a:gd name="T77" fmla="*/ 331 h 1446"/>
                    <a:gd name="T78" fmla="*/ 393 w 2817"/>
                    <a:gd name="T79" fmla="*/ 440 h 1446"/>
                    <a:gd name="T80" fmla="*/ 286 w 2817"/>
                    <a:gd name="T81" fmla="*/ 570 h 1446"/>
                    <a:gd name="T82" fmla="*/ 187 w 2817"/>
                    <a:gd name="T83" fmla="*/ 723 h 1446"/>
                    <a:gd name="T84" fmla="*/ 103 w 2817"/>
                    <a:gd name="T85" fmla="*/ 902 h 1446"/>
                    <a:gd name="T86" fmla="*/ 32 w 2817"/>
                    <a:gd name="T87" fmla="*/ 1107 h 1446"/>
                    <a:gd name="T88" fmla="*/ 7 w 2817"/>
                    <a:gd name="T89" fmla="*/ 1216 h 1446"/>
                    <a:gd name="T90" fmla="*/ 1 w 2817"/>
                    <a:gd name="T91" fmla="*/ 1359 h 1446"/>
                    <a:gd name="T92" fmla="*/ 13 w 2817"/>
                    <a:gd name="T93" fmla="*/ 1446 h 1446"/>
                    <a:gd name="T94" fmla="*/ 18 w 2817"/>
                    <a:gd name="T95" fmla="*/ 1322 h 1446"/>
                    <a:gd name="T96" fmla="*/ 43 w 2817"/>
                    <a:gd name="T97" fmla="*/ 1172 h 1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817" h="1446">
                      <a:moveTo>
                        <a:pt x="43" y="1172"/>
                      </a:moveTo>
                      <a:lnTo>
                        <a:pt x="43" y="1172"/>
                      </a:lnTo>
                      <a:lnTo>
                        <a:pt x="58" y="1116"/>
                      </a:lnTo>
                      <a:lnTo>
                        <a:pt x="74" y="1061"/>
                      </a:lnTo>
                      <a:lnTo>
                        <a:pt x="90" y="1010"/>
                      </a:lnTo>
                      <a:lnTo>
                        <a:pt x="109" y="959"/>
                      </a:lnTo>
                      <a:lnTo>
                        <a:pt x="127" y="911"/>
                      </a:lnTo>
                      <a:lnTo>
                        <a:pt x="148" y="863"/>
                      </a:lnTo>
                      <a:lnTo>
                        <a:pt x="168" y="819"/>
                      </a:lnTo>
                      <a:lnTo>
                        <a:pt x="190" y="775"/>
                      </a:lnTo>
                      <a:lnTo>
                        <a:pt x="213" y="734"/>
                      </a:lnTo>
                      <a:lnTo>
                        <a:pt x="235" y="694"/>
                      </a:lnTo>
                      <a:lnTo>
                        <a:pt x="260" y="655"/>
                      </a:lnTo>
                      <a:lnTo>
                        <a:pt x="283" y="618"/>
                      </a:lnTo>
                      <a:lnTo>
                        <a:pt x="308" y="583"/>
                      </a:lnTo>
                      <a:lnTo>
                        <a:pt x="335" y="549"/>
                      </a:lnTo>
                      <a:lnTo>
                        <a:pt x="362" y="517"/>
                      </a:lnTo>
                      <a:lnTo>
                        <a:pt x="388" y="486"/>
                      </a:lnTo>
                      <a:lnTo>
                        <a:pt x="416" y="456"/>
                      </a:lnTo>
                      <a:lnTo>
                        <a:pt x="443" y="428"/>
                      </a:lnTo>
                      <a:lnTo>
                        <a:pt x="471" y="401"/>
                      </a:lnTo>
                      <a:lnTo>
                        <a:pt x="500" y="375"/>
                      </a:lnTo>
                      <a:lnTo>
                        <a:pt x="528" y="351"/>
                      </a:lnTo>
                      <a:lnTo>
                        <a:pt x="558" y="328"/>
                      </a:lnTo>
                      <a:lnTo>
                        <a:pt x="587" y="305"/>
                      </a:lnTo>
                      <a:lnTo>
                        <a:pt x="617" y="285"/>
                      </a:lnTo>
                      <a:lnTo>
                        <a:pt x="646" y="266"/>
                      </a:lnTo>
                      <a:lnTo>
                        <a:pt x="676" y="248"/>
                      </a:lnTo>
                      <a:lnTo>
                        <a:pt x="705" y="230"/>
                      </a:lnTo>
                      <a:lnTo>
                        <a:pt x="735" y="214"/>
                      </a:lnTo>
                      <a:lnTo>
                        <a:pt x="794" y="184"/>
                      </a:lnTo>
                      <a:lnTo>
                        <a:pt x="853" y="159"/>
                      </a:lnTo>
                      <a:lnTo>
                        <a:pt x="911" y="137"/>
                      </a:lnTo>
                      <a:lnTo>
                        <a:pt x="968" y="118"/>
                      </a:lnTo>
                      <a:lnTo>
                        <a:pt x="1023" y="102"/>
                      </a:lnTo>
                      <a:lnTo>
                        <a:pt x="1076" y="90"/>
                      </a:lnTo>
                      <a:lnTo>
                        <a:pt x="1126" y="78"/>
                      </a:lnTo>
                      <a:lnTo>
                        <a:pt x="1175" y="71"/>
                      </a:lnTo>
                      <a:lnTo>
                        <a:pt x="1219" y="65"/>
                      </a:lnTo>
                      <a:lnTo>
                        <a:pt x="1262" y="60"/>
                      </a:lnTo>
                      <a:lnTo>
                        <a:pt x="1300" y="58"/>
                      </a:lnTo>
                      <a:lnTo>
                        <a:pt x="1334" y="56"/>
                      </a:lnTo>
                      <a:lnTo>
                        <a:pt x="1390" y="55"/>
                      </a:lnTo>
                      <a:lnTo>
                        <a:pt x="1424" y="56"/>
                      </a:lnTo>
                      <a:lnTo>
                        <a:pt x="1437" y="56"/>
                      </a:lnTo>
                      <a:lnTo>
                        <a:pt x="1437" y="56"/>
                      </a:lnTo>
                      <a:lnTo>
                        <a:pt x="1449" y="56"/>
                      </a:lnTo>
                      <a:lnTo>
                        <a:pt x="1483" y="56"/>
                      </a:lnTo>
                      <a:lnTo>
                        <a:pt x="1538" y="59"/>
                      </a:lnTo>
                      <a:lnTo>
                        <a:pt x="1570" y="62"/>
                      </a:lnTo>
                      <a:lnTo>
                        <a:pt x="1609" y="66"/>
                      </a:lnTo>
                      <a:lnTo>
                        <a:pt x="1649" y="72"/>
                      </a:lnTo>
                      <a:lnTo>
                        <a:pt x="1693" y="80"/>
                      </a:lnTo>
                      <a:lnTo>
                        <a:pt x="1740" y="89"/>
                      </a:lnTo>
                      <a:lnTo>
                        <a:pt x="1790" y="100"/>
                      </a:lnTo>
                      <a:lnTo>
                        <a:pt x="1842" y="115"/>
                      </a:lnTo>
                      <a:lnTo>
                        <a:pt x="1896" y="133"/>
                      </a:lnTo>
                      <a:lnTo>
                        <a:pt x="1951" y="152"/>
                      </a:lnTo>
                      <a:lnTo>
                        <a:pt x="2009" y="176"/>
                      </a:lnTo>
                      <a:lnTo>
                        <a:pt x="2066" y="202"/>
                      </a:lnTo>
                      <a:lnTo>
                        <a:pt x="2124" y="232"/>
                      </a:lnTo>
                      <a:lnTo>
                        <a:pt x="2183" y="266"/>
                      </a:lnTo>
                      <a:lnTo>
                        <a:pt x="2212" y="285"/>
                      </a:lnTo>
                      <a:lnTo>
                        <a:pt x="2240" y="304"/>
                      </a:lnTo>
                      <a:lnTo>
                        <a:pt x="2270" y="325"/>
                      </a:lnTo>
                      <a:lnTo>
                        <a:pt x="2299" y="347"/>
                      </a:lnTo>
                      <a:lnTo>
                        <a:pt x="2327" y="370"/>
                      </a:lnTo>
                      <a:lnTo>
                        <a:pt x="2357" y="394"/>
                      </a:lnTo>
                      <a:lnTo>
                        <a:pt x="2385" y="419"/>
                      </a:lnTo>
                      <a:lnTo>
                        <a:pt x="2413" y="446"/>
                      </a:lnTo>
                      <a:lnTo>
                        <a:pt x="2440" y="474"/>
                      </a:lnTo>
                      <a:lnTo>
                        <a:pt x="2468" y="503"/>
                      </a:lnTo>
                      <a:lnTo>
                        <a:pt x="2494" y="534"/>
                      </a:lnTo>
                      <a:lnTo>
                        <a:pt x="2521" y="565"/>
                      </a:lnTo>
                      <a:lnTo>
                        <a:pt x="2546" y="599"/>
                      </a:lnTo>
                      <a:lnTo>
                        <a:pt x="2571" y="633"/>
                      </a:lnTo>
                      <a:lnTo>
                        <a:pt x="2596" y="669"/>
                      </a:lnTo>
                      <a:lnTo>
                        <a:pt x="2620" y="707"/>
                      </a:lnTo>
                      <a:lnTo>
                        <a:pt x="2643" y="745"/>
                      </a:lnTo>
                      <a:lnTo>
                        <a:pt x="2665" y="787"/>
                      </a:lnTo>
                      <a:lnTo>
                        <a:pt x="2688" y="828"/>
                      </a:lnTo>
                      <a:lnTo>
                        <a:pt x="2708" y="872"/>
                      </a:lnTo>
                      <a:lnTo>
                        <a:pt x="2729" y="918"/>
                      </a:lnTo>
                      <a:lnTo>
                        <a:pt x="2748" y="964"/>
                      </a:lnTo>
                      <a:lnTo>
                        <a:pt x="2767" y="1012"/>
                      </a:lnTo>
                      <a:lnTo>
                        <a:pt x="2783" y="1063"/>
                      </a:lnTo>
                      <a:lnTo>
                        <a:pt x="2801" y="1116"/>
                      </a:lnTo>
                      <a:lnTo>
                        <a:pt x="2816" y="1169"/>
                      </a:lnTo>
                      <a:lnTo>
                        <a:pt x="2817" y="1160"/>
                      </a:lnTo>
                      <a:lnTo>
                        <a:pt x="2817" y="1160"/>
                      </a:lnTo>
                      <a:lnTo>
                        <a:pt x="2803" y="1104"/>
                      </a:lnTo>
                      <a:lnTo>
                        <a:pt x="2788" y="1049"/>
                      </a:lnTo>
                      <a:lnTo>
                        <a:pt x="2770" y="996"/>
                      </a:lnTo>
                      <a:lnTo>
                        <a:pt x="2752" y="946"/>
                      </a:lnTo>
                      <a:lnTo>
                        <a:pt x="2733" y="897"/>
                      </a:lnTo>
                      <a:lnTo>
                        <a:pt x="2714" y="850"/>
                      </a:lnTo>
                      <a:lnTo>
                        <a:pt x="2693" y="804"/>
                      </a:lnTo>
                      <a:lnTo>
                        <a:pt x="2671" y="762"/>
                      </a:lnTo>
                      <a:lnTo>
                        <a:pt x="2649" y="719"/>
                      </a:lnTo>
                      <a:lnTo>
                        <a:pt x="2627" y="679"/>
                      </a:lnTo>
                      <a:lnTo>
                        <a:pt x="2602" y="639"/>
                      </a:lnTo>
                      <a:lnTo>
                        <a:pt x="2578" y="602"/>
                      </a:lnTo>
                      <a:lnTo>
                        <a:pt x="2553" y="565"/>
                      </a:lnTo>
                      <a:lnTo>
                        <a:pt x="2527" y="531"/>
                      </a:lnTo>
                      <a:lnTo>
                        <a:pt x="2500" y="497"/>
                      </a:lnTo>
                      <a:lnTo>
                        <a:pt x="2474" y="466"/>
                      </a:lnTo>
                      <a:lnTo>
                        <a:pt x="2447" y="435"/>
                      </a:lnTo>
                      <a:lnTo>
                        <a:pt x="2419" y="407"/>
                      </a:lnTo>
                      <a:lnTo>
                        <a:pt x="2391" y="379"/>
                      </a:lnTo>
                      <a:lnTo>
                        <a:pt x="2363" y="353"/>
                      </a:lnTo>
                      <a:lnTo>
                        <a:pt x="2333" y="328"/>
                      </a:lnTo>
                      <a:lnTo>
                        <a:pt x="2305" y="304"/>
                      </a:lnTo>
                      <a:lnTo>
                        <a:pt x="2276" y="280"/>
                      </a:lnTo>
                      <a:lnTo>
                        <a:pt x="2246" y="260"/>
                      </a:lnTo>
                      <a:lnTo>
                        <a:pt x="2217" y="239"/>
                      </a:lnTo>
                      <a:lnTo>
                        <a:pt x="2187" y="220"/>
                      </a:lnTo>
                      <a:lnTo>
                        <a:pt x="2158" y="201"/>
                      </a:lnTo>
                      <a:lnTo>
                        <a:pt x="2128" y="184"/>
                      </a:lnTo>
                      <a:lnTo>
                        <a:pt x="2069" y="152"/>
                      </a:lnTo>
                      <a:lnTo>
                        <a:pt x="2010" y="125"/>
                      </a:lnTo>
                      <a:lnTo>
                        <a:pt x="1953" y="100"/>
                      </a:lnTo>
                      <a:lnTo>
                        <a:pt x="1896" y="80"/>
                      </a:lnTo>
                      <a:lnTo>
                        <a:pt x="1840" y="62"/>
                      </a:lnTo>
                      <a:lnTo>
                        <a:pt x="1789" y="47"/>
                      </a:lnTo>
                      <a:lnTo>
                        <a:pt x="1737" y="35"/>
                      </a:lnTo>
                      <a:lnTo>
                        <a:pt x="1690" y="25"/>
                      </a:lnTo>
                      <a:lnTo>
                        <a:pt x="1644" y="18"/>
                      </a:lnTo>
                      <a:lnTo>
                        <a:pt x="1603" y="12"/>
                      </a:lnTo>
                      <a:lnTo>
                        <a:pt x="1564" y="7"/>
                      </a:lnTo>
                      <a:lnTo>
                        <a:pt x="1529" y="4"/>
                      </a:lnTo>
                      <a:lnTo>
                        <a:pt x="1474" y="1"/>
                      </a:lnTo>
                      <a:lnTo>
                        <a:pt x="1439" y="0"/>
                      </a:lnTo>
                      <a:lnTo>
                        <a:pt x="1427" y="1"/>
                      </a:lnTo>
                      <a:lnTo>
                        <a:pt x="1427" y="1"/>
                      </a:lnTo>
                      <a:lnTo>
                        <a:pt x="1414" y="0"/>
                      </a:lnTo>
                      <a:lnTo>
                        <a:pt x="1378" y="1"/>
                      </a:lnTo>
                      <a:lnTo>
                        <a:pt x="1322" y="4"/>
                      </a:lnTo>
                      <a:lnTo>
                        <a:pt x="1288" y="7"/>
                      </a:lnTo>
                      <a:lnTo>
                        <a:pt x="1250" y="12"/>
                      </a:lnTo>
                      <a:lnTo>
                        <a:pt x="1207" y="18"/>
                      </a:lnTo>
                      <a:lnTo>
                        <a:pt x="1162" y="27"/>
                      </a:lnTo>
                      <a:lnTo>
                        <a:pt x="1113" y="37"/>
                      </a:lnTo>
                      <a:lnTo>
                        <a:pt x="1061" y="49"/>
                      </a:lnTo>
                      <a:lnTo>
                        <a:pt x="1007" y="63"/>
                      </a:lnTo>
                      <a:lnTo>
                        <a:pt x="952" y="81"/>
                      </a:lnTo>
                      <a:lnTo>
                        <a:pt x="894" y="103"/>
                      </a:lnTo>
                      <a:lnTo>
                        <a:pt x="835" y="127"/>
                      </a:lnTo>
                      <a:lnTo>
                        <a:pt x="776" y="155"/>
                      </a:lnTo>
                      <a:lnTo>
                        <a:pt x="717" y="186"/>
                      </a:lnTo>
                      <a:lnTo>
                        <a:pt x="686" y="204"/>
                      </a:lnTo>
                      <a:lnTo>
                        <a:pt x="657" y="223"/>
                      </a:lnTo>
                      <a:lnTo>
                        <a:pt x="627" y="242"/>
                      </a:lnTo>
                      <a:lnTo>
                        <a:pt x="596" y="263"/>
                      </a:lnTo>
                      <a:lnTo>
                        <a:pt x="567" y="283"/>
                      </a:lnTo>
                      <a:lnTo>
                        <a:pt x="537" y="307"/>
                      </a:lnTo>
                      <a:lnTo>
                        <a:pt x="508" y="331"/>
                      </a:lnTo>
                      <a:lnTo>
                        <a:pt x="478" y="356"/>
                      </a:lnTo>
                      <a:lnTo>
                        <a:pt x="450" y="382"/>
                      </a:lnTo>
                      <a:lnTo>
                        <a:pt x="422" y="410"/>
                      </a:lnTo>
                      <a:lnTo>
                        <a:pt x="393" y="440"/>
                      </a:lnTo>
                      <a:lnTo>
                        <a:pt x="366" y="469"/>
                      </a:lnTo>
                      <a:lnTo>
                        <a:pt x="338" y="502"/>
                      </a:lnTo>
                      <a:lnTo>
                        <a:pt x="311" y="534"/>
                      </a:lnTo>
                      <a:lnTo>
                        <a:pt x="286" y="570"/>
                      </a:lnTo>
                      <a:lnTo>
                        <a:pt x="260" y="605"/>
                      </a:lnTo>
                      <a:lnTo>
                        <a:pt x="236" y="643"/>
                      </a:lnTo>
                      <a:lnTo>
                        <a:pt x="211" y="682"/>
                      </a:lnTo>
                      <a:lnTo>
                        <a:pt x="187" y="723"/>
                      </a:lnTo>
                      <a:lnTo>
                        <a:pt x="165" y="765"/>
                      </a:lnTo>
                      <a:lnTo>
                        <a:pt x="143" y="809"/>
                      </a:lnTo>
                      <a:lnTo>
                        <a:pt x="123" y="855"/>
                      </a:lnTo>
                      <a:lnTo>
                        <a:pt x="103" y="902"/>
                      </a:lnTo>
                      <a:lnTo>
                        <a:pt x="84" y="950"/>
                      </a:lnTo>
                      <a:lnTo>
                        <a:pt x="65" y="1001"/>
                      </a:lnTo>
                      <a:lnTo>
                        <a:pt x="49" y="1054"/>
                      </a:lnTo>
                      <a:lnTo>
                        <a:pt x="32" y="1107"/>
                      </a:lnTo>
                      <a:lnTo>
                        <a:pt x="18" y="1163"/>
                      </a:lnTo>
                      <a:lnTo>
                        <a:pt x="18" y="1163"/>
                      </a:lnTo>
                      <a:lnTo>
                        <a:pt x="12" y="1190"/>
                      </a:lnTo>
                      <a:lnTo>
                        <a:pt x="7" y="1216"/>
                      </a:lnTo>
                      <a:lnTo>
                        <a:pt x="4" y="1243"/>
                      </a:lnTo>
                      <a:lnTo>
                        <a:pt x="1" y="1268"/>
                      </a:lnTo>
                      <a:lnTo>
                        <a:pt x="0" y="1316"/>
                      </a:lnTo>
                      <a:lnTo>
                        <a:pt x="1" y="1359"/>
                      </a:lnTo>
                      <a:lnTo>
                        <a:pt x="6" y="1395"/>
                      </a:lnTo>
                      <a:lnTo>
                        <a:pt x="9" y="1423"/>
                      </a:lnTo>
                      <a:lnTo>
                        <a:pt x="13" y="1446"/>
                      </a:lnTo>
                      <a:lnTo>
                        <a:pt x="13" y="1446"/>
                      </a:lnTo>
                      <a:lnTo>
                        <a:pt x="13" y="1424"/>
                      </a:lnTo>
                      <a:lnTo>
                        <a:pt x="13" y="1398"/>
                      </a:lnTo>
                      <a:lnTo>
                        <a:pt x="15" y="1364"/>
                      </a:lnTo>
                      <a:lnTo>
                        <a:pt x="18" y="1322"/>
                      </a:lnTo>
                      <a:lnTo>
                        <a:pt x="24" y="1277"/>
                      </a:lnTo>
                      <a:lnTo>
                        <a:pt x="31" y="1225"/>
                      </a:lnTo>
                      <a:lnTo>
                        <a:pt x="43" y="1172"/>
                      </a:lnTo>
                      <a:lnTo>
                        <a:pt x="43" y="1172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4A7DBA">
                        <a:alpha val="0"/>
                      </a:srgbClr>
                    </a:gs>
                    <a:gs pos="34000">
                      <a:schemeClr val="bg1"/>
                    </a:gs>
                  </a:gsLst>
                  <a:path path="circle">
                    <a:fillToRect l="50000" t="50000" r="50000" b="50000"/>
                  </a:path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7" name="Freeform 14"/>
                <p:cNvSpPr>
                  <a:spLocks/>
                </p:cNvSpPr>
                <p:nvPr>
                  <p:custDataLst>
                    <p:tags r:id="rId44"/>
                  </p:custDataLst>
                </p:nvPr>
              </p:nvSpPr>
              <p:spPr bwMode="auto">
                <a:xfrm>
                  <a:off x="1782730" y="1743693"/>
                  <a:ext cx="326562" cy="215654"/>
                </a:xfrm>
                <a:custGeom>
                  <a:avLst/>
                  <a:gdLst>
                    <a:gd name="T0" fmla="*/ 358 w 634"/>
                    <a:gd name="T1" fmla="*/ 0 h 419"/>
                    <a:gd name="T2" fmla="*/ 358 w 634"/>
                    <a:gd name="T3" fmla="*/ 0 h 419"/>
                    <a:gd name="T4" fmla="*/ 344 w 634"/>
                    <a:gd name="T5" fmla="*/ 8 h 419"/>
                    <a:gd name="T6" fmla="*/ 326 w 634"/>
                    <a:gd name="T7" fmla="*/ 22 h 419"/>
                    <a:gd name="T8" fmla="*/ 302 w 634"/>
                    <a:gd name="T9" fmla="*/ 41 h 419"/>
                    <a:gd name="T10" fmla="*/ 271 w 634"/>
                    <a:gd name="T11" fmla="*/ 66 h 419"/>
                    <a:gd name="T12" fmla="*/ 236 w 634"/>
                    <a:gd name="T13" fmla="*/ 100 h 419"/>
                    <a:gd name="T14" fmla="*/ 195 w 634"/>
                    <a:gd name="T15" fmla="*/ 140 h 419"/>
                    <a:gd name="T16" fmla="*/ 149 w 634"/>
                    <a:gd name="T17" fmla="*/ 189 h 419"/>
                    <a:gd name="T18" fmla="*/ 149 w 634"/>
                    <a:gd name="T19" fmla="*/ 189 h 419"/>
                    <a:gd name="T20" fmla="*/ 121 w 634"/>
                    <a:gd name="T21" fmla="*/ 220 h 419"/>
                    <a:gd name="T22" fmla="*/ 94 w 634"/>
                    <a:gd name="T23" fmla="*/ 252 h 419"/>
                    <a:gd name="T24" fmla="*/ 47 w 634"/>
                    <a:gd name="T25" fmla="*/ 314 h 419"/>
                    <a:gd name="T26" fmla="*/ 13 w 634"/>
                    <a:gd name="T27" fmla="*/ 363 h 419"/>
                    <a:gd name="T28" fmla="*/ 0 w 634"/>
                    <a:gd name="T29" fmla="*/ 380 h 419"/>
                    <a:gd name="T30" fmla="*/ 265 w 634"/>
                    <a:gd name="T31" fmla="*/ 419 h 419"/>
                    <a:gd name="T32" fmla="*/ 265 w 634"/>
                    <a:gd name="T33" fmla="*/ 419 h 419"/>
                    <a:gd name="T34" fmla="*/ 279 w 634"/>
                    <a:gd name="T35" fmla="*/ 398 h 419"/>
                    <a:gd name="T36" fmla="*/ 317 w 634"/>
                    <a:gd name="T37" fmla="*/ 345 h 419"/>
                    <a:gd name="T38" fmla="*/ 342 w 634"/>
                    <a:gd name="T39" fmla="*/ 308 h 419"/>
                    <a:gd name="T40" fmla="*/ 373 w 634"/>
                    <a:gd name="T41" fmla="*/ 270 h 419"/>
                    <a:gd name="T42" fmla="*/ 407 w 634"/>
                    <a:gd name="T43" fmla="*/ 228 h 419"/>
                    <a:gd name="T44" fmla="*/ 444 w 634"/>
                    <a:gd name="T45" fmla="*/ 187 h 419"/>
                    <a:gd name="T46" fmla="*/ 444 w 634"/>
                    <a:gd name="T47" fmla="*/ 187 h 419"/>
                    <a:gd name="T48" fmla="*/ 476 w 634"/>
                    <a:gd name="T49" fmla="*/ 153 h 419"/>
                    <a:gd name="T50" fmla="*/ 510 w 634"/>
                    <a:gd name="T51" fmla="*/ 121 h 419"/>
                    <a:gd name="T52" fmla="*/ 571 w 634"/>
                    <a:gd name="T53" fmla="*/ 65 h 419"/>
                    <a:gd name="T54" fmla="*/ 617 w 634"/>
                    <a:gd name="T55" fmla="*/ 25 h 419"/>
                    <a:gd name="T56" fmla="*/ 634 w 634"/>
                    <a:gd name="T57" fmla="*/ 10 h 419"/>
                    <a:gd name="T58" fmla="*/ 358 w 634"/>
                    <a:gd name="T59" fmla="*/ 0 h 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634" h="419">
                      <a:moveTo>
                        <a:pt x="358" y="0"/>
                      </a:moveTo>
                      <a:lnTo>
                        <a:pt x="358" y="0"/>
                      </a:lnTo>
                      <a:lnTo>
                        <a:pt x="344" y="8"/>
                      </a:lnTo>
                      <a:lnTo>
                        <a:pt x="326" y="22"/>
                      </a:lnTo>
                      <a:lnTo>
                        <a:pt x="302" y="41"/>
                      </a:lnTo>
                      <a:lnTo>
                        <a:pt x="271" y="66"/>
                      </a:lnTo>
                      <a:lnTo>
                        <a:pt x="236" y="100"/>
                      </a:lnTo>
                      <a:lnTo>
                        <a:pt x="195" y="140"/>
                      </a:lnTo>
                      <a:lnTo>
                        <a:pt x="149" y="189"/>
                      </a:lnTo>
                      <a:lnTo>
                        <a:pt x="149" y="189"/>
                      </a:lnTo>
                      <a:lnTo>
                        <a:pt x="121" y="220"/>
                      </a:lnTo>
                      <a:lnTo>
                        <a:pt x="94" y="252"/>
                      </a:lnTo>
                      <a:lnTo>
                        <a:pt x="47" y="314"/>
                      </a:lnTo>
                      <a:lnTo>
                        <a:pt x="13" y="363"/>
                      </a:lnTo>
                      <a:lnTo>
                        <a:pt x="0" y="380"/>
                      </a:lnTo>
                      <a:lnTo>
                        <a:pt x="265" y="419"/>
                      </a:lnTo>
                      <a:lnTo>
                        <a:pt x="265" y="419"/>
                      </a:lnTo>
                      <a:lnTo>
                        <a:pt x="279" y="398"/>
                      </a:lnTo>
                      <a:lnTo>
                        <a:pt x="317" y="345"/>
                      </a:lnTo>
                      <a:lnTo>
                        <a:pt x="342" y="308"/>
                      </a:lnTo>
                      <a:lnTo>
                        <a:pt x="373" y="270"/>
                      </a:lnTo>
                      <a:lnTo>
                        <a:pt x="407" y="228"/>
                      </a:lnTo>
                      <a:lnTo>
                        <a:pt x="444" y="187"/>
                      </a:lnTo>
                      <a:lnTo>
                        <a:pt x="444" y="187"/>
                      </a:lnTo>
                      <a:lnTo>
                        <a:pt x="476" y="153"/>
                      </a:lnTo>
                      <a:lnTo>
                        <a:pt x="510" y="121"/>
                      </a:lnTo>
                      <a:lnTo>
                        <a:pt x="571" y="65"/>
                      </a:lnTo>
                      <a:lnTo>
                        <a:pt x="617" y="25"/>
                      </a:lnTo>
                      <a:lnTo>
                        <a:pt x="634" y="10"/>
                      </a:lnTo>
                      <a:lnTo>
                        <a:pt x="358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00B0F0">
                        <a:alpha val="0"/>
                      </a:srgbClr>
                    </a:gs>
                    <a:gs pos="0">
                      <a:schemeClr val="bg1">
                        <a:alpha val="76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8" name="Freeform 15"/>
                <p:cNvSpPr>
                  <a:spLocks/>
                </p:cNvSpPr>
                <p:nvPr>
                  <p:custDataLst>
                    <p:tags r:id="rId45"/>
                  </p:custDataLst>
                </p:nvPr>
              </p:nvSpPr>
              <p:spPr bwMode="auto">
                <a:xfrm>
                  <a:off x="1695441" y="1993236"/>
                  <a:ext cx="300890" cy="774302"/>
                </a:xfrm>
                <a:custGeom>
                  <a:avLst/>
                  <a:gdLst>
                    <a:gd name="T0" fmla="*/ 386 w 586"/>
                    <a:gd name="T1" fmla="*/ 27 h 1509"/>
                    <a:gd name="T2" fmla="*/ 378 w 586"/>
                    <a:gd name="T3" fmla="*/ 44 h 1509"/>
                    <a:gd name="T4" fmla="*/ 349 w 586"/>
                    <a:gd name="T5" fmla="*/ 126 h 1509"/>
                    <a:gd name="T6" fmla="*/ 324 w 586"/>
                    <a:gd name="T7" fmla="*/ 208 h 1509"/>
                    <a:gd name="T8" fmla="*/ 297 w 586"/>
                    <a:gd name="T9" fmla="*/ 310 h 1509"/>
                    <a:gd name="T10" fmla="*/ 275 w 586"/>
                    <a:gd name="T11" fmla="*/ 424 h 1509"/>
                    <a:gd name="T12" fmla="*/ 263 w 586"/>
                    <a:gd name="T13" fmla="*/ 545 h 1509"/>
                    <a:gd name="T14" fmla="*/ 262 w 586"/>
                    <a:gd name="T15" fmla="*/ 607 h 1509"/>
                    <a:gd name="T16" fmla="*/ 265 w 586"/>
                    <a:gd name="T17" fmla="*/ 670 h 1509"/>
                    <a:gd name="T18" fmla="*/ 271 w 586"/>
                    <a:gd name="T19" fmla="*/ 731 h 1509"/>
                    <a:gd name="T20" fmla="*/ 278 w 586"/>
                    <a:gd name="T21" fmla="*/ 772 h 1509"/>
                    <a:gd name="T22" fmla="*/ 294 w 586"/>
                    <a:gd name="T23" fmla="*/ 852 h 1509"/>
                    <a:gd name="T24" fmla="*/ 313 w 586"/>
                    <a:gd name="T25" fmla="*/ 929 h 1509"/>
                    <a:gd name="T26" fmla="*/ 349 w 586"/>
                    <a:gd name="T27" fmla="*/ 1036 h 1509"/>
                    <a:gd name="T28" fmla="*/ 400 w 586"/>
                    <a:gd name="T29" fmla="*/ 1166 h 1509"/>
                    <a:gd name="T30" fmla="*/ 454 w 586"/>
                    <a:gd name="T31" fmla="*/ 1278 h 1509"/>
                    <a:gd name="T32" fmla="*/ 504 w 586"/>
                    <a:gd name="T33" fmla="*/ 1368 h 1509"/>
                    <a:gd name="T34" fmla="*/ 547 w 586"/>
                    <a:gd name="T35" fmla="*/ 1436 h 1509"/>
                    <a:gd name="T36" fmla="*/ 586 w 586"/>
                    <a:gd name="T37" fmla="*/ 1492 h 1509"/>
                    <a:gd name="T38" fmla="*/ 383 w 586"/>
                    <a:gd name="T39" fmla="*/ 1509 h 1509"/>
                    <a:gd name="T40" fmla="*/ 331 w 586"/>
                    <a:gd name="T41" fmla="*/ 1445 h 1509"/>
                    <a:gd name="T42" fmla="*/ 276 w 586"/>
                    <a:gd name="T43" fmla="*/ 1371 h 1509"/>
                    <a:gd name="T44" fmla="*/ 213 w 586"/>
                    <a:gd name="T45" fmla="*/ 1274 h 1509"/>
                    <a:gd name="T46" fmla="*/ 148 w 586"/>
                    <a:gd name="T47" fmla="*/ 1157 h 1509"/>
                    <a:gd name="T48" fmla="*/ 101 w 586"/>
                    <a:gd name="T49" fmla="*/ 1060 h 1509"/>
                    <a:gd name="T50" fmla="*/ 73 w 586"/>
                    <a:gd name="T51" fmla="*/ 991 h 1509"/>
                    <a:gd name="T52" fmla="*/ 49 w 586"/>
                    <a:gd name="T53" fmla="*/ 920 h 1509"/>
                    <a:gd name="T54" fmla="*/ 29 w 586"/>
                    <a:gd name="T55" fmla="*/ 844 h 1509"/>
                    <a:gd name="T56" fmla="*/ 14 w 586"/>
                    <a:gd name="T57" fmla="*/ 769 h 1509"/>
                    <a:gd name="T58" fmla="*/ 9 w 586"/>
                    <a:gd name="T59" fmla="*/ 731 h 1509"/>
                    <a:gd name="T60" fmla="*/ 2 w 586"/>
                    <a:gd name="T61" fmla="*/ 656 h 1509"/>
                    <a:gd name="T62" fmla="*/ 0 w 586"/>
                    <a:gd name="T63" fmla="*/ 582 h 1509"/>
                    <a:gd name="T64" fmla="*/ 2 w 586"/>
                    <a:gd name="T65" fmla="*/ 512 h 1509"/>
                    <a:gd name="T66" fmla="*/ 15 w 586"/>
                    <a:gd name="T67" fmla="*/ 381 h 1509"/>
                    <a:gd name="T68" fmla="*/ 36 w 586"/>
                    <a:gd name="T69" fmla="*/ 264 h 1509"/>
                    <a:gd name="T70" fmla="*/ 61 w 586"/>
                    <a:gd name="T71" fmla="*/ 166 h 1509"/>
                    <a:gd name="T72" fmla="*/ 86 w 586"/>
                    <a:gd name="T73" fmla="*/ 87 h 1509"/>
                    <a:gd name="T74" fmla="*/ 116 w 586"/>
                    <a:gd name="T75" fmla="*/ 15 h 1509"/>
                    <a:gd name="T76" fmla="*/ 123 w 586"/>
                    <a:gd name="T77" fmla="*/ 0 h 1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86" h="1509">
                      <a:moveTo>
                        <a:pt x="123" y="0"/>
                      </a:moveTo>
                      <a:lnTo>
                        <a:pt x="386" y="27"/>
                      </a:lnTo>
                      <a:lnTo>
                        <a:pt x="386" y="27"/>
                      </a:lnTo>
                      <a:lnTo>
                        <a:pt x="378" y="44"/>
                      </a:lnTo>
                      <a:lnTo>
                        <a:pt x="361" y="92"/>
                      </a:lnTo>
                      <a:lnTo>
                        <a:pt x="349" y="126"/>
                      </a:lnTo>
                      <a:lnTo>
                        <a:pt x="337" y="164"/>
                      </a:lnTo>
                      <a:lnTo>
                        <a:pt x="324" y="208"/>
                      </a:lnTo>
                      <a:lnTo>
                        <a:pt x="310" y="257"/>
                      </a:lnTo>
                      <a:lnTo>
                        <a:pt x="297" y="310"/>
                      </a:lnTo>
                      <a:lnTo>
                        <a:pt x="285" y="365"/>
                      </a:lnTo>
                      <a:lnTo>
                        <a:pt x="275" y="424"/>
                      </a:lnTo>
                      <a:lnTo>
                        <a:pt x="268" y="484"/>
                      </a:lnTo>
                      <a:lnTo>
                        <a:pt x="263" y="545"/>
                      </a:lnTo>
                      <a:lnTo>
                        <a:pt x="262" y="576"/>
                      </a:lnTo>
                      <a:lnTo>
                        <a:pt x="262" y="607"/>
                      </a:lnTo>
                      <a:lnTo>
                        <a:pt x="262" y="639"/>
                      </a:lnTo>
                      <a:lnTo>
                        <a:pt x="265" y="670"/>
                      </a:lnTo>
                      <a:lnTo>
                        <a:pt x="266" y="701"/>
                      </a:lnTo>
                      <a:lnTo>
                        <a:pt x="271" y="731"/>
                      </a:lnTo>
                      <a:lnTo>
                        <a:pt x="271" y="731"/>
                      </a:lnTo>
                      <a:lnTo>
                        <a:pt x="278" y="772"/>
                      </a:lnTo>
                      <a:lnTo>
                        <a:pt x="285" y="813"/>
                      </a:lnTo>
                      <a:lnTo>
                        <a:pt x="294" y="852"/>
                      </a:lnTo>
                      <a:lnTo>
                        <a:pt x="303" y="892"/>
                      </a:lnTo>
                      <a:lnTo>
                        <a:pt x="313" y="929"/>
                      </a:lnTo>
                      <a:lnTo>
                        <a:pt x="325" y="965"/>
                      </a:lnTo>
                      <a:lnTo>
                        <a:pt x="349" y="1036"/>
                      </a:lnTo>
                      <a:lnTo>
                        <a:pt x="374" y="1104"/>
                      </a:lnTo>
                      <a:lnTo>
                        <a:pt x="400" y="1166"/>
                      </a:lnTo>
                      <a:lnTo>
                        <a:pt x="427" y="1225"/>
                      </a:lnTo>
                      <a:lnTo>
                        <a:pt x="454" y="1278"/>
                      </a:lnTo>
                      <a:lnTo>
                        <a:pt x="480" y="1326"/>
                      </a:lnTo>
                      <a:lnTo>
                        <a:pt x="504" y="1368"/>
                      </a:lnTo>
                      <a:lnTo>
                        <a:pt x="527" y="1405"/>
                      </a:lnTo>
                      <a:lnTo>
                        <a:pt x="547" y="1436"/>
                      </a:lnTo>
                      <a:lnTo>
                        <a:pt x="576" y="1478"/>
                      </a:lnTo>
                      <a:lnTo>
                        <a:pt x="586" y="1492"/>
                      </a:lnTo>
                      <a:lnTo>
                        <a:pt x="383" y="1509"/>
                      </a:lnTo>
                      <a:lnTo>
                        <a:pt x="383" y="1509"/>
                      </a:lnTo>
                      <a:lnTo>
                        <a:pt x="369" y="1492"/>
                      </a:lnTo>
                      <a:lnTo>
                        <a:pt x="331" y="1445"/>
                      </a:lnTo>
                      <a:lnTo>
                        <a:pt x="306" y="1411"/>
                      </a:lnTo>
                      <a:lnTo>
                        <a:pt x="276" y="1371"/>
                      </a:lnTo>
                      <a:lnTo>
                        <a:pt x="245" y="1326"/>
                      </a:lnTo>
                      <a:lnTo>
                        <a:pt x="213" y="1274"/>
                      </a:lnTo>
                      <a:lnTo>
                        <a:pt x="181" y="1218"/>
                      </a:lnTo>
                      <a:lnTo>
                        <a:pt x="148" y="1157"/>
                      </a:lnTo>
                      <a:lnTo>
                        <a:pt x="116" y="1094"/>
                      </a:lnTo>
                      <a:lnTo>
                        <a:pt x="101" y="1060"/>
                      </a:lnTo>
                      <a:lnTo>
                        <a:pt x="86" y="1026"/>
                      </a:lnTo>
                      <a:lnTo>
                        <a:pt x="73" y="991"/>
                      </a:lnTo>
                      <a:lnTo>
                        <a:pt x="61" y="955"/>
                      </a:lnTo>
                      <a:lnTo>
                        <a:pt x="49" y="920"/>
                      </a:lnTo>
                      <a:lnTo>
                        <a:pt x="37" y="883"/>
                      </a:lnTo>
                      <a:lnTo>
                        <a:pt x="29" y="844"/>
                      </a:lnTo>
                      <a:lnTo>
                        <a:pt x="21" y="808"/>
                      </a:lnTo>
                      <a:lnTo>
                        <a:pt x="14" y="769"/>
                      </a:lnTo>
                      <a:lnTo>
                        <a:pt x="9" y="731"/>
                      </a:lnTo>
                      <a:lnTo>
                        <a:pt x="9" y="731"/>
                      </a:lnTo>
                      <a:lnTo>
                        <a:pt x="5" y="694"/>
                      </a:lnTo>
                      <a:lnTo>
                        <a:pt x="2" y="656"/>
                      </a:lnTo>
                      <a:lnTo>
                        <a:pt x="0" y="619"/>
                      </a:lnTo>
                      <a:lnTo>
                        <a:pt x="0" y="582"/>
                      </a:lnTo>
                      <a:lnTo>
                        <a:pt x="0" y="546"/>
                      </a:lnTo>
                      <a:lnTo>
                        <a:pt x="2" y="512"/>
                      </a:lnTo>
                      <a:lnTo>
                        <a:pt x="8" y="444"/>
                      </a:lnTo>
                      <a:lnTo>
                        <a:pt x="15" y="381"/>
                      </a:lnTo>
                      <a:lnTo>
                        <a:pt x="24" y="320"/>
                      </a:lnTo>
                      <a:lnTo>
                        <a:pt x="36" y="264"/>
                      </a:lnTo>
                      <a:lnTo>
                        <a:pt x="49" y="213"/>
                      </a:lnTo>
                      <a:lnTo>
                        <a:pt x="61" y="166"/>
                      </a:lnTo>
                      <a:lnTo>
                        <a:pt x="74" y="124"/>
                      </a:lnTo>
                      <a:lnTo>
                        <a:pt x="86" y="87"/>
                      </a:lnTo>
                      <a:lnTo>
                        <a:pt x="98" y="56"/>
                      </a:lnTo>
                      <a:lnTo>
                        <a:pt x="116" y="15"/>
                      </a:lnTo>
                      <a:lnTo>
                        <a:pt x="123" y="0"/>
                      </a:lnTo>
                      <a:lnTo>
                        <a:pt x="123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B0F0">
                        <a:alpha val="0"/>
                      </a:srgb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9" name="Freeform 16"/>
                <p:cNvSpPr>
                  <a:spLocks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2707989" y="2338283"/>
                  <a:ext cx="337859" cy="791760"/>
                </a:xfrm>
                <a:custGeom>
                  <a:avLst/>
                  <a:gdLst>
                    <a:gd name="T0" fmla="*/ 654 w 658"/>
                    <a:gd name="T1" fmla="*/ 0 h 1542"/>
                    <a:gd name="T2" fmla="*/ 656 w 658"/>
                    <a:gd name="T3" fmla="*/ 28 h 1542"/>
                    <a:gd name="T4" fmla="*/ 658 w 658"/>
                    <a:gd name="T5" fmla="*/ 75 h 1542"/>
                    <a:gd name="T6" fmla="*/ 655 w 658"/>
                    <a:gd name="T7" fmla="*/ 144 h 1542"/>
                    <a:gd name="T8" fmla="*/ 640 w 658"/>
                    <a:gd name="T9" fmla="*/ 233 h 1542"/>
                    <a:gd name="T10" fmla="*/ 612 w 658"/>
                    <a:gd name="T11" fmla="*/ 339 h 1542"/>
                    <a:gd name="T12" fmla="*/ 578 w 658"/>
                    <a:gd name="T13" fmla="*/ 431 h 1542"/>
                    <a:gd name="T14" fmla="*/ 550 w 658"/>
                    <a:gd name="T15" fmla="*/ 496 h 1542"/>
                    <a:gd name="T16" fmla="*/ 515 w 658"/>
                    <a:gd name="T17" fmla="*/ 565 h 1542"/>
                    <a:gd name="T18" fmla="*/ 473 w 658"/>
                    <a:gd name="T19" fmla="*/ 637 h 1542"/>
                    <a:gd name="T20" fmla="*/ 450 w 658"/>
                    <a:gd name="T21" fmla="*/ 676 h 1542"/>
                    <a:gd name="T22" fmla="*/ 332 w 658"/>
                    <a:gd name="T23" fmla="*/ 866 h 1542"/>
                    <a:gd name="T24" fmla="*/ 234 w 658"/>
                    <a:gd name="T25" fmla="*/ 1036 h 1542"/>
                    <a:gd name="T26" fmla="*/ 156 w 658"/>
                    <a:gd name="T27" fmla="*/ 1183 h 1542"/>
                    <a:gd name="T28" fmla="*/ 96 w 658"/>
                    <a:gd name="T29" fmla="*/ 1309 h 1542"/>
                    <a:gd name="T30" fmla="*/ 51 w 658"/>
                    <a:gd name="T31" fmla="*/ 1408 h 1542"/>
                    <a:gd name="T32" fmla="*/ 6 w 658"/>
                    <a:gd name="T33" fmla="*/ 1526 h 1542"/>
                    <a:gd name="T34" fmla="*/ 0 w 658"/>
                    <a:gd name="T35" fmla="*/ 1542 h 1542"/>
                    <a:gd name="T36" fmla="*/ 9 w 658"/>
                    <a:gd name="T37" fmla="*/ 1496 h 1542"/>
                    <a:gd name="T38" fmla="*/ 31 w 658"/>
                    <a:gd name="T39" fmla="*/ 1406 h 1542"/>
                    <a:gd name="T40" fmla="*/ 59 w 658"/>
                    <a:gd name="T41" fmla="*/ 1322 h 1542"/>
                    <a:gd name="T42" fmla="*/ 97 w 658"/>
                    <a:gd name="T43" fmla="*/ 1220 h 1542"/>
                    <a:gd name="T44" fmla="*/ 150 w 658"/>
                    <a:gd name="T45" fmla="*/ 1104 h 1542"/>
                    <a:gd name="T46" fmla="*/ 220 w 658"/>
                    <a:gd name="T47" fmla="*/ 972 h 1542"/>
                    <a:gd name="T48" fmla="*/ 261 w 658"/>
                    <a:gd name="T49" fmla="*/ 902 h 1542"/>
                    <a:gd name="T50" fmla="*/ 420 w 658"/>
                    <a:gd name="T51" fmla="*/ 639 h 1542"/>
                    <a:gd name="T52" fmla="*/ 482 w 658"/>
                    <a:gd name="T53" fmla="*/ 534 h 1542"/>
                    <a:gd name="T54" fmla="*/ 534 w 658"/>
                    <a:gd name="T55" fmla="*/ 437 h 1542"/>
                    <a:gd name="T56" fmla="*/ 575 w 658"/>
                    <a:gd name="T57" fmla="*/ 342 h 1542"/>
                    <a:gd name="T58" fmla="*/ 609 w 658"/>
                    <a:gd name="T59" fmla="*/ 242 h 1542"/>
                    <a:gd name="T60" fmla="*/ 634 w 658"/>
                    <a:gd name="T61" fmla="*/ 130 h 1542"/>
                    <a:gd name="T62" fmla="*/ 654 w 658"/>
                    <a:gd name="T63" fmla="*/ 0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58" h="1542">
                      <a:moveTo>
                        <a:pt x="654" y="0"/>
                      </a:moveTo>
                      <a:lnTo>
                        <a:pt x="654" y="0"/>
                      </a:lnTo>
                      <a:lnTo>
                        <a:pt x="655" y="13"/>
                      </a:lnTo>
                      <a:lnTo>
                        <a:pt x="656" y="28"/>
                      </a:lnTo>
                      <a:lnTo>
                        <a:pt x="658" y="48"/>
                      </a:lnTo>
                      <a:lnTo>
                        <a:pt x="658" y="75"/>
                      </a:lnTo>
                      <a:lnTo>
                        <a:pt x="658" y="107"/>
                      </a:lnTo>
                      <a:lnTo>
                        <a:pt x="655" y="144"/>
                      </a:lnTo>
                      <a:lnTo>
                        <a:pt x="649" y="186"/>
                      </a:lnTo>
                      <a:lnTo>
                        <a:pt x="640" y="233"/>
                      </a:lnTo>
                      <a:lnTo>
                        <a:pt x="628" y="283"/>
                      </a:lnTo>
                      <a:lnTo>
                        <a:pt x="612" y="339"/>
                      </a:lnTo>
                      <a:lnTo>
                        <a:pt x="592" y="400"/>
                      </a:lnTo>
                      <a:lnTo>
                        <a:pt x="578" y="431"/>
                      </a:lnTo>
                      <a:lnTo>
                        <a:pt x="565" y="463"/>
                      </a:lnTo>
                      <a:lnTo>
                        <a:pt x="550" y="496"/>
                      </a:lnTo>
                      <a:lnTo>
                        <a:pt x="532" y="530"/>
                      </a:lnTo>
                      <a:lnTo>
                        <a:pt x="515" y="565"/>
                      </a:lnTo>
                      <a:lnTo>
                        <a:pt x="494" y="600"/>
                      </a:lnTo>
                      <a:lnTo>
                        <a:pt x="473" y="637"/>
                      </a:lnTo>
                      <a:lnTo>
                        <a:pt x="450" y="676"/>
                      </a:lnTo>
                      <a:lnTo>
                        <a:pt x="450" y="676"/>
                      </a:lnTo>
                      <a:lnTo>
                        <a:pt x="388" y="773"/>
                      </a:lnTo>
                      <a:lnTo>
                        <a:pt x="332" y="866"/>
                      </a:lnTo>
                      <a:lnTo>
                        <a:pt x="280" y="953"/>
                      </a:lnTo>
                      <a:lnTo>
                        <a:pt x="234" y="1036"/>
                      </a:lnTo>
                      <a:lnTo>
                        <a:pt x="193" y="1113"/>
                      </a:lnTo>
                      <a:lnTo>
                        <a:pt x="156" y="1183"/>
                      </a:lnTo>
                      <a:lnTo>
                        <a:pt x="124" y="1250"/>
                      </a:lnTo>
                      <a:lnTo>
                        <a:pt x="96" y="1309"/>
                      </a:lnTo>
                      <a:lnTo>
                        <a:pt x="72" y="1362"/>
                      </a:lnTo>
                      <a:lnTo>
                        <a:pt x="51" y="1408"/>
                      </a:lnTo>
                      <a:lnTo>
                        <a:pt x="22" y="1482"/>
                      </a:lnTo>
                      <a:lnTo>
                        <a:pt x="6" y="1526"/>
                      </a:lnTo>
                      <a:lnTo>
                        <a:pt x="0" y="1542"/>
                      </a:lnTo>
                      <a:lnTo>
                        <a:pt x="0" y="1542"/>
                      </a:lnTo>
                      <a:lnTo>
                        <a:pt x="1" y="1530"/>
                      </a:lnTo>
                      <a:lnTo>
                        <a:pt x="9" y="1496"/>
                      </a:lnTo>
                      <a:lnTo>
                        <a:pt x="22" y="1440"/>
                      </a:lnTo>
                      <a:lnTo>
                        <a:pt x="31" y="1406"/>
                      </a:lnTo>
                      <a:lnTo>
                        <a:pt x="44" y="1366"/>
                      </a:lnTo>
                      <a:lnTo>
                        <a:pt x="59" y="1322"/>
                      </a:lnTo>
                      <a:lnTo>
                        <a:pt x="76" y="1273"/>
                      </a:lnTo>
                      <a:lnTo>
                        <a:pt x="97" y="1220"/>
                      </a:lnTo>
                      <a:lnTo>
                        <a:pt x="122" y="1164"/>
                      </a:lnTo>
                      <a:lnTo>
                        <a:pt x="150" y="1104"/>
                      </a:lnTo>
                      <a:lnTo>
                        <a:pt x="183" y="1040"/>
                      </a:lnTo>
                      <a:lnTo>
                        <a:pt x="220" y="972"/>
                      </a:lnTo>
                      <a:lnTo>
                        <a:pt x="261" y="902"/>
                      </a:lnTo>
                      <a:lnTo>
                        <a:pt x="261" y="902"/>
                      </a:lnTo>
                      <a:lnTo>
                        <a:pt x="347" y="760"/>
                      </a:lnTo>
                      <a:lnTo>
                        <a:pt x="420" y="639"/>
                      </a:lnTo>
                      <a:lnTo>
                        <a:pt x="453" y="586"/>
                      </a:lnTo>
                      <a:lnTo>
                        <a:pt x="482" y="534"/>
                      </a:lnTo>
                      <a:lnTo>
                        <a:pt x="509" y="485"/>
                      </a:lnTo>
                      <a:lnTo>
                        <a:pt x="534" y="437"/>
                      </a:lnTo>
                      <a:lnTo>
                        <a:pt x="556" y="389"/>
                      </a:lnTo>
                      <a:lnTo>
                        <a:pt x="575" y="342"/>
                      </a:lnTo>
                      <a:lnTo>
                        <a:pt x="593" y="293"/>
                      </a:lnTo>
                      <a:lnTo>
                        <a:pt x="609" y="242"/>
                      </a:lnTo>
                      <a:lnTo>
                        <a:pt x="623" y="187"/>
                      </a:lnTo>
                      <a:lnTo>
                        <a:pt x="634" y="130"/>
                      </a:lnTo>
                      <a:lnTo>
                        <a:pt x="645" y="68"/>
                      </a:lnTo>
                      <a:lnTo>
                        <a:pt x="654" y="0"/>
                      </a:lnTo>
                      <a:lnTo>
                        <a:pt x="65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rgbClr val="00B0F0">
                        <a:alpha val="0"/>
                      </a:srgbClr>
                    </a:gs>
                    <a:gs pos="0">
                      <a:srgbClr val="00B0F0">
                        <a:alpha val="0"/>
                      </a:srgbClr>
                    </a:gs>
                    <a:gs pos="49000">
                      <a:schemeClr val="bg1"/>
                    </a:gs>
                  </a:gsLst>
                  <a:lin ang="16200000" scaled="1"/>
                </a:gra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86" name="Oval 85"/>
              <p:cNvSpPr/>
              <p:nvPr/>
            </p:nvSpPr>
            <p:spPr>
              <a:xfrm>
                <a:off x="2266912" y="3349372"/>
                <a:ext cx="794130" cy="72008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2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</p:grpSp>
        <p:sp>
          <p:nvSpPr>
            <p:cNvPr id="100" name="Rounded Rectangle 99"/>
            <p:cNvSpPr/>
            <p:nvPr>
              <p:custDataLst>
                <p:tags r:id="rId29"/>
              </p:custDataLst>
            </p:nvPr>
          </p:nvSpPr>
          <p:spPr>
            <a:xfrm>
              <a:off x="2389386" y="1444415"/>
              <a:ext cx="188705" cy="72008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8000">
                  <a:srgbClr val="4A7DBA"/>
                </a:gs>
                <a:gs pos="49000">
                  <a:srgbClr val="95B3D7"/>
                </a:gs>
                <a:gs pos="7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22225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101" name="Rounded Rectangle 100"/>
            <p:cNvSpPr/>
            <p:nvPr>
              <p:custDataLst>
                <p:tags r:id="rId30"/>
              </p:custDataLst>
            </p:nvPr>
          </p:nvSpPr>
          <p:spPr>
            <a:xfrm rot="1979868">
              <a:off x="2997457" y="1813073"/>
              <a:ext cx="179157" cy="49063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8000">
                  <a:srgbClr val="4A7DBA"/>
                </a:gs>
                <a:gs pos="49000">
                  <a:srgbClr val="95B3D7"/>
                </a:gs>
                <a:gs pos="7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22225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102" name="Rounded Rectangle 101"/>
            <p:cNvSpPr/>
            <p:nvPr>
              <p:custDataLst>
                <p:tags r:id="rId31"/>
              </p:custDataLst>
            </p:nvPr>
          </p:nvSpPr>
          <p:spPr>
            <a:xfrm rot="3576815">
              <a:off x="3421399" y="2230744"/>
              <a:ext cx="179157" cy="49063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8000">
                  <a:srgbClr val="4A7DBA"/>
                </a:gs>
                <a:gs pos="49000">
                  <a:srgbClr val="95B3D7"/>
                </a:gs>
                <a:gs pos="7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22225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103" name="Rounded Rectangle 102"/>
            <p:cNvSpPr/>
            <p:nvPr>
              <p:custDataLst>
                <p:tags r:id="rId32"/>
              </p:custDataLst>
            </p:nvPr>
          </p:nvSpPr>
          <p:spPr>
            <a:xfrm rot="19620132" flipH="1">
              <a:off x="1790863" y="1813073"/>
              <a:ext cx="179157" cy="49063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8000">
                  <a:srgbClr val="4A7DBA"/>
                </a:gs>
                <a:gs pos="49000">
                  <a:srgbClr val="95B3D7"/>
                </a:gs>
                <a:gs pos="7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22225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  <p:sp>
          <p:nvSpPr>
            <p:cNvPr id="104" name="Rounded Rectangle 103"/>
            <p:cNvSpPr/>
            <p:nvPr>
              <p:custDataLst>
                <p:tags r:id="rId33"/>
              </p:custDataLst>
            </p:nvPr>
          </p:nvSpPr>
          <p:spPr>
            <a:xfrm rot="18023185" flipH="1">
              <a:off x="1366921" y="2230744"/>
              <a:ext cx="179157" cy="490638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88000">
                  <a:srgbClr val="4A7DBA"/>
                </a:gs>
                <a:gs pos="49000">
                  <a:srgbClr val="95B3D7"/>
                </a:gs>
                <a:gs pos="7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22225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2808806" y="3791985"/>
            <a:ext cx="1076443" cy="1941270"/>
            <a:chOff x="2445215" y="3897265"/>
            <a:chExt cx="1174928" cy="2118878"/>
          </a:xfrm>
        </p:grpSpPr>
        <p:grpSp>
          <p:nvGrpSpPr>
            <p:cNvPr id="47" name="Group 46"/>
            <p:cNvGrpSpPr/>
            <p:nvPr/>
          </p:nvGrpSpPr>
          <p:grpSpPr>
            <a:xfrm>
              <a:off x="2445215" y="3897265"/>
              <a:ext cx="1174928" cy="1972655"/>
              <a:chOff x="1628251" y="3672497"/>
              <a:chExt cx="1174928" cy="1972655"/>
            </a:xfrm>
          </p:grpSpPr>
          <p:sp>
            <p:nvSpPr>
              <p:cNvPr id="49" name="Freeform 7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983915" y="5191894"/>
                <a:ext cx="458774" cy="398123"/>
              </a:xfrm>
              <a:custGeom>
                <a:avLst/>
                <a:gdLst>
                  <a:gd name="T0" fmla="*/ 1115 w 1181"/>
                  <a:gd name="T1" fmla="*/ 25 h 1024"/>
                  <a:gd name="T2" fmla="*/ 1093 w 1181"/>
                  <a:gd name="T3" fmla="*/ 32 h 1024"/>
                  <a:gd name="T4" fmla="*/ 1008 w 1181"/>
                  <a:gd name="T5" fmla="*/ 44 h 1024"/>
                  <a:gd name="T6" fmla="*/ 883 w 1181"/>
                  <a:gd name="T7" fmla="*/ 51 h 1024"/>
                  <a:gd name="T8" fmla="*/ 728 w 1181"/>
                  <a:gd name="T9" fmla="*/ 57 h 1024"/>
                  <a:gd name="T10" fmla="*/ 474 w 1181"/>
                  <a:gd name="T11" fmla="*/ 57 h 1024"/>
                  <a:gd name="T12" fmla="*/ 310 w 1181"/>
                  <a:gd name="T13" fmla="*/ 54 h 1024"/>
                  <a:gd name="T14" fmla="*/ 169 w 1181"/>
                  <a:gd name="T15" fmla="*/ 48 h 1024"/>
                  <a:gd name="T16" fmla="*/ 62 w 1181"/>
                  <a:gd name="T17" fmla="*/ 38 h 1024"/>
                  <a:gd name="T18" fmla="*/ 58 w 1181"/>
                  <a:gd name="T19" fmla="*/ 360 h 1024"/>
                  <a:gd name="T20" fmla="*/ 58 w 1181"/>
                  <a:gd name="T21" fmla="*/ 701 h 1024"/>
                  <a:gd name="T22" fmla="*/ 56 w 1181"/>
                  <a:gd name="T23" fmla="*/ 705 h 1024"/>
                  <a:gd name="T24" fmla="*/ 49 w 1181"/>
                  <a:gd name="T25" fmla="*/ 721 h 1024"/>
                  <a:gd name="T26" fmla="*/ 30 w 1181"/>
                  <a:gd name="T27" fmla="*/ 740 h 1024"/>
                  <a:gd name="T28" fmla="*/ 9 w 1181"/>
                  <a:gd name="T29" fmla="*/ 761 h 1024"/>
                  <a:gd name="T30" fmla="*/ 0 w 1181"/>
                  <a:gd name="T31" fmla="*/ 779 h 1024"/>
                  <a:gd name="T32" fmla="*/ 0 w 1181"/>
                  <a:gd name="T33" fmla="*/ 785 h 1024"/>
                  <a:gd name="T34" fmla="*/ 3 w 1181"/>
                  <a:gd name="T35" fmla="*/ 794 h 1024"/>
                  <a:gd name="T36" fmla="*/ 24 w 1181"/>
                  <a:gd name="T37" fmla="*/ 819 h 1024"/>
                  <a:gd name="T38" fmla="*/ 61 w 1181"/>
                  <a:gd name="T39" fmla="*/ 851 h 1024"/>
                  <a:gd name="T40" fmla="*/ 136 w 1181"/>
                  <a:gd name="T41" fmla="*/ 909 h 1024"/>
                  <a:gd name="T42" fmla="*/ 244 w 1181"/>
                  <a:gd name="T43" fmla="*/ 978 h 1024"/>
                  <a:gd name="T44" fmla="*/ 287 w 1181"/>
                  <a:gd name="T45" fmla="*/ 1002 h 1024"/>
                  <a:gd name="T46" fmla="*/ 318 w 1181"/>
                  <a:gd name="T47" fmla="*/ 1014 h 1024"/>
                  <a:gd name="T48" fmla="*/ 332 w 1181"/>
                  <a:gd name="T49" fmla="*/ 1016 h 1024"/>
                  <a:gd name="T50" fmla="*/ 414 w 1181"/>
                  <a:gd name="T51" fmla="*/ 1021 h 1024"/>
                  <a:gd name="T52" fmla="*/ 576 w 1181"/>
                  <a:gd name="T53" fmla="*/ 1024 h 1024"/>
                  <a:gd name="T54" fmla="*/ 738 w 1181"/>
                  <a:gd name="T55" fmla="*/ 1021 h 1024"/>
                  <a:gd name="T56" fmla="*/ 821 w 1181"/>
                  <a:gd name="T57" fmla="*/ 1016 h 1024"/>
                  <a:gd name="T58" fmla="*/ 836 w 1181"/>
                  <a:gd name="T59" fmla="*/ 1014 h 1024"/>
                  <a:gd name="T60" fmla="*/ 864 w 1181"/>
                  <a:gd name="T61" fmla="*/ 1005 h 1024"/>
                  <a:gd name="T62" fmla="*/ 940 w 1181"/>
                  <a:gd name="T63" fmla="*/ 966 h 1024"/>
                  <a:gd name="T64" fmla="*/ 1029 w 1181"/>
                  <a:gd name="T65" fmla="*/ 915 h 1024"/>
                  <a:gd name="T66" fmla="*/ 1098 w 1181"/>
                  <a:gd name="T67" fmla="*/ 870 h 1024"/>
                  <a:gd name="T68" fmla="*/ 1118 w 1181"/>
                  <a:gd name="T69" fmla="*/ 856 h 1024"/>
                  <a:gd name="T70" fmla="*/ 1124 w 1181"/>
                  <a:gd name="T71" fmla="*/ 838 h 1024"/>
                  <a:gd name="T72" fmla="*/ 1128 w 1181"/>
                  <a:gd name="T73" fmla="*/ 799 h 1024"/>
                  <a:gd name="T74" fmla="*/ 1129 w 1181"/>
                  <a:gd name="T75" fmla="*/ 674 h 1024"/>
                  <a:gd name="T76" fmla="*/ 1126 w 1181"/>
                  <a:gd name="T77" fmla="*/ 504 h 1024"/>
                  <a:gd name="T78" fmla="*/ 1121 w 1181"/>
                  <a:gd name="T79" fmla="*/ 321 h 1024"/>
                  <a:gd name="T80" fmla="*/ 1122 w 1181"/>
                  <a:gd name="T81" fmla="*/ 309 h 1024"/>
                  <a:gd name="T82" fmla="*/ 1129 w 1181"/>
                  <a:gd name="T83" fmla="*/ 302 h 1024"/>
                  <a:gd name="T84" fmla="*/ 1152 w 1181"/>
                  <a:gd name="T85" fmla="*/ 287 h 1024"/>
                  <a:gd name="T86" fmla="*/ 1172 w 1181"/>
                  <a:gd name="T87" fmla="*/ 274 h 1024"/>
                  <a:gd name="T88" fmla="*/ 1180 w 1181"/>
                  <a:gd name="T89" fmla="*/ 265 h 1024"/>
                  <a:gd name="T90" fmla="*/ 1181 w 1181"/>
                  <a:gd name="T91" fmla="*/ 255 h 1024"/>
                  <a:gd name="T92" fmla="*/ 1177 w 1181"/>
                  <a:gd name="T93" fmla="*/ 181 h 1024"/>
                  <a:gd name="T94" fmla="*/ 1165 w 1181"/>
                  <a:gd name="T95" fmla="*/ 50 h 1024"/>
                  <a:gd name="T96" fmla="*/ 1159 w 1181"/>
                  <a:gd name="T97" fmla="*/ 0 h 1024"/>
                  <a:gd name="T98" fmla="*/ 1115 w 1181"/>
                  <a:gd name="T99" fmla="*/ 25 h 1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1" h="1024">
                    <a:moveTo>
                      <a:pt x="1115" y="25"/>
                    </a:moveTo>
                    <a:lnTo>
                      <a:pt x="1115" y="25"/>
                    </a:lnTo>
                    <a:lnTo>
                      <a:pt x="1106" y="29"/>
                    </a:lnTo>
                    <a:lnTo>
                      <a:pt x="1093" y="32"/>
                    </a:lnTo>
                    <a:lnTo>
                      <a:pt x="1057" y="38"/>
                    </a:lnTo>
                    <a:lnTo>
                      <a:pt x="1008" y="44"/>
                    </a:lnTo>
                    <a:lnTo>
                      <a:pt x="951" y="48"/>
                    </a:lnTo>
                    <a:lnTo>
                      <a:pt x="883" y="51"/>
                    </a:lnTo>
                    <a:lnTo>
                      <a:pt x="808" y="54"/>
                    </a:lnTo>
                    <a:lnTo>
                      <a:pt x="728" y="57"/>
                    </a:lnTo>
                    <a:lnTo>
                      <a:pt x="645" y="57"/>
                    </a:lnTo>
                    <a:lnTo>
                      <a:pt x="474" y="57"/>
                    </a:lnTo>
                    <a:lnTo>
                      <a:pt x="390" y="56"/>
                    </a:lnTo>
                    <a:lnTo>
                      <a:pt x="310" y="54"/>
                    </a:lnTo>
                    <a:lnTo>
                      <a:pt x="237" y="51"/>
                    </a:lnTo>
                    <a:lnTo>
                      <a:pt x="169" y="48"/>
                    </a:lnTo>
                    <a:lnTo>
                      <a:pt x="110" y="44"/>
                    </a:lnTo>
                    <a:lnTo>
                      <a:pt x="62" y="38"/>
                    </a:lnTo>
                    <a:lnTo>
                      <a:pt x="62" y="38"/>
                    </a:lnTo>
                    <a:lnTo>
                      <a:pt x="58" y="360"/>
                    </a:lnTo>
                    <a:lnTo>
                      <a:pt x="56" y="541"/>
                    </a:lnTo>
                    <a:lnTo>
                      <a:pt x="58" y="701"/>
                    </a:lnTo>
                    <a:lnTo>
                      <a:pt x="58" y="701"/>
                    </a:lnTo>
                    <a:lnTo>
                      <a:pt x="56" y="705"/>
                    </a:lnTo>
                    <a:lnTo>
                      <a:pt x="55" y="711"/>
                    </a:lnTo>
                    <a:lnTo>
                      <a:pt x="49" y="721"/>
                    </a:lnTo>
                    <a:lnTo>
                      <a:pt x="40" y="730"/>
                    </a:lnTo>
                    <a:lnTo>
                      <a:pt x="30" y="740"/>
                    </a:lnTo>
                    <a:lnTo>
                      <a:pt x="20" y="751"/>
                    </a:lnTo>
                    <a:lnTo>
                      <a:pt x="9" y="761"/>
                    </a:lnTo>
                    <a:lnTo>
                      <a:pt x="3" y="773"/>
                    </a:lnTo>
                    <a:lnTo>
                      <a:pt x="0" y="779"/>
                    </a:lnTo>
                    <a:lnTo>
                      <a:pt x="0" y="785"/>
                    </a:lnTo>
                    <a:lnTo>
                      <a:pt x="0" y="785"/>
                    </a:lnTo>
                    <a:lnTo>
                      <a:pt x="0" y="788"/>
                    </a:lnTo>
                    <a:lnTo>
                      <a:pt x="3" y="794"/>
                    </a:lnTo>
                    <a:lnTo>
                      <a:pt x="11" y="804"/>
                    </a:lnTo>
                    <a:lnTo>
                      <a:pt x="24" y="819"/>
                    </a:lnTo>
                    <a:lnTo>
                      <a:pt x="40" y="835"/>
                    </a:lnTo>
                    <a:lnTo>
                      <a:pt x="61" y="851"/>
                    </a:lnTo>
                    <a:lnTo>
                      <a:pt x="85" y="870"/>
                    </a:lnTo>
                    <a:lnTo>
                      <a:pt x="136" y="909"/>
                    </a:lnTo>
                    <a:lnTo>
                      <a:pt x="191" y="946"/>
                    </a:lnTo>
                    <a:lnTo>
                      <a:pt x="244" y="978"/>
                    </a:lnTo>
                    <a:lnTo>
                      <a:pt x="266" y="991"/>
                    </a:lnTo>
                    <a:lnTo>
                      <a:pt x="287" y="1002"/>
                    </a:lnTo>
                    <a:lnTo>
                      <a:pt x="304" y="1009"/>
                    </a:lnTo>
                    <a:lnTo>
                      <a:pt x="318" y="1014"/>
                    </a:lnTo>
                    <a:lnTo>
                      <a:pt x="318" y="1014"/>
                    </a:lnTo>
                    <a:lnTo>
                      <a:pt x="332" y="1016"/>
                    </a:lnTo>
                    <a:lnTo>
                      <a:pt x="353" y="1018"/>
                    </a:lnTo>
                    <a:lnTo>
                      <a:pt x="414" y="1021"/>
                    </a:lnTo>
                    <a:lnTo>
                      <a:pt x="492" y="1022"/>
                    </a:lnTo>
                    <a:lnTo>
                      <a:pt x="576" y="1024"/>
                    </a:lnTo>
                    <a:lnTo>
                      <a:pt x="662" y="1022"/>
                    </a:lnTo>
                    <a:lnTo>
                      <a:pt x="738" y="1021"/>
                    </a:lnTo>
                    <a:lnTo>
                      <a:pt x="800" y="1018"/>
                    </a:lnTo>
                    <a:lnTo>
                      <a:pt x="821" y="1016"/>
                    </a:lnTo>
                    <a:lnTo>
                      <a:pt x="836" y="1014"/>
                    </a:lnTo>
                    <a:lnTo>
                      <a:pt x="836" y="1014"/>
                    </a:lnTo>
                    <a:lnTo>
                      <a:pt x="849" y="1011"/>
                    </a:lnTo>
                    <a:lnTo>
                      <a:pt x="864" y="1005"/>
                    </a:lnTo>
                    <a:lnTo>
                      <a:pt x="899" y="988"/>
                    </a:lnTo>
                    <a:lnTo>
                      <a:pt x="940" y="966"/>
                    </a:lnTo>
                    <a:lnTo>
                      <a:pt x="985" y="941"/>
                    </a:lnTo>
                    <a:lnTo>
                      <a:pt x="1029" y="915"/>
                    </a:lnTo>
                    <a:lnTo>
                      <a:pt x="1067" y="891"/>
                    </a:lnTo>
                    <a:lnTo>
                      <a:pt x="1098" y="870"/>
                    </a:lnTo>
                    <a:lnTo>
                      <a:pt x="1118" y="856"/>
                    </a:lnTo>
                    <a:lnTo>
                      <a:pt x="1118" y="856"/>
                    </a:lnTo>
                    <a:lnTo>
                      <a:pt x="1121" y="850"/>
                    </a:lnTo>
                    <a:lnTo>
                      <a:pt x="1124" y="838"/>
                    </a:lnTo>
                    <a:lnTo>
                      <a:pt x="1126" y="822"/>
                    </a:lnTo>
                    <a:lnTo>
                      <a:pt x="1128" y="799"/>
                    </a:lnTo>
                    <a:lnTo>
                      <a:pt x="1129" y="743"/>
                    </a:lnTo>
                    <a:lnTo>
                      <a:pt x="1129" y="674"/>
                    </a:lnTo>
                    <a:lnTo>
                      <a:pt x="1129" y="593"/>
                    </a:lnTo>
                    <a:lnTo>
                      <a:pt x="1126" y="504"/>
                    </a:lnTo>
                    <a:lnTo>
                      <a:pt x="1121" y="321"/>
                    </a:lnTo>
                    <a:lnTo>
                      <a:pt x="1121" y="321"/>
                    </a:lnTo>
                    <a:lnTo>
                      <a:pt x="1121" y="315"/>
                    </a:lnTo>
                    <a:lnTo>
                      <a:pt x="1122" y="309"/>
                    </a:lnTo>
                    <a:lnTo>
                      <a:pt x="1125" y="305"/>
                    </a:lnTo>
                    <a:lnTo>
                      <a:pt x="1129" y="302"/>
                    </a:lnTo>
                    <a:lnTo>
                      <a:pt x="1140" y="295"/>
                    </a:lnTo>
                    <a:lnTo>
                      <a:pt x="1152" y="287"/>
                    </a:lnTo>
                    <a:lnTo>
                      <a:pt x="1162" y="280"/>
                    </a:lnTo>
                    <a:lnTo>
                      <a:pt x="1172" y="274"/>
                    </a:lnTo>
                    <a:lnTo>
                      <a:pt x="1177" y="270"/>
                    </a:lnTo>
                    <a:lnTo>
                      <a:pt x="1180" y="265"/>
                    </a:lnTo>
                    <a:lnTo>
                      <a:pt x="1181" y="261"/>
                    </a:lnTo>
                    <a:lnTo>
                      <a:pt x="1181" y="255"/>
                    </a:lnTo>
                    <a:lnTo>
                      <a:pt x="1181" y="255"/>
                    </a:lnTo>
                    <a:lnTo>
                      <a:pt x="1177" y="181"/>
                    </a:lnTo>
                    <a:lnTo>
                      <a:pt x="1171" y="112"/>
                    </a:lnTo>
                    <a:lnTo>
                      <a:pt x="1165" y="50"/>
                    </a:lnTo>
                    <a:lnTo>
                      <a:pt x="1159" y="0"/>
                    </a:lnTo>
                    <a:lnTo>
                      <a:pt x="1159" y="0"/>
                    </a:lnTo>
                    <a:lnTo>
                      <a:pt x="1115" y="25"/>
                    </a:lnTo>
                    <a:lnTo>
                      <a:pt x="1115" y="2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7000">
                    <a:srgbClr val="A39793"/>
                  </a:gs>
                  <a:gs pos="74000">
                    <a:schemeClr val="tx1">
                      <a:lumMod val="75000"/>
                      <a:lumOff val="25000"/>
                    </a:schemeClr>
                  </a:gs>
                  <a:gs pos="0">
                    <a:srgbClr val="55382D"/>
                  </a:gs>
                </a:gsLst>
                <a:lin ang="0" scaled="1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0" name="Rounded Rectangle 2"/>
              <p:cNvSpPr/>
              <p:nvPr>
                <p:custDataLst>
                  <p:tags r:id="rId17"/>
                </p:custDataLst>
              </p:nvPr>
            </p:nvSpPr>
            <p:spPr>
              <a:xfrm>
                <a:off x="2006706" y="5191894"/>
                <a:ext cx="435982" cy="118970"/>
              </a:xfrm>
              <a:custGeom>
                <a:avLst/>
                <a:gdLst/>
                <a:ahLst/>
                <a:cxnLst/>
                <a:rect l="l" t="t" r="r" b="b"/>
                <a:pathLst>
                  <a:path w="890094" h="242887">
                    <a:moveTo>
                      <a:pt x="872646" y="0"/>
                    </a:moveTo>
                    <a:lnTo>
                      <a:pt x="877405" y="39688"/>
                    </a:lnTo>
                    <a:lnTo>
                      <a:pt x="882163" y="88900"/>
                    </a:lnTo>
                    <a:lnTo>
                      <a:pt x="886922" y="143669"/>
                    </a:lnTo>
                    <a:lnTo>
                      <a:pt x="890094" y="202406"/>
                    </a:lnTo>
                    <a:lnTo>
                      <a:pt x="890094" y="207169"/>
                    </a:lnTo>
                    <a:lnTo>
                      <a:pt x="889301" y="210344"/>
                    </a:lnTo>
                    <a:lnTo>
                      <a:pt x="886922" y="214313"/>
                    </a:lnTo>
                    <a:lnTo>
                      <a:pt x="882956" y="217488"/>
                    </a:lnTo>
                    <a:lnTo>
                      <a:pt x="875026" y="222250"/>
                    </a:lnTo>
                    <a:lnTo>
                      <a:pt x="867095" y="227806"/>
                    </a:lnTo>
                    <a:lnTo>
                      <a:pt x="857578" y="234156"/>
                    </a:lnTo>
                    <a:lnTo>
                      <a:pt x="848854" y="239713"/>
                    </a:lnTo>
                    <a:lnTo>
                      <a:pt x="845682" y="242094"/>
                    </a:lnTo>
                    <a:lnTo>
                      <a:pt x="845087" y="242887"/>
                    </a:lnTo>
                    <a:lnTo>
                      <a:pt x="0" y="242887"/>
                    </a:lnTo>
                    <a:lnTo>
                      <a:pt x="2640" y="30163"/>
                    </a:lnTo>
                    <a:lnTo>
                      <a:pt x="40708" y="34925"/>
                    </a:lnTo>
                    <a:lnTo>
                      <a:pt x="87499" y="38100"/>
                    </a:lnTo>
                    <a:lnTo>
                      <a:pt x="141429" y="40481"/>
                    </a:lnTo>
                    <a:lnTo>
                      <a:pt x="199323" y="42863"/>
                    </a:lnTo>
                    <a:lnTo>
                      <a:pt x="262770" y="44450"/>
                    </a:lnTo>
                    <a:lnTo>
                      <a:pt x="329388" y="45244"/>
                    </a:lnTo>
                    <a:lnTo>
                      <a:pt x="465004" y="45244"/>
                    </a:lnTo>
                    <a:lnTo>
                      <a:pt x="530830" y="45244"/>
                    </a:lnTo>
                    <a:lnTo>
                      <a:pt x="594276" y="42863"/>
                    </a:lnTo>
                    <a:lnTo>
                      <a:pt x="653757" y="40481"/>
                    </a:lnTo>
                    <a:lnTo>
                      <a:pt x="707686" y="38100"/>
                    </a:lnTo>
                    <a:lnTo>
                      <a:pt x="752892" y="34925"/>
                    </a:lnTo>
                    <a:lnTo>
                      <a:pt x="791752" y="30163"/>
                    </a:lnTo>
                    <a:lnTo>
                      <a:pt x="820303" y="25400"/>
                    </a:lnTo>
                    <a:lnTo>
                      <a:pt x="830613" y="23019"/>
                    </a:lnTo>
                    <a:lnTo>
                      <a:pt x="837751" y="19844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24000">
                    <a:srgbClr val="A39793">
                      <a:lumMod val="77000"/>
                    </a:srgbClr>
                  </a:gs>
                  <a:gs pos="84000">
                    <a:srgbClr val="887B77"/>
                  </a:gs>
                  <a:gs pos="63000">
                    <a:schemeClr val="bg1">
                      <a:lumMod val="85000"/>
                    </a:schemeClr>
                  </a:gs>
                  <a:gs pos="0">
                    <a:schemeClr val="bg1">
                      <a:lumMod val="7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Freeform 8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980027" y="5340413"/>
                <a:ext cx="466550" cy="97198"/>
              </a:xfrm>
              <a:custGeom>
                <a:avLst/>
                <a:gdLst>
                  <a:gd name="T0" fmla="*/ 68 w 1201"/>
                  <a:gd name="T1" fmla="*/ 0 h 249"/>
                  <a:gd name="T2" fmla="*/ 44 w 1201"/>
                  <a:gd name="T3" fmla="*/ 16 h 249"/>
                  <a:gd name="T4" fmla="*/ 18 w 1201"/>
                  <a:gd name="T5" fmla="*/ 37 h 249"/>
                  <a:gd name="T6" fmla="*/ 3 w 1201"/>
                  <a:gd name="T7" fmla="*/ 54 h 249"/>
                  <a:gd name="T8" fmla="*/ 0 w 1201"/>
                  <a:gd name="T9" fmla="*/ 66 h 249"/>
                  <a:gd name="T10" fmla="*/ 0 w 1201"/>
                  <a:gd name="T11" fmla="*/ 71 h 249"/>
                  <a:gd name="T12" fmla="*/ 15 w 1201"/>
                  <a:gd name="T13" fmla="*/ 84 h 249"/>
                  <a:gd name="T14" fmla="*/ 49 w 1201"/>
                  <a:gd name="T15" fmla="*/ 100 h 249"/>
                  <a:gd name="T16" fmla="*/ 100 w 1201"/>
                  <a:gd name="T17" fmla="*/ 119 h 249"/>
                  <a:gd name="T18" fmla="*/ 170 w 1201"/>
                  <a:gd name="T19" fmla="*/ 140 h 249"/>
                  <a:gd name="T20" fmla="*/ 255 w 1201"/>
                  <a:gd name="T21" fmla="*/ 162 h 249"/>
                  <a:gd name="T22" fmla="*/ 357 w 1201"/>
                  <a:gd name="T23" fmla="*/ 183 h 249"/>
                  <a:gd name="T24" fmla="*/ 471 w 1201"/>
                  <a:gd name="T25" fmla="*/ 202 h 249"/>
                  <a:gd name="T26" fmla="*/ 598 w 1201"/>
                  <a:gd name="T27" fmla="*/ 220 h 249"/>
                  <a:gd name="T28" fmla="*/ 725 w 1201"/>
                  <a:gd name="T29" fmla="*/ 232 h 249"/>
                  <a:gd name="T30" fmla="*/ 942 w 1201"/>
                  <a:gd name="T31" fmla="*/ 246 h 249"/>
                  <a:gd name="T32" fmla="*/ 1100 w 1201"/>
                  <a:gd name="T33" fmla="*/ 249 h 249"/>
                  <a:gd name="T34" fmla="*/ 1172 w 1201"/>
                  <a:gd name="T35" fmla="*/ 243 h 249"/>
                  <a:gd name="T36" fmla="*/ 1197 w 1201"/>
                  <a:gd name="T37" fmla="*/ 237 h 249"/>
                  <a:gd name="T38" fmla="*/ 1200 w 1201"/>
                  <a:gd name="T39" fmla="*/ 234 h 249"/>
                  <a:gd name="T40" fmla="*/ 1201 w 1201"/>
                  <a:gd name="T41" fmla="*/ 230 h 249"/>
                  <a:gd name="T42" fmla="*/ 1197 w 1201"/>
                  <a:gd name="T43" fmla="*/ 220 h 249"/>
                  <a:gd name="T44" fmla="*/ 1179 w 1201"/>
                  <a:gd name="T45" fmla="*/ 199 h 249"/>
                  <a:gd name="T46" fmla="*/ 1145 w 1201"/>
                  <a:gd name="T47" fmla="*/ 171 h 249"/>
                  <a:gd name="T48" fmla="*/ 1116 w 1201"/>
                  <a:gd name="T49" fmla="*/ 150 h 249"/>
                  <a:gd name="T50" fmla="*/ 1107 w 1201"/>
                  <a:gd name="T51" fmla="*/ 147 h 249"/>
                  <a:gd name="T52" fmla="*/ 943 w 1201"/>
                  <a:gd name="T53" fmla="*/ 142 h 249"/>
                  <a:gd name="T54" fmla="*/ 781 w 1201"/>
                  <a:gd name="T55" fmla="*/ 131 h 249"/>
                  <a:gd name="T56" fmla="*/ 586 w 1201"/>
                  <a:gd name="T57" fmla="*/ 111 h 249"/>
                  <a:gd name="T58" fmla="*/ 525 w 1201"/>
                  <a:gd name="T59" fmla="*/ 103 h 249"/>
                  <a:gd name="T60" fmla="*/ 363 w 1201"/>
                  <a:gd name="T61" fmla="*/ 75 h 249"/>
                  <a:gd name="T62" fmla="*/ 201 w 1201"/>
                  <a:gd name="T63" fmla="*/ 40 h 249"/>
                  <a:gd name="T64" fmla="*/ 102 w 1201"/>
                  <a:gd name="T65" fmla="*/ 12 h 249"/>
                  <a:gd name="T66" fmla="*/ 68 w 1201"/>
                  <a:gd name="T67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01" h="249">
                    <a:moveTo>
                      <a:pt x="68" y="0"/>
                    </a:moveTo>
                    <a:lnTo>
                      <a:pt x="68" y="0"/>
                    </a:lnTo>
                    <a:lnTo>
                      <a:pt x="56" y="7"/>
                    </a:lnTo>
                    <a:lnTo>
                      <a:pt x="44" y="16"/>
                    </a:lnTo>
                    <a:lnTo>
                      <a:pt x="31" y="25"/>
                    </a:lnTo>
                    <a:lnTo>
                      <a:pt x="18" y="37"/>
                    </a:lnTo>
                    <a:lnTo>
                      <a:pt x="7" y="49"/>
                    </a:lnTo>
                    <a:lnTo>
                      <a:pt x="3" y="54"/>
                    </a:lnTo>
                    <a:lnTo>
                      <a:pt x="0" y="60"/>
                    </a:lnTo>
                    <a:lnTo>
                      <a:pt x="0" y="66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4" y="77"/>
                    </a:lnTo>
                    <a:lnTo>
                      <a:pt x="15" y="84"/>
                    </a:lnTo>
                    <a:lnTo>
                      <a:pt x="30" y="91"/>
                    </a:lnTo>
                    <a:lnTo>
                      <a:pt x="49" y="100"/>
                    </a:lnTo>
                    <a:lnTo>
                      <a:pt x="72" y="109"/>
                    </a:lnTo>
                    <a:lnTo>
                      <a:pt x="100" y="119"/>
                    </a:lnTo>
                    <a:lnTo>
                      <a:pt x="133" y="130"/>
                    </a:lnTo>
                    <a:lnTo>
                      <a:pt x="170" y="140"/>
                    </a:lnTo>
                    <a:lnTo>
                      <a:pt x="211" y="152"/>
                    </a:lnTo>
                    <a:lnTo>
                      <a:pt x="255" y="162"/>
                    </a:lnTo>
                    <a:lnTo>
                      <a:pt x="304" y="172"/>
                    </a:lnTo>
                    <a:lnTo>
                      <a:pt x="357" y="183"/>
                    </a:lnTo>
                    <a:lnTo>
                      <a:pt x="412" y="193"/>
                    </a:lnTo>
                    <a:lnTo>
                      <a:pt x="471" y="202"/>
                    </a:lnTo>
                    <a:lnTo>
                      <a:pt x="533" y="211"/>
                    </a:lnTo>
                    <a:lnTo>
                      <a:pt x="598" y="220"/>
                    </a:lnTo>
                    <a:lnTo>
                      <a:pt x="598" y="220"/>
                    </a:lnTo>
                    <a:lnTo>
                      <a:pt x="725" y="232"/>
                    </a:lnTo>
                    <a:lnTo>
                      <a:pt x="840" y="242"/>
                    </a:lnTo>
                    <a:lnTo>
                      <a:pt x="942" y="246"/>
                    </a:lnTo>
                    <a:lnTo>
                      <a:pt x="1029" y="249"/>
                    </a:lnTo>
                    <a:lnTo>
                      <a:pt x="1100" y="249"/>
                    </a:lnTo>
                    <a:lnTo>
                      <a:pt x="1153" y="246"/>
                    </a:lnTo>
                    <a:lnTo>
                      <a:pt x="1172" y="243"/>
                    </a:lnTo>
                    <a:lnTo>
                      <a:pt x="1187" y="240"/>
                    </a:lnTo>
                    <a:lnTo>
                      <a:pt x="1197" y="237"/>
                    </a:lnTo>
                    <a:lnTo>
                      <a:pt x="1198" y="236"/>
                    </a:lnTo>
                    <a:lnTo>
                      <a:pt x="1200" y="234"/>
                    </a:lnTo>
                    <a:lnTo>
                      <a:pt x="1200" y="234"/>
                    </a:lnTo>
                    <a:lnTo>
                      <a:pt x="1201" y="230"/>
                    </a:lnTo>
                    <a:lnTo>
                      <a:pt x="1200" y="226"/>
                    </a:lnTo>
                    <a:lnTo>
                      <a:pt x="1197" y="220"/>
                    </a:lnTo>
                    <a:lnTo>
                      <a:pt x="1191" y="212"/>
                    </a:lnTo>
                    <a:lnTo>
                      <a:pt x="1179" y="199"/>
                    </a:lnTo>
                    <a:lnTo>
                      <a:pt x="1163" y="184"/>
                    </a:lnTo>
                    <a:lnTo>
                      <a:pt x="1145" y="171"/>
                    </a:lnTo>
                    <a:lnTo>
                      <a:pt x="1129" y="159"/>
                    </a:lnTo>
                    <a:lnTo>
                      <a:pt x="1116" y="150"/>
                    </a:lnTo>
                    <a:lnTo>
                      <a:pt x="1107" y="147"/>
                    </a:lnTo>
                    <a:lnTo>
                      <a:pt x="1107" y="147"/>
                    </a:lnTo>
                    <a:lnTo>
                      <a:pt x="1057" y="146"/>
                    </a:lnTo>
                    <a:lnTo>
                      <a:pt x="943" y="142"/>
                    </a:lnTo>
                    <a:lnTo>
                      <a:pt x="868" y="139"/>
                    </a:lnTo>
                    <a:lnTo>
                      <a:pt x="781" y="131"/>
                    </a:lnTo>
                    <a:lnTo>
                      <a:pt x="688" y="122"/>
                    </a:lnTo>
                    <a:lnTo>
                      <a:pt x="586" y="111"/>
                    </a:lnTo>
                    <a:lnTo>
                      <a:pt x="586" y="111"/>
                    </a:lnTo>
                    <a:lnTo>
                      <a:pt x="525" y="103"/>
                    </a:lnTo>
                    <a:lnTo>
                      <a:pt x="468" y="93"/>
                    </a:lnTo>
                    <a:lnTo>
                      <a:pt x="363" y="75"/>
                    </a:lnTo>
                    <a:lnTo>
                      <a:pt x="275" y="56"/>
                    </a:lnTo>
                    <a:lnTo>
                      <a:pt x="201" y="40"/>
                    </a:lnTo>
                    <a:lnTo>
                      <a:pt x="143" y="23"/>
                    </a:lnTo>
                    <a:lnTo>
                      <a:pt x="102" y="12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2" name="Freeform 9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976916" y="5265765"/>
                <a:ext cx="470438" cy="105751"/>
              </a:xfrm>
              <a:custGeom>
                <a:avLst/>
                <a:gdLst>
                  <a:gd name="T0" fmla="*/ 79 w 1210"/>
                  <a:gd name="T1" fmla="*/ 0 h 274"/>
                  <a:gd name="T2" fmla="*/ 53 w 1210"/>
                  <a:gd name="T3" fmla="*/ 18 h 274"/>
                  <a:gd name="T4" fmla="*/ 22 w 1210"/>
                  <a:gd name="T5" fmla="*/ 43 h 274"/>
                  <a:gd name="T6" fmla="*/ 6 w 1210"/>
                  <a:gd name="T7" fmla="*/ 62 h 274"/>
                  <a:gd name="T8" fmla="*/ 0 w 1210"/>
                  <a:gd name="T9" fmla="*/ 76 h 274"/>
                  <a:gd name="T10" fmla="*/ 1 w 1210"/>
                  <a:gd name="T11" fmla="*/ 82 h 274"/>
                  <a:gd name="T12" fmla="*/ 6 w 1210"/>
                  <a:gd name="T13" fmla="*/ 89 h 274"/>
                  <a:gd name="T14" fmla="*/ 34 w 1210"/>
                  <a:gd name="T15" fmla="*/ 105 h 274"/>
                  <a:gd name="T16" fmla="*/ 87 w 1210"/>
                  <a:gd name="T17" fmla="*/ 127 h 274"/>
                  <a:gd name="T18" fmla="*/ 159 w 1210"/>
                  <a:gd name="T19" fmla="*/ 151 h 274"/>
                  <a:gd name="T20" fmla="*/ 249 w 1210"/>
                  <a:gd name="T21" fmla="*/ 176 h 274"/>
                  <a:gd name="T22" fmla="*/ 354 w 1210"/>
                  <a:gd name="T23" fmla="*/ 200 h 274"/>
                  <a:gd name="T24" fmla="*/ 469 w 1210"/>
                  <a:gd name="T25" fmla="*/ 222 h 274"/>
                  <a:gd name="T26" fmla="*/ 593 w 1210"/>
                  <a:gd name="T27" fmla="*/ 238 h 274"/>
                  <a:gd name="T28" fmla="*/ 656 w 1210"/>
                  <a:gd name="T29" fmla="*/ 245 h 274"/>
                  <a:gd name="T30" fmla="*/ 890 w 1210"/>
                  <a:gd name="T31" fmla="*/ 265 h 274"/>
                  <a:gd name="T32" fmla="*/ 1061 w 1210"/>
                  <a:gd name="T33" fmla="*/ 274 h 274"/>
                  <a:gd name="T34" fmla="*/ 1167 w 1210"/>
                  <a:gd name="T35" fmla="*/ 271 h 274"/>
                  <a:gd name="T36" fmla="*/ 1197 w 1210"/>
                  <a:gd name="T37" fmla="*/ 266 h 274"/>
                  <a:gd name="T38" fmla="*/ 1208 w 1210"/>
                  <a:gd name="T39" fmla="*/ 259 h 274"/>
                  <a:gd name="T40" fmla="*/ 1210 w 1210"/>
                  <a:gd name="T41" fmla="*/ 253 h 274"/>
                  <a:gd name="T42" fmla="*/ 1204 w 1210"/>
                  <a:gd name="T43" fmla="*/ 241 h 274"/>
                  <a:gd name="T44" fmla="*/ 1182 w 1210"/>
                  <a:gd name="T45" fmla="*/ 219 h 274"/>
                  <a:gd name="T46" fmla="*/ 1143 w 1210"/>
                  <a:gd name="T47" fmla="*/ 189 h 274"/>
                  <a:gd name="T48" fmla="*/ 1108 w 1210"/>
                  <a:gd name="T49" fmla="*/ 167 h 274"/>
                  <a:gd name="T50" fmla="*/ 1071 w 1210"/>
                  <a:gd name="T51" fmla="*/ 166 h 274"/>
                  <a:gd name="T52" fmla="*/ 890 w 1210"/>
                  <a:gd name="T53" fmla="*/ 155 h 274"/>
                  <a:gd name="T54" fmla="*/ 702 w 1210"/>
                  <a:gd name="T55" fmla="*/ 139 h 274"/>
                  <a:gd name="T56" fmla="*/ 591 w 1210"/>
                  <a:gd name="T57" fmla="*/ 126 h 274"/>
                  <a:gd name="T58" fmla="*/ 462 w 1210"/>
                  <a:gd name="T59" fmla="*/ 108 h 274"/>
                  <a:gd name="T60" fmla="*/ 354 w 1210"/>
                  <a:gd name="T61" fmla="*/ 88 h 274"/>
                  <a:gd name="T62" fmla="*/ 265 w 1210"/>
                  <a:gd name="T63" fmla="*/ 67 h 274"/>
                  <a:gd name="T64" fmla="*/ 196 w 1210"/>
                  <a:gd name="T65" fmla="*/ 46 h 274"/>
                  <a:gd name="T66" fmla="*/ 107 w 1210"/>
                  <a:gd name="T67" fmla="*/ 14 h 274"/>
                  <a:gd name="T68" fmla="*/ 79 w 1210"/>
                  <a:gd name="T69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10" h="274">
                    <a:moveTo>
                      <a:pt x="79" y="0"/>
                    </a:moveTo>
                    <a:lnTo>
                      <a:pt x="79" y="0"/>
                    </a:lnTo>
                    <a:lnTo>
                      <a:pt x="66" y="9"/>
                    </a:lnTo>
                    <a:lnTo>
                      <a:pt x="53" y="18"/>
                    </a:lnTo>
                    <a:lnTo>
                      <a:pt x="38" y="30"/>
                    </a:lnTo>
                    <a:lnTo>
                      <a:pt x="22" y="43"/>
                    </a:lnTo>
                    <a:lnTo>
                      <a:pt x="10" y="57"/>
                    </a:lnTo>
                    <a:lnTo>
                      <a:pt x="6" y="62"/>
                    </a:lnTo>
                    <a:lnTo>
                      <a:pt x="3" y="70"/>
                    </a:lnTo>
                    <a:lnTo>
                      <a:pt x="0" y="76"/>
                    </a:lnTo>
                    <a:lnTo>
                      <a:pt x="1" y="82"/>
                    </a:lnTo>
                    <a:lnTo>
                      <a:pt x="1" y="82"/>
                    </a:lnTo>
                    <a:lnTo>
                      <a:pt x="3" y="85"/>
                    </a:lnTo>
                    <a:lnTo>
                      <a:pt x="6" y="89"/>
                    </a:lnTo>
                    <a:lnTo>
                      <a:pt x="16" y="96"/>
                    </a:lnTo>
                    <a:lnTo>
                      <a:pt x="34" y="105"/>
                    </a:lnTo>
                    <a:lnTo>
                      <a:pt x="57" y="116"/>
                    </a:lnTo>
                    <a:lnTo>
                      <a:pt x="87" y="127"/>
                    </a:lnTo>
                    <a:lnTo>
                      <a:pt x="121" y="139"/>
                    </a:lnTo>
                    <a:lnTo>
                      <a:pt x="159" y="151"/>
                    </a:lnTo>
                    <a:lnTo>
                      <a:pt x="202" y="163"/>
                    </a:lnTo>
                    <a:lnTo>
                      <a:pt x="249" y="176"/>
                    </a:lnTo>
                    <a:lnTo>
                      <a:pt x="299" y="188"/>
                    </a:lnTo>
                    <a:lnTo>
                      <a:pt x="354" y="200"/>
                    </a:lnTo>
                    <a:lnTo>
                      <a:pt x="410" y="210"/>
                    </a:lnTo>
                    <a:lnTo>
                      <a:pt x="469" y="222"/>
                    </a:lnTo>
                    <a:lnTo>
                      <a:pt x="529" y="231"/>
                    </a:lnTo>
                    <a:lnTo>
                      <a:pt x="593" y="238"/>
                    </a:lnTo>
                    <a:lnTo>
                      <a:pt x="656" y="245"/>
                    </a:lnTo>
                    <a:lnTo>
                      <a:pt x="656" y="245"/>
                    </a:lnTo>
                    <a:lnTo>
                      <a:pt x="780" y="257"/>
                    </a:lnTo>
                    <a:lnTo>
                      <a:pt x="890" y="265"/>
                    </a:lnTo>
                    <a:lnTo>
                      <a:pt x="984" y="271"/>
                    </a:lnTo>
                    <a:lnTo>
                      <a:pt x="1061" y="274"/>
                    </a:lnTo>
                    <a:lnTo>
                      <a:pt x="1121" y="274"/>
                    </a:lnTo>
                    <a:lnTo>
                      <a:pt x="1167" y="271"/>
                    </a:lnTo>
                    <a:lnTo>
                      <a:pt x="1183" y="269"/>
                    </a:lnTo>
                    <a:lnTo>
                      <a:pt x="1197" y="266"/>
                    </a:lnTo>
                    <a:lnTo>
                      <a:pt x="1204" y="262"/>
                    </a:lnTo>
                    <a:lnTo>
                      <a:pt x="1208" y="259"/>
                    </a:lnTo>
                    <a:lnTo>
                      <a:pt x="1208" y="259"/>
                    </a:lnTo>
                    <a:lnTo>
                      <a:pt x="1210" y="253"/>
                    </a:lnTo>
                    <a:lnTo>
                      <a:pt x="1208" y="247"/>
                    </a:lnTo>
                    <a:lnTo>
                      <a:pt x="1204" y="241"/>
                    </a:lnTo>
                    <a:lnTo>
                      <a:pt x="1198" y="234"/>
                    </a:lnTo>
                    <a:lnTo>
                      <a:pt x="1182" y="219"/>
                    </a:lnTo>
                    <a:lnTo>
                      <a:pt x="1163" y="204"/>
                    </a:lnTo>
                    <a:lnTo>
                      <a:pt x="1143" y="189"/>
                    </a:lnTo>
                    <a:lnTo>
                      <a:pt x="1126" y="178"/>
                    </a:lnTo>
                    <a:lnTo>
                      <a:pt x="1108" y="167"/>
                    </a:lnTo>
                    <a:lnTo>
                      <a:pt x="1108" y="167"/>
                    </a:lnTo>
                    <a:lnTo>
                      <a:pt x="1071" y="166"/>
                    </a:lnTo>
                    <a:lnTo>
                      <a:pt x="965" y="160"/>
                    </a:lnTo>
                    <a:lnTo>
                      <a:pt x="890" y="155"/>
                    </a:lnTo>
                    <a:lnTo>
                      <a:pt x="803" y="148"/>
                    </a:lnTo>
                    <a:lnTo>
                      <a:pt x="702" y="139"/>
                    </a:lnTo>
                    <a:lnTo>
                      <a:pt x="591" y="126"/>
                    </a:lnTo>
                    <a:lnTo>
                      <a:pt x="591" y="126"/>
                    </a:lnTo>
                    <a:lnTo>
                      <a:pt x="524" y="117"/>
                    </a:lnTo>
                    <a:lnTo>
                      <a:pt x="462" y="108"/>
                    </a:lnTo>
                    <a:lnTo>
                      <a:pt x="406" y="98"/>
                    </a:lnTo>
                    <a:lnTo>
                      <a:pt x="354" y="88"/>
                    </a:lnTo>
                    <a:lnTo>
                      <a:pt x="307" y="77"/>
                    </a:lnTo>
                    <a:lnTo>
                      <a:pt x="265" y="67"/>
                    </a:lnTo>
                    <a:lnTo>
                      <a:pt x="228" y="57"/>
                    </a:lnTo>
                    <a:lnTo>
                      <a:pt x="196" y="46"/>
                    </a:lnTo>
                    <a:lnTo>
                      <a:pt x="143" y="29"/>
                    </a:lnTo>
                    <a:lnTo>
                      <a:pt x="107" y="14"/>
                    </a:lnTo>
                    <a:lnTo>
                      <a:pt x="87" y="3"/>
                    </a:lnTo>
                    <a:lnTo>
                      <a:pt x="79" y="0"/>
                    </a:lnTo>
                    <a:lnTo>
                      <a:pt x="79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3" name="Freeform 10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976139" y="5207446"/>
                <a:ext cx="470438" cy="94865"/>
              </a:xfrm>
              <a:custGeom>
                <a:avLst/>
                <a:gdLst>
                  <a:gd name="T0" fmla="*/ 90 w 1210"/>
                  <a:gd name="T1" fmla="*/ 0 h 244"/>
                  <a:gd name="T2" fmla="*/ 90 w 1210"/>
                  <a:gd name="T3" fmla="*/ 0 h 244"/>
                  <a:gd name="T4" fmla="*/ 75 w 1210"/>
                  <a:gd name="T5" fmla="*/ 5 h 244"/>
                  <a:gd name="T6" fmla="*/ 46 w 1210"/>
                  <a:gd name="T7" fmla="*/ 18 h 244"/>
                  <a:gd name="T8" fmla="*/ 28 w 1210"/>
                  <a:gd name="T9" fmla="*/ 27 h 244"/>
                  <a:gd name="T10" fmla="*/ 15 w 1210"/>
                  <a:gd name="T11" fmla="*/ 36 h 244"/>
                  <a:gd name="T12" fmla="*/ 9 w 1210"/>
                  <a:gd name="T13" fmla="*/ 40 h 244"/>
                  <a:gd name="T14" fmla="*/ 5 w 1210"/>
                  <a:gd name="T15" fmla="*/ 45 h 244"/>
                  <a:gd name="T16" fmla="*/ 2 w 1210"/>
                  <a:gd name="T17" fmla="*/ 49 h 244"/>
                  <a:gd name="T18" fmla="*/ 0 w 1210"/>
                  <a:gd name="T19" fmla="*/ 54 h 244"/>
                  <a:gd name="T20" fmla="*/ 0 w 1210"/>
                  <a:gd name="T21" fmla="*/ 54 h 244"/>
                  <a:gd name="T22" fmla="*/ 0 w 1210"/>
                  <a:gd name="T23" fmla="*/ 56 h 244"/>
                  <a:gd name="T24" fmla="*/ 3 w 1210"/>
                  <a:gd name="T25" fmla="*/ 59 h 244"/>
                  <a:gd name="T26" fmla="*/ 13 w 1210"/>
                  <a:gd name="T27" fmla="*/ 67 h 244"/>
                  <a:gd name="T28" fmla="*/ 30 w 1210"/>
                  <a:gd name="T29" fmla="*/ 74 h 244"/>
                  <a:gd name="T30" fmla="*/ 52 w 1210"/>
                  <a:gd name="T31" fmla="*/ 85 h 244"/>
                  <a:gd name="T32" fmla="*/ 78 w 1210"/>
                  <a:gd name="T33" fmla="*/ 95 h 244"/>
                  <a:gd name="T34" fmla="*/ 112 w 1210"/>
                  <a:gd name="T35" fmla="*/ 105 h 244"/>
                  <a:gd name="T36" fmla="*/ 191 w 1210"/>
                  <a:gd name="T37" fmla="*/ 130 h 244"/>
                  <a:gd name="T38" fmla="*/ 285 w 1210"/>
                  <a:gd name="T39" fmla="*/ 154 h 244"/>
                  <a:gd name="T40" fmla="*/ 335 w 1210"/>
                  <a:gd name="T41" fmla="*/ 167 h 244"/>
                  <a:gd name="T42" fmla="*/ 390 w 1210"/>
                  <a:gd name="T43" fmla="*/ 179 h 244"/>
                  <a:gd name="T44" fmla="*/ 446 w 1210"/>
                  <a:gd name="T45" fmla="*/ 191 h 244"/>
                  <a:gd name="T46" fmla="*/ 503 w 1210"/>
                  <a:gd name="T47" fmla="*/ 201 h 244"/>
                  <a:gd name="T48" fmla="*/ 562 w 1210"/>
                  <a:gd name="T49" fmla="*/ 210 h 244"/>
                  <a:gd name="T50" fmla="*/ 623 w 1210"/>
                  <a:gd name="T51" fmla="*/ 219 h 244"/>
                  <a:gd name="T52" fmla="*/ 623 w 1210"/>
                  <a:gd name="T53" fmla="*/ 219 h 244"/>
                  <a:gd name="T54" fmla="*/ 682 w 1210"/>
                  <a:gd name="T55" fmla="*/ 226 h 244"/>
                  <a:gd name="T56" fmla="*/ 740 w 1210"/>
                  <a:gd name="T57" fmla="*/ 232 h 244"/>
                  <a:gd name="T58" fmla="*/ 794 w 1210"/>
                  <a:gd name="T59" fmla="*/ 237 h 244"/>
                  <a:gd name="T60" fmla="*/ 847 w 1210"/>
                  <a:gd name="T61" fmla="*/ 239 h 244"/>
                  <a:gd name="T62" fmla="*/ 898 w 1210"/>
                  <a:gd name="T63" fmla="*/ 242 h 244"/>
                  <a:gd name="T64" fmla="*/ 945 w 1210"/>
                  <a:gd name="T65" fmla="*/ 242 h 244"/>
                  <a:gd name="T66" fmla="*/ 989 w 1210"/>
                  <a:gd name="T67" fmla="*/ 244 h 244"/>
                  <a:gd name="T68" fmla="*/ 1030 w 1210"/>
                  <a:gd name="T69" fmla="*/ 242 h 244"/>
                  <a:gd name="T70" fmla="*/ 1067 w 1210"/>
                  <a:gd name="T71" fmla="*/ 241 h 244"/>
                  <a:gd name="T72" fmla="*/ 1101 w 1210"/>
                  <a:gd name="T73" fmla="*/ 238 h 244"/>
                  <a:gd name="T74" fmla="*/ 1131 w 1210"/>
                  <a:gd name="T75" fmla="*/ 237 h 244"/>
                  <a:gd name="T76" fmla="*/ 1156 w 1210"/>
                  <a:gd name="T77" fmla="*/ 232 h 244"/>
                  <a:gd name="T78" fmla="*/ 1178 w 1210"/>
                  <a:gd name="T79" fmla="*/ 229 h 244"/>
                  <a:gd name="T80" fmla="*/ 1193 w 1210"/>
                  <a:gd name="T81" fmla="*/ 225 h 244"/>
                  <a:gd name="T82" fmla="*/ 1204 w 1210"/>
                  <a:gd name="T83" fmla="*/ 220 h 244"/>
                  <a:gd name="T84" fmla="*/ 1210 w 1210"/>
                  <a:gd name="T85" fmla="*/ 216 h 244"/>
                  <a:gd name="T86" fmla="*/ 1210 w 1210"/>
                  <a:gd name="T87" fmla="*/ 216 h 244"/>
                  <a:gd name="T88" fmla="*/ 1210 w 1210"/>
                  <a:gd name="T89" fmla="*/ 213 h 244"/>
                  <a:gd name="T90" fmla="*/ 1209 w 1210"/>
                  <a:gd name="T91" fmla="*/ 211 h 244"/>
                  <a:gd name="T92" fmla="*/ 1199 w 1210"/>
                  <a:gd name="T93" fmla="*/ 209 h 244"/>
                  <a:gd name="T94" fmla="*/ 1181 w 1210"/>
                  <a:gd name="T95" fmla="*/ 206 h 244"/>
                  <a:gd name="T96" fmla="*/ 1157 w 1210"/>
                  <a:gd name="T97" fmla="*/ 201 h 244"/>
                  <a:gd name="T98" fmla="*/ 1092 w 1210"/>
                  <a:gd name="T99" fmla="*/ 192 h 244"/>
                  <a:gd name="T100" fmla="*/ 1010 w 1210"/>
                  <a:gd name="T101" fmla="*/ 182 h 244"/>
                  <a:gd name="T102" fmla="*/ 917 w 1210"/>
                  <a:gd name="T103" fmla="*/ 172 h 244"/>
                  <a:gd name="T104" fmla="*/ 816 w 1210"/>
                  <a:gd name="T105" fmla="*/ 158 h 244"/>
                  <a:gd name="T106" fmla="*/ 715 w 1210"/>
                  <a:gd name="T107" fmla="*/ 142 h 244"/>
                  <a:gd name="T108" fmla="*/ 666 w 1210"/>
                  <a:gd name="T109" fmla="*/ 135 h 244"/>
                  <a:gd name="T110" fmla="*/ 619 w 1210"/>
                  <a:gd name="T111" fmla="*/ 126 h 244"/>
                  <a:gd name="T112" fmla="*/ 619 w 1210"/>
                  <a:gd name="T113" fmla="*/ 126 h 244"/>
                  <a:gd name="T114" fmla="*/ 534 w 1210"/>
                  <a:gd name="T115" fmla="*/ 108 h 244"/>
                  <a:gd name="T116" fmla="*/ 446 w 1210"/>
                  <a:gd name="T117" fmla="*/ 87 h 244"/>
                  <a:gd name="T118" fmla="*/ 275 w 1210"/>
                  <a:gd name="T119" fmla="*/ 48 h 244"/>
                  <a:gd name="T120" fmla="*/ 142 w 1210"/>
                  <a:gd name="T121" fmla="*/ 14 h 244"/>
                  <a:gd name="T122" fmla="*/ 90 w 1210"/>
                  <a:gd name="T123" fmla="*/ 0 h 244"/>
                  <a:gd name="T124" fmla="*/ 90 w 1210"/>
                  <a:gd name="T125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10" h="244">
                    <a:moveTo>
                      <a:pt x="90" y="0"/>
                    </a:moveTo>
                    <a:lnTo>
                      <a:pt x="90" y="0"/>
                    </a:lnTo>
                    <a:lnTo>
                      <a:pt x="75" y="5"/>
                    </a:lnTo>
                    <a:lnTo>
                      <a:pt x="46" y="18"/>
                    </a:lnTo>
                    <a:lnTo>
                      <a:pt x="28" y="27"/>
                    </a:lnTo>
                    <a:lnTo>
                      <a:pt x="15" y="36"/>
                    </a:lnTo>
                    <a:lnTo>
                      <a:pt x="9" y="40"/>
                    </a:lnTo>
                    <a:lnTo>
                      <a:pt x="5" y="45"/>
                    </a:lnTo>
                    <a:lnTo>
                      <a:pt x="2" y="4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3" y="59"/>
                    </a:lnTo>
                    <a:lnTo>
                      <a:pt x="13" y="67"/>
                    </a:lnTo>
                    <a:lnTo>
                      <a:pt x="30" y="74"/>
                    </a:lnTo>
                    <a:lnTo>
                      <a:pt x="52" y="85"/>
                    </a:lnTo>
                    <a:lnTo>
                      <a:pt x="78" y="95"/>
                    </a:lnTo>
                    <a:lnTo>
                      <a:pt x="112" y="105"/>
                    </a:lnTo>
                    <a:lnTo>
                      <a:pt x="191" y="130"/>
                    </a:lnTo>
                    <a:lnTo>
                      <a:pt x="285" y="154"/>
                    </a:lnTo>
                    <a:lnTo>
                      <a:pt x="335" y="167"/>
                    </a:lnTo>
                    <a:lnTo>
                      <a:pt x="390" y="179"/>
                    </a:lnTo>
                    <a:lnTo>
                      <a:pt x="446" y="191"/>
                    </a:lnTo>
                    <a:lnTo>
                      <a:pt x="503" y="201"/>
                    </a:lnTo>
                    <a:lnTo>
                      <a:pt x="562" y="210"/>
                    </a:lnTo>
                    <a:lnTo>
                      <a:pt x="623" y="219"/>
                    </a:lnTo>
                    <a:lnTo>
                      <a:pt x="623" y="219"/>
                    </a:lnTo>
                    <a:lnTo>
                      <a:pt x="682" y="226"/>
                    </a:lnTo>
                    <a:lnTo>
                      <a:pt x="740" y="232"/>
                    </a:lnTo>
                    <a:lnTo>
                      <a:pt x="794" y="237"/>
                    </a:lnTo>
                    <a:lnTo>
                      <a:pt x="847" y="239"/>
                    </a:lnTo>
                    <a:lnTo>
                      <a:pt x="898" y="242"/>
                    </a:lnTo>
                    <a:lnTo>
                      <a:pt x="945" y="242"/>
                    </a:lnTo>
                    <a:lnTo>
                      <a:pt x="989" y="244"/>
                    </a:lnTo>
                    <a:lnTo>
                      <a:pt x="1030" y="242"/>
                    </a:lnTo>
                    <a:lnTo>
                      <a:pt x="1067" y="241"/>
                    </a:lnTo>
                    <a:lnTo>
                      <a:pt x="1101" y="238"/>
                    </a:lnTo>
                    <a:lnTo>
                      <a:pt x="1131" y="237"/>
                    </a:lnTo>
                    <a:lnTo>
                      <a:pt x="1156" y="232"/>
                    </a:lnTo>
                    <a:lnTo>
                      <a:pt x="1178" y="229"/>
                    </a:lnTo>
                    <a:lnTo>
                      <a:pt x="1193" y="225"/>
                    </a:lnTo>
                    <a:lnTo>
                      <a:pt x="1204" y="220"/>
                    </a:lnTo>
                    <a:lnTo>
                      <a:pt x="1210" y="216"/>
                    </a:lnTo>
                    <a:lnTo>
                      <a:pt x="1210" y="216"/>
                    </a:lnTo>
                    <a:lnTo>
                      <a:pt x="1210" y="213"/>
                    </a:lnTo>
                    <a:lnTo>
                      <a:pt x="1209" y="211"/>
                    </a:lnTo>
                    <a:lnTo>
                      <a:pt x="1199" y="209"/>
                    </a:lnTo>
                    <a:lnTo>
                      <a:pt x="1181" y="206"/>
                    </a:lnTo>
                    <a:lnTo>
                      <a:pt x="1157" y="201"/>
                    </a:lnTo>
                    <a:lnTo>
                      <a:pt x="1092" y="192"/>
                    </a:lnTo>
                    <a:lnTo>
                      <a:pt x="1010" y="182"/>
                    </a:lnTo>
                    <a:lnTo>
                      <a:pt x="917" y="172"/>
                    </a:lnTo>
                    <a:lnTo>
                      <a:pt x="816" y="158"/>
                    </a:lnTo>
                    <a:lnTo>
                      <a:pt x="715" y="142"/>
                    </a:lnTo>
                    <a:lnTo>
                      <a:pt x="666" y="135"/>
                    </a:lnTo>
                    <a:lnTo>
                      <a:pt x="619" y="126"/>
                    </a:lnTo>
                    <a:lnTo>
                      <a:pt x="619" y="126"/>
                    </a:lnTo>
                    <a:lnTo>
                      <a:pt x="534" y="108"/>
                    </a:lnTo>
                    <a:lnTo>
                      <a:pt x="446" y="87"/>
                    </a:lnTo>
                    <a:lnTo>
                      <a:pt x="275" y="48"/>
                    </a:lnTo>
                    <a:lnTo>
                      <a:pt x="142" y="14"/>
                    </a:lnTo>
                    <a:lnTo>
                      <a:pt x="90" y="0"/>
                    </a:lnTo>
                    <a:lnTo>
                      <a:pt x="90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4" name="Freeform 11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098219" y="5581538"/>
                <a:ext cx="214613" cy="63614"/>
              </a:xfrm>
              <a:custGeom>
                <a:avLst/>
                <a:gdLst>
                  <a:gd name="T0" fmla="*/ 542 w 554"/>
                  <a:gd name="T1" fmla="*/ 9 h 162"/>
                  <a:gd name="T2" fmla="*/ 542 w 554"/>
                  <a:gd name="T3" fmla="*/ 9 h 162"/>
                  <a:gd name="T4" fmla="*/ 527 w 554"/>
                  <a:gd name="T5" fmla="*/ 11 h 162"/>
                  <a:gd name="T6" fmla="*/ 506 w 554"/>
                  <a:gd name="T7" fmla="*/ 13 h 162"/>
                  <a:gd name="T8" fmla="*/ 444 w 554"/>
                  <a:gd name="T9" fmla="*/ 16 h 162"/>
                  <a:gd name="T10" fmla="*/ 368 w 554"/>
                  <a:gd name="T11" fmla="*/ 17 h 162"/>
                  <a:gd name="T12" fmla="*/ 282 w 554"/>
                  <a:gd name="T13" fmla="*/ 19 h 162"/>
                  <a:gd name="T14" fmla="*/ 198 w 554"/>
                  <a:gd name="T15" fmla="*/ 17 h 162"/>
                  <a:gd name="T16" fmla="*/ 120 w 554"/>
                  <a:gd name="T17" fmla="*/ 16 h 162"/>
                  <a:gd name="T18" fmla="*/ 59 w 554"/>
                  <a:gd name="T19" fmla="*/ 13 h 162"/>
                  <a:gd name="T20" fmla="*/ 38 w 554"/>
                  <a:gd name="T21" fmla="*/ 11 h 162"/>
                  <a:gd name="T22" fmla="*/ 24 w 554"/>
                  <a:gd name="T23" fmla="*/ 9 h 162"/>
                  <a:gd name="T24" fmla="*/ 24 w 554"/>
                  <a:gd name="T25" fmla="*/ 9 h 162"/>
                  <a:gd name="T26" fmla="*/ 13 w 554"/>
                  <a:gd name="T27" fmla="*/ 6 h 162"/>
                  <a:gd name="T28" fmla="*/ 0 w 554"/>
                  <a:gd name="T29" fmla="*/ 0 h 162"/>
                  <a:gd name="T30" fmla="*/ 0 w 554"/>
                  <a:gd name="T31" fmla="*/ 0 h 162"/>
                  <a:gd name="T32" fmla="*/ 24 w 554"/>
                  <a:gd name="T33" fmla="*/ 19 h 162"/>
                  <a:gd name="T34" fmla="*/ 56 w 554"/>
                  <a:gd name="T35" fmla="*/ 42 h 162"/>
                  <a:gd name="T36" fmla="*/ 93 w 554"/>
                  <a:gd name="T37" fmla="*/ 68 h 162"/>
                  <a:gd name="T38" fmla="*/ 131 w 554"/>
                  <a:gd name="T39" fmla="*/ 93 h 162"/>
                  <a:gd name="T40" fmla="*/ 201 w 554"/>
                  <a:gd name="T41" fmla="*/ 135 h 162"/>
                  <a:gd name="T42" fmla="*/ 236 w 554"/>
                  <a:gd name="T43" fmla="*/ 158 h 162"/>
                  <a:gd name="T44" fmla="*/ 236 w 554"/>
                  <a:gd name="T45" fmla="*/ 158 h 162"/>
                  <a:gd name="T46" fmla="*/ 244 w 554"/>
                  <a:gd name="T47" fmla="*/ 159 h 162"/>
                  <a:gd name="T48" fmla="*/ 254 w 554"/>
                  <a:gd name="T49" fmla="*/ 161 h 162"/>
                  <a:gd name="T50" fmla="*/ 279 w 554"/>
                  <a:gd name="T51" fmla="*/ 162 h 162"/>
                  <a:gd name="T52" fmla="*/ 304 w 554"/>
                  <a:gd name="T53" fmla="*/ 161 h 162"/>
                  <a:gd name="T54" fmla="*/ 314 w 554"/>
                  <a:gd name="T55" fmla="*/ 159 h 162"/>
                  <a:gd name="T56" fmla="*/ 322 w 554"/>
                  <a:gd name="T57" fmla="*/ 156 h 162"/>
                  <a:gd name="T58" fmla="*/ 322 w 554"/>
                  <a:gd name="T59" fmla="*/ 156 h 162"/>
                  <a:gd name="T60" fmla="*/ 337 w 554"/>
                  <a:gd name="T61" fmla="*/ 149 h 162"/>
                  <a:gd name="T62" fmla="*/ 360 w 554"/>
                  <a:gd name="T63" fmla="*/ 135 h 162"/>
                  <a:gd name="T64" fmla="*/ 425 w 554"/>
                  <a:gd name="T65" fmla="*/ 93 h 162"/>
                  <a:gd name="T66" fmla="*/ 554 w 554"/>
                  <a:gd name="T67" fmla="*/ 6 h 162"/>
                  <a:gd name="T68" fmla="*/ 554 w 554"/>
                  <a:gd name="T69" fmla="*/ 6 h 162"/>
                  <a:gd name="T70" fmla="*/ 542 w 554"/>
                  <a:gd name="T71" fmla="*/ 9 h 162"/>
                  <a:gd name="T72" fmla="*/ 542 w 554"/>
                  <a:gd name="T73" fmla="*/ 9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54" h="162">
                    <a:moveTo>
                      <a:pt x="542" y="9"/>
                    </a:moveTo>
                    <a:lnTo>
                      <a:pt x="542" y="9"/>
                    </a:lnTo>
                    <a:lnTo>
                      <a:pt x="527" y="11"/>
                    </a:lnTo>
                    <a:lnTo>
                      <a:pt x="506" y="13"/>
                    </a:lnTo>
                    <a:lnTo>
                      <a:pt x="444" y="16"/>
                    </a:lnTo>
                    <a:lnTo>
                      <a:pt x="368" y="17"/>
                    </a:lnTo>
                    <a:lnTo>
                      <a:pt x="282" y="19"/>
                    </a:lnTo>
                    <a:lnTo>
                      <a:pt x="198" y="17"/>
                    </a:lnTo>
                    <a:lnTo>
                      <a:pt x="120" y="16"/>
                    </a:lnTo>
                    <a:lnTo>
                      <a:pt x="59" y="13"/>
                    </a:lnTo>
                    <a:lnTo>
                      <a:pt x="38" y="11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13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4" y="19"/>
                    </a:lnTo>
                    <a:lnTo>
                      <a:pt x="56" y="42"/>
                    </a:lnTo>
                    <a:lnTo>
                      <a:pt x="93" y="68"/>
                    </a:lnTo>
                    <a:lnTo>
                      <a:pt x="131" y="93"/>
                    </a:lnTo>
                    <a:lnTo>
                      <a:pt x="201" y="135"/>
                    </a:lnTo>
                    <a:lnTo>
                      <a:pt x="236" y="158"/>
                    </a:lnTo>
                    <a:lnTo>
                      <a:pt x="236" y="158"/>
                    </a:lnTo>
                    <a:lnTo>
                      <a:pt x="244" y="159"/>
                    </a:lnTo>
                    <a:lnTo>
                      <a:pt x="254" y="161"/>
                    </a:lnTo>
                    <a:lnTo>
                      <a:pt x="279" y="162"/>
                    </a:lnTo>
                    <a:lnTo>
                      <a:pt x="304" y="161"/>
                    </a:lnTo>
                    <a:lnTo>
                      <a:pt x="314" y="159"/>
                    </a:lnTo>
                    <a:lnTo>
                      <a:pt x="322" y="156"/>
                    </a:lnTo>
                    <a:lnTo>
                      <a:pt x="322" y="156"/>
                    </a:lnTo>
                    <a:lnTo>
                      <a:pt x="337" y="149"/>
                    </a:lnTo>
                    <a:lnTo>
                      <a:pt x="360" y="135"/>
                    </a:lnTo>
                    <a:lnTo>
                      <a:pt x="425" y="93"/>
                    </a:lnTo>
                    <a:lnTo>
                      <a:pt x="554" y="6"/>
                    </a:lnTo>
                    <a:lnTo>
                      <a:pt x="554" y="6"/>
                    </a:lnTo>
                    <a:lnTo>
                      <a:pt x="542" y="9"/>
                    </a:lnTo>
                    <a:lnTo>
                      <a:pt x="542" y="9"/>
                    </a:lnTo>
                    <a:close/>
                  </a:path>
                </a:pathLst>
              </a:custGeom>
              <a:gradFill flip="none" rotWithShape="1">
                <a:gsLst>
                  <a:gs pos="82000">
                    <a:schemeClr val="tx1"/>
                  </a:gs>
                  <a:gs pos="19000">
                    <a:schemeClr val="bg2">
                      <a:lumMod val="10000"/>
                    </a:schemeClr>
                  </a:gs>
                  <a:gs pos="41000">
                    <a:srgbClr val="55382D"/>
                  </a:gs>
                </a:gsLst>
                <a:lin ang="9000000" scaled="0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Freeform 12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987025" y="5504483"/>
                <a:ext cx="434669" cy="85534"/>
              </a:xfrm>
              <a:custGeom>
                <a:avLst/>
                <a:gdLst>
                  <a:gd name="T0" fmla="*/ 1109 w 1119"/>
                  <a:gd name="T1" fmla="*/ 54 h 222"/>
                  <a:gd name="T2" fmla="*/ 1109 w 1119"/>
                  <a:gd name="T3" fmla="*/ 54 h 222"/>
                  <a:gd name="T4" fmla="*/ 1112 w 1119"/>
                  <a:gd name="T5" fmla="*/ 49 h 222"/>
                  <a:gd name="T6" fmla="*/ 1115 w 1119"/>
                  <a:gd name="T7" fmla="*/ 39 h 222"/>
                  <a:gd name="T8" fmla="*/ 1116 w 1119"/>
                  <a:gd name="T9" fmla="*/ 24 h 222"/>
                  <a:gd name="T10" fmla="*/ 1119 w 1119"/>
                  <a:gd name="T11" fmla="*/ 5 h 222"/>
                  <a:gd name="T12" fmla="*/ 1119 w 1119"/>
                  <a:gd name="T13" fmla="*/ 5 h 222"/>
                  <a:gd name="T14" fmla="*/ 1013 w 1119"/>
                  <a:gd name="T15" fmla="*/ 11 h 222"/>
                  <a:gd name="T16" fmla="*/ 881 w 1119"/>
                  <a:gd name="T17" fmla="*/ 15 h 222"/>
                  <a:gd name="T18" fmla="*/ 809 w 1119"/>
                  <a:gd name="T19" fmla="*/ 18 h 222"/>
                  <a:gd name="T20" fmla="*/ 735 w 1119"/>
                  <a:gd name="T21" fmla="*/ 18 h 222"/>
                  <a:gd name="T22" fmla="*/ 658 w 1119"/>
                  <a:gd name="T23" fmla="*/ 18 h 222"/>
                  <a:gd name="T24" fmla="*/ 582 w 1119"/>
                  <a:gd name="T25" fmla="*/ 17 h 222"/>
                  <a:gd name="T26" fmla="*/ 582 w 1119"/>
                  <a:gd name="T27" fmla="*/ 17 h 222"/>
                  <a:gd name="T28" fmla="*/ 0 w 1119"/>
                  <a:gd name="T29" fmla="*/ 0 h 222"/>
                  <a:gd name="T30" fmla="*/ 0 w 1119"/>
                  <a:gd name="T31" fmla="*/ 0 h 222"/>
                  <a:gd name="T32" fmla="*/ 12 w 1119"/>
                  <a:gd name="T33" fmla="*/ 12 h 222"/>
                  <a:gd name="T34" fmla="*/ 25 w 1119"/>
                  <a:gd name="T35" fmla="*/ 27 h 222"/>
                  <a:gd name="T36" fmla="*/ 62 w 1119"/>
                  <a:gd name="T37" fmla="*/ 57 h 222"/>
                  <a:gd name="T38" fmla="*/ 105 w 1119"/>
                  <a:gd name="T39" fmla="*/ 90 h 222"/>
                  <a:gd name="T40" fmla="*/ 154 w 1119"/>
                  <a:gd name="T41" fmla="*/ 124 h 222"/>
                  <a:gd name="T42" fmla="*/ 201 w 1119"/>
                  <a:gd name="T43" fmla="*/ 155 h 222"/>
                  <a:gd name="T44" fmla="*/ 245 w 1119"/>
                  <a:gd name="T45" fmla="*/ 182 h 222"/>
                  <a:gd name="T46" fmla="*/ 282 w 1119"/>
                  <a:gd name="T47" fmla="*/ 201 h 222"/>
                  <a:gd name="T48" fmla="*/ 297 w 1119"/>
                  <a:gd name="T49" fmla="*/ 209 h 222"/>
                  <a:gd name="T50" fmla="*/ 309 w 1119"/>
                  <a:gd name="T51" fmla="*/ 212 h 222"/>
                  <a:gd name="T52" fmla="*/ 309 w 1119"/>
                  <a:gd name="T53" fmla="*/ 212 h 222"/>
                  <a:gd name="T54" fmla="*/ 323 w 1119"/>
                  <a:gd name="T55" fmla="*/ 214 h 222"/>
                  <a:gd name="T56" fmla="*/ 344 w 1119"/>
                  <a:gd name="T57" fmla="*/ 216 h 222"/>
                  <a:gd name="T58" fmla="*/ 405 w 1119"/>
                  <a:gd name="T59" fmla="*/ 219 h 222"/>
                  <a:gd name="T60" fmla="*/ 483 w 1119"/>
                  <a:gd name="T61" fmla="*/ 220 h 222"/>
                  <a:gd name="T62" fmla="*/ 567 w 1119"/>
                  <a:gd name="T63" fmla="*/ 222 h 222"/>
                  <a:gd name="T64" fmla="*/ 653 w 1119"/>
                  <a:gd name="T65" fmla="*/ 220 h 222"/>
                  <a:gd name="T66" fmla="*/ 729 w 1119"/>
                  <a:gd name="T67" fmla="*/ 219 h 222"/>
                  <a:gd name="T68" fmla="*/ 791 w 1119"/>
                  <a:gd name="T69" fmla="*/ 216 h 222"/>
                  <a:gd name="T70" fmla="*/ 812 w 1119"/>
                  <a:gd name="T71" fmla="*/ 214 h 222"/>
                  <a:gd name="T72" fmla="*/ 827 w 1119"/>
                  <a:gd name="T73" fmla="*/ 212 h 222"/>
                  <a:gd name="T74" fmla="*/ 827 w 1119"/>
                  <a:gd name="T75" fmla="*/ 212 h 222"/>
                  <a:gd name="T76" fmla="*/ 840 w 1119"/>
                  <a:gd name="T77" fmla="*/ 209 h 222"/>
                  <a:gd name="T78" fmla="*/ 855 w 1119"/>
                  <a:gd name="T79" fmla="*/ 203 h 222"/>
                  <a:gd name="T80" fmla="*/ 890 w 1119"/>
                  <a:gd name="T81" fmla="*/ 186 h 222"/>
                  <a:gd name="T82" fmla="*/ 931 w 1119"/>
                  <a:gd name="T83" fmla="*/ 164 h 222"/>
                  <a:gd name="T84" fmla="*/ 976 w 1119"/>
                  <a:gd name="T85" fmla="*/ 139 h 222"/>
                  <a:gd name="T86" fmla="*/ 1020 w 1119"/>
                  <a:gd name="T87" fmla="*/ 113 h 222"/>
                  <a:gd name="T88" fmla="*/ 1058 w 1119"/>
                  <a:gd name="T89" fmla="*/ 89 h 222"/>
                  <a:gd name="T90" fmla="*/ 1089 w 1119"/>
                  <a:gd name="T91" fmla="*/ 68 h 222"/>
                  <a:gd name="T92" fmla="*/ 1109 w 1119"/>
                  <a:gd name="T93" fmla="*/ 54 h 222"/>
                  <a:gd name="T94" fmla="*/ 1109 w 1119"/>
                  <a:gd name="T95" fmla="*/ 54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19" h="222">
                    <a:moveTo>
                      <a:pt x="1109" y="54"/>
                    </a:moveTo>
                    <a:lnTo>
                      <a:pt x="1109" y="54"/>
                    </a:lnTo>
                    <a:lnTo>
                      <a:pt x="1112" y="49"/>
                    </a:lnTo>
                    <a:lnTo>
                      <a:pt x="1115" y="39"/>
                    </a:lnTo>
                    <a:lnTo>
                      <a:pt x="1116" y="24"/>
                    </a:lnTo>
                    <a:lnTo>
                      <a:pt x="1119" y="5"/>
                    </a:lnTo>
                    <a:lnTo>
                      <a:pt x="1119" y="5"/>
                    </a:lnTo>
                    <a:lnTo>
                      <a:pt x="1013" y="11"/>
                    </a:lnTo>
                    <a:lnTo>
                      <a:pt x="881" y="15"/>
                    </a:lnTo>
                    <a:lnTo>
                      <a:pt x="809" y="18"/>
                    </a:lnTo>
                    <a:lnTo>
                      <a:pt x="735" y="18"/>
                    </a:lnTo>
                    <a:lnTo>
                      <a:pt x="658" y="18"/>
                    </a:lnTo>
                    <a:lnTo>
                      <a:pt x="582" y="17"/>
                    </a:lnTo>
                    <a:lnTo>
                      <a:pt x="582" y="1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" y="12"/>
                    </a:lnTo>
                    <a:lnTo>
                      <a:pt x="25" y="27"/>
                    </a:lnTo>
                    <a:lnTo>
                      <a:pt x="62" y="57"/>
                    </a:lnTo>
                    <a:lnTo>
                      <a:pt x="105" y="90"/>
                    </a:lnTo>
                    <a:lnTo>
                      <a:pt x="154" y="124"/>
                    </a:lnTo>
                    <a:lnTo>
                      <a:pt x="201" y="155"/>
                    </a:lnTo>
                    <a:lnTo>
                      <a:pt x="245" y="182"/>
                    </a:lnTo>
                    <a:lnTo>
                      <a:pt x="282" y="201"/>
                    </a:lnTo>
                    <a:lnTo>
                      <a:pt x="297" y="209"/>
                    </a:lnTo>
                    <a:lnTo>
                      <a:pt x="309" y="212"/>
                    </a:lnTo>
                    <a:lnTo>
                      <a:pt x="309" y="212"/>
                    </a:lnTo>
                    <a:lnTo>
                      <a:pt x="323" y="214"/>
                    </a:lnTo>
                    <a:lnTo>
                      <a:pt x="344" y="216"/>
                    </a:lnTo>
                    <a:lnTo>
                      <a:pt x="405" y="219"/>
                    </a:lnTo>
                    <a:lnTo>
                      <a:pt x="483" y="220"/>
                    </a:lnTo>
                    <a:lnTo>
                      <a:pt x="567" y="222"/>
                    </a:lnTo>
                    <a:lnTo>
                      <a:pt x="653" y="220"/>
                    </a:lnTo>
                    <a:lnTo>
                      <a:pt x="729" y="219"/>
                    </a:lnTo>
                    <a:lnTo>
                      <a:pt x="791" y="216"/>
                    </a:lnTo>
                    <a:lnTo>
                      <a:pt x="812" y="214"/>
                    </a:lnTo>
                    <a:lnTo>
                      <a:pt x="827" y="212"/>
                    </a:lnTo>
                    <a:lnTo>
                      <a:pt x="827" y="212"/>
                    </a:lnTo>
                    <a:lnTo>
                      <a:pt x="840" y="209"/>
                    </a:lnTo>
                    <a:lnTo>
                      <a:pt x="855" y="203"/>
                    </a:lnTo>
                    <a:lnTo>
                      <a:pt x="890" y="186"/>
                    </a:lnTo>
                    <a:lnTo>
                      <a:pt x="931" y="164"/>
                    </a:lnTo>
                    <a:lnTo>
                      <a:pt x="976" y="139"/>
                    </a:lnTo>
                    <a:lnTo>
                      <a:pt x="1020" y="113"/>
                    </a:lnTo>
                    <a:lnTo>
                      <a:pt x="1058" y="89"/>
                    </a:lnTo>
                    <a:lnTo>
                      <a:pt x="1089" y="68"/>
                    </a:lnTo>
                    <a:lnTo>
                      <a:pt x="1109" y="54"/>
                    </a:lnTo>
                    <a:lnTo>
                      <a:pt x="1109" y="54"/>
                    </a:lnTo>
                    <a:close/>
                  </a:path>
                </a:pathLst>
              </a:custGeom>
              <a:gradFill>
                <a:gsLst>
                  <a:gs pos="56000">
                    <a:srgbClr val="544030">
                      <a:lumMod val="99000"/>
                    </a:srgbClr>
                  </a:gs>
                  <a:gs pos="100000">
                    <a:schemeClr val="bg1">
                      <a:lumMod val="75000"/>
                    </a:schemeClr>
                  </a:gs>
                  <a:gs pos="15000">
                    <a:schemeClr val="bg1">
                      <a:lumMod val="50000"/>
                    </a:schemeClr>
                  </a:gs>
                </a:gsLst>
                <a:lin ang="9000000" scaled="0"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Freeform 13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976916" y="5402619"/>
                <a:ext cx="470438" cy="111195"/>
              </a:xfrm>
              <a:custGeom>
                <a:avLst/>
                <a:gdLst>
                  <a:gd name="T0" fmla="*/ 73 w 1210"/>
                  <a:gd name="T1" fmla="*/ 0 h 285"/>
                  <a:gd name="T2" fmla="*/ 110 w 1210"/>
                  <a:gd name="T3" fmla="*/ 16 h 285"/>
                  <a:gd name="T4" fmla="*/ 215 w 1210"/>
                  <a:gd name="T5" fmla="*/ 55 h 285"/>
                  <a:gd name="T6" fmla="*/ 293 w 1210"/>
                  <a:gd name="T7" fmla="*/ 78 h 285"/>
                  <a:gd name="T8" fmla="*/ 388 w 1210"/>
                  <a:gd name="T9" fmla="*/ 101 h 285"/>
                  <a:gd name="T10" fmla="*/ 499 w 1210"/>
                  <a:gd name="T11" fmla="*/ 121 h 285"/>
                  <a:gd name="T12" fmla="*/ 624 w 1210"/>
                  <a:gd name="T13" fmla="*/ 139 h 285"/>
                  <a:gd name="T14" fmla="*/ 749 w 1210"/>
                  <a:gd name="T15" fmla="*/ 151 h 285"/>
                  <a:gd name="T16" fmla="*/ 944 w 1210"/>
                  <a:gd name="T17" fmla="*/ 164 h 285"/>
                  <a:gd name="T18" fmla="*/ 1073 w 1210"/>
                  <a:gd name="T19" fmla="*/ 167 h 285"/>
                  <a:gd name="T20" fmla="*/ 1142 w 1210"/>
                  <a:gd name="T21" fmla="*/ 166 h 285"/>
                  <a:gd name="T22" fmla="*/ 1154 w 1210"/>
                  <a:gd name="T23" fmla="*/ 174 h 285"/>
                  <a:gd name="T24" fmla="*/ 1179 w 1210"/>
                  <a:gd name="T25" fmla="*/ 198 h 285"/>
                  <a:gd name="T26" fmla="*/ 1202 w 1210"/>
                  <a:gd name="T27" fmla="*/ 228 h 285"/>
                  <a:gd name="T28" fmla="*/ 1208 w 1210"/>
                  <a:gd name="T29" fmla="*/ 242 h 285"/>
                  <a:gd name="T30" fmla="*/ 1208 w 1210"/>
                  <a:gd name="T31" fmla="*/ 257 h 285"/>
                  <a:gd name="T32" fmla="*/ 1204 w 1210"/>
                  <a:gd name="T33" fmla="*/ 260 h 285"/>
                  <a:gd name="T34" fmla="*/ 1179 w 1210"/>
                  <a:gd name="T35" fmla="*/ 267 h 285"/>
                  <a:gd name="T36" fmla="*/ 1133 w 1210"/>
                  <a:gd name="T37" fmla="*/ 275 h 285"/>
                  <a:gd name="T38" fmla="*/ 1068 w 1210"/>
                  <a:gd name="T39" fmla="*/ 281 h 285"/>
                  <a:gd name="T40" fmla="*/ 987 w 1210"/>
                  <a:gd name="T41" fmla="*/ 285 h 285"/>
                  <a:gd name="T42" fmla="*/ 888 w 1210"/>
                  <a:gd name="T43" fmla="*/ 284 h 285"/>
                  <a:gd name="T44" fmla="*/ 777 w 1210"/>
                  <a:gd name="T45" fmla="*/ 279 h 285"/>
                  <a:gd name="T46" fmla="*/ 653 w 1210"/>
                  <a:gd name="T47" fmla="*/ 267 h 285"/>
                  <a:gd name="T48" fmla="*/ 589 w 1210"/>
                  <a:gd name="T49" fmla="*/ 258 h 285"/>
                  <a:gd name="T50" fmla="*/ 460 w 1210"/>
                  <a:gd name="T51" fmla="*/ 238 h 285"/>
                  <a:gd name="T52" fmla="*/ 346 w 1210"/>
                  <a:gd name="T53" fmla="*/ 216 h 285"/>
                  <a:gd name="T54" fmla="*/ 248 w 1210"/>
                  <a:gd name="T55" fmla="*/ 192 h 285"/>
                  <a:gd name="T56" fmla="*/ 163 w 1210"/>
                  <a:gd name="T57" fmla="*/ 167 h 285"/>
                  <a:gd name="T58" fmla="*/ 96 w 1210"/>
                  <a:gd name="T59" fmla="*/ 145 h 285"/>
                  <a:gd name="T60" fmla="*/ 45 w 1210"/>
                  <a:gd name="T61" fmla="*/ 123 h 285"/>
                  <a:gd name="T62" fmla="*/ 13 w 1210"/>
                  <a:gd name="T63" fmla="*/ 104 h 285"/>
                  <a:gd name="T64" fmla="*/ 1 w 1210"/>
                  <a:gd name="T65" fmla="*/ 92 h 285"/>
                  <a:gd name="T66" fmla="*/ 0 w 1210"/>
                  <a:gd name="T67" fmla="*/ 87 h 285"/>
                  <a:gd name="T68" fmla="*/ 1 w 1210"/>
                  <a:gd name="T69" fmla="*/ 73 h 285"/>
                  <a:gd name="T70" fmla="*/ 9 w 1210"/>
                  <a:gd name="T71" fmla="*/ 58 h 285"/>
                  <a:gd name="T72" fmla="*/ 34 w 1210"/>
                  <a:gd name="T73" fmla="*/ 30 h 285"/>
                  <a:gd name="T74" fmla="*/ 62 w 1210"/>
                  <a:gd name="T75" fmla="*/ 9 h 285"/>
                  <a:gd name="T76" fmla="*/ 73 w 1210"/>
                  <a:gd name="T77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10" h="285">
                    <a:moveTo>
                      <a:pt x="73" y="0"/>
                    </a:moveTo>
                    <a:lnTo>
                      <a:pt x="73" y="0"/>
                    </a:lnTo>
                    <a:lnTo>
                      <a:pt x="82" y="5"/>
                    </a:lnTo>
                    <a:lnTo>
                      <a:pt x="110" y="16"/>
                    </a:lnTo>
                    <a:lnTo>
                      <a:pt x="155" y="34"/>
                    </a:lnTo>
                    <a:lnTo>
                      <a:pt x="215" y="55"/>
                    </a:lnTo>
                    <a:lnTo>
                      <a:pt x="252" y="67"/>
                    </a:lnTo>
                    <a:lnTo>
                      <a:pt x="293" y="78"/>
                    </a:lnTo>
                    <a:lnTo>
                      <a:pt x="339" y="90"/>
                    </a:lnTo>
                    <a:lnTo>
                      <a:pt x="388" y="101"/>
                    </a:lnTo>
                    <a:lnTo>
                      <a:pt x="441" y="112"/>
                    </a:lnTo>
                    <a:lnTo>
                      <a:pt x="499" y="121"/>
                    </a:lnTo>
                    <a:lnTo>
                      <a:pt x="559" y="132"/>
                    </a:lnTo>
                    <a:lnTo>
                      <a:pt x="624" y="139"/>
                    </a:lnTo>
                    <a:lnTo>
                      <a:pt x="624" y="139"/>
                    </a:lnTo>
                    <a:lnTo>
                      <a:pt x="749" y="151"/>
                    </a:lnTo>
                    <a:lnTo>
                      <a:pt x="856" y="160"/>
                    </a:lnTo>
                    <a:lnTo>
                      <a:pt x="944" y="164"/>
                    </a:lnTo>
                    <a:lnTo>
                      <a:pt x="1017" y="167"/>
                    </a:lnTo>
                    <a:lnTo>
                      <a:pt x="1073" y="167"/>
                    </a:lnTo>
                    <a:lnTo>
                      <a:pt x="1111" y="167"/>
                    </a:lnTo>
                    <a:lnTo>
                      <a:pt x="1142" y="166"/>
                    </a:lnTo>
                    <a:lnTo>
                      <a:pt x="1142" y="166"/>
                    </a:lnTo>
                    <a:lnTo>
                      <a:pt x="1154" y="174"/>
                    </a:lnTo>
                    <a:lnTo>
                      <a:pt x="1166" y="185"/>
                    </a:lnTo>
                    <a:lnTo>
                      <a:pt x="1179" y="198"/>
                    </a:lnTo>
                    <a:lnTo>
                      <a:pt x="1192" y="213"/>
                    </a:lnTo>
                    <a:lnTo>
                      <a:pt x="1202" y="228"/>
                    </a:lnTo>
                    <a:lnTo>
                      <a:pt x="1207" y="235"/>
                    </a:lnTo>
                    <a:lnTo>
                      <a:pt x="1208" y="242"/>
                    </a:lnTo>
                    <a:lnTo>
                      <a:pt x="1210" y="250"/>
                    </a:lnTo>
                    <a:lnTo>
                      <a:pt x="1208" y="257"/>
                    </a:lnTo>
                    <a:lnTo>
                      <a:pt x="1208" y="257"/>
                    </a:lnTo>
                    <a:lnTo>
                      <a:pt x="1204" y="260"/>
                    </a:lnTo>
                    <a:lnTo>
                      <a:pt x="1194" y="263"/>
                    </a:lnTo>
                    <a:lnTo>
                      <a:pt x="1179" y="267"/>
                    </a:lnTo>
                    <a:lnTo>
                      <a:pt x="1158" y="272"/>
                    </a:lnTo>
                    <a:lnTo>
                      <a:pt x="1133" y="275"/>
                    </a:lnTo>
                    <a:lnTo>
                      <a:pt x="1104" y="278"/>
                    </a:lnTo>
                    <a:lnTo>
                      <a:pt x="1068" y="281"/>
                    </a:lnTo>
                    <a:lnTo>
                      <a:pt x="1030" y="284"/>
                    </a:lnTo>
                    <a:lnTo>
                      <a:pt x="987" y="285"/>
                    </a:lnTo>
                    <a:lnTo>
                      <a:pt x="940" y="285"/>
                    </a:lnTo>
                    <a:lnTo>
                      <a:pt x="888" y="284"/>
                    </a:lnTo>
                    <a:lnTo>
                      <a:pt x="835" y="282"/>
                    </a:lnTo>
                    <a:lnTo>
                      <a:pt x="777" y="279"/>
                    </a:lnTo>
                    <a:lnTo>
                      <a:pt x="717" y="273"/>
                    </a:lnTo>
                    <a:lnTo>
                      <a:pt x="653" y="267"/>
                    </a:lnTo>
                    <a:lnTo>
                      <a:pt x="589" y="258"/>
                    </a:lnTo>
                    <a:lnTo>
                      <a:pt x="589" y="258"/>
                    </a:lnTo>
                    <a:lnTo>
                      <a:pt x="522" y="248"/>
                    </a:lnTo>
                    <a:lnTo>
                      <a:pt x="460" y="238"/>
                    </a:lnTo>
                    <a:lnTo>
                      <a:pt x="403" y="226"/>
                    </a:lnTo>
                    <a:lnTo>
                      <a:pt x="346" y="216"/>
                    </a:lnTo>
                    <a:lnTo>
                      <a:pt x="295" y="204"/>
                    </a:lnTo>
                    <a:lnTo>
                      <a:pt x="248" y="192"/>
                    </a:lnTo>
                    <a:lnTo>
                      <a:pt x="203" y="179"/>
                    </a:lnTo>
                    <a:lnTo>
                      <a:pt x="163" y="167"/>
                    </a:lnTo>
                    <a:lnTo>
                      <a:pt x="127" y="155"/>
                    </a:lnTo>
                    <a:lnTo>
                      <a:pt x="96" y="145"/>
                    </a:lnTo>
                    <a:lnTo>
                      <a:pt x="68" y="133"/>
                    </a:lnTo>
                    <a:lnTo>
                      <a:pt x="45" y="123"/>
                    </a:lnTo>
                    <a:lnTo>
                      <a:pt x="26" y="112"/>
                    </a:lnTo>
                    <a:lnTo>
                      <a:pt x="13" y="104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0" y="80"/>
                    </a:lnTo>
                    <a:lnTo>
                      <a:pt x="1" y="73"/>
                    </a:lnTo>
                    <a:lnTo>
                      <a:pt x="4" y="65"/>
                    </a:lnTo>
                    <a:lnTo>
                      <a:pt x="9" y="58"/>
                    </a:lnTo>
                    <a:lnTo>
                      <a:pt x="20" y="44"/>
                    </a:lnTo>
                    <a:lnTo>
                      <a:pt x="34" y="30"/>
                    </a:lnTo>
                    <a:lnTo>
                      <a:pt x="48" y="18"/>
                    </a:lnTo>
                    <a:lnTo>
                      <a:pt x="62" y="9"/>
                    </a:lnTo>
                    <a:lnTo>
                      <a:pt x="73" y="0"/>
                    </a:lnTo>
                    <a:lnTo>
                      <a:pt x="73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7" name="Freeform 5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28251" y="3672497"/>
                <a:ext cx="1174928" cy="1552057"/>
              </a:xfrm>
              <a:custGeom>
                <a:avLst/>
                <a:gdLst>
                  <a:gd name="T0" fmla="*/ 2131 w 3021"/>
                  <a:gd name="T1" fmla="*/ 3920 h 3993"/>
                  <a:gd name="T2" fmla="*/ 2199 w 3021"/>
                  <a:gd name="T3" fmla="*/ 3864 h 3993"/>
                  <a:gd name="T4" fmla="*/ 2258 w 3021"/>
                  <a:gd name="T5" fmla="*/ 3782 h 3993"/>
                  <a:gd name="T6" fmla="*/ 2298 w 3021"/>
                  <a:gd name="T7" fmla="*/ 3665 h 3993"/>
                  <a:gd name="T8" fmla="*/ 2318 w 3021"/>
                  <a:gd name="T9" fmla="*/ 3491 h 3993"/>
                  <a:gd name="T10" fmla="*/ 2354 w 3021"/>
                  <a:gd name="T11" fmla="*/ 3252 h 3993"/>
                  <a:gd name="T12" fmla="*/ 2413 w 3021"/>
                  <a:gd name="T13" fmla="*/ 3039 h 3993"/>
                  <a:gd name="T14" fmla="*/ 2475 w 3021"/>
                  <a:gd name="T15" fmla="*/ 2883 h 3993"/>
                  <a:gd name="T16" fmla="*/ 2561 w 3021"/>
                  <a:gd name="T17" fmla="*/ 2719 h 3993"/>
                  <a:gd name="T18" fmla="*/ 2674 w 3021"/>
                  <a:gd name="T19" fmla="*/ 2540 h 3993"/>
                  <a:gd name="T20" fmla="*/ 2829 w 3021"/>
                  <a:gd name="T21" fmla="*/ 2270 h 3993"/>
                  <a:gd name="T22" fmla="*/ 2910 w 3021"/>
                  <a:gd name="T23" fmla="*/ 2096 h 3993"/>
                  <a:gd name="T24" fmla="*/ 2969 w 3021"/>
                  <a:gd name="T25" fmla="*/ 1922 h 3993"/>
                  <a:gd name="T26" fmla="*/ 3008 w 3021"/>
                  <a:gd name="T27" fmla="*/ 1743 h 3993"/>
                  <a:gd name="T28" fmla="*/ 3021 w 3021"/>
                  <a:gd name="T29" fmla="*/ 1560 h 3993"/>
                  <a:gd name="T30" fmla="*/ 3008 w 3021"/>
                  <a:gd name="T31" fmla="*/ 1365 h 3993"/>
                  <a:gd name="T32" fmla="*/ 2968 w 3021"/>
                  <a:gd name="T33" fmla="*/ 1159 h 3993"/>
                  <a:gd name="T34" fmla="*/ 2919 w 3021"/>
                  <a:gd name="T35" fmla="*/ 996 h 3993"/>
                  <a:gd name="T36" fmla="*/ 2839 w 3021"/>
                  <a:gd name="T37" fmla="*/ 805 h 3993"/>
                  <a:gd name="T38" fmla="*/ 2745 w 3021"/>
                  <a:gd name="T39" fmla="*/ 639 h 3993"/>
                  <a:gd name="T40" fmla="*/ 2640 w 3021"/>
                  <a:gd name="T41" fmla="*/ 498 h 3993"/>
                  <a:gd name="T42" fmla="*/ 2525 w 3021"/>
                  <a:gd name="T43" fmla="*/ 380 h 3993"/>
                  <a:gd name="T44" fmla="*/ 2406 w 3021"/>
                  <a:gd name="T45" fmla="*/ 281 h 3993"/>
                  <a:gd name="T46" fmla="*/ 2283 w 3021"/>
                  <a:gd name="T47" fmla="*/ 201 h 3993"/>
                  <a:gd name="T48" fmla="*/ 2071 w 3021"/>
                  <a:gd name="T49" fmla="*/ 101 h 3993"/>
                  <a:gd name="T50" fmla="*/ 1848 w 3021"/>
                  <a:gd name="T51" fmla="*/ 34 h 3993"/>
                  <a:gd name="T52" fmla="*/ 1669 w 3021"/>
                  <a:gd name="T53" fmla="*/ 6 h 3993"/>
                  <a:gd name="T54" fmla="*/ 1526 w 3021"/>
                  <a:gd name="T55" fmla="*/ 0 h 3993"/>
                  <a:gd name="T56" fmla="*/ 1417 w 3021"/>
                  <a:gd name="T57" fmla="*/ 3 h 3993"/>
                  <a:gd name="T58" fmla="*/ 1247 w 3021"/>
                  <a:gd name="T59" fmla="*/ 25 h 3993"/>
                  <a:gd name="T60" fmla="*/ 1027 w 3021"/>
                  <a:gd name="T61" fmla="*/ 80 h 3993"/>
                  <a:gd name="T62" fmla="*/ 781 w 3021"/>
                  <a:gd name="T63" fmla="*/ 183 h 3993"/>
                  <a:gd name="T64" fmla="*/ 655 w 3021"/>
                  <a:gd name="T65" fmla="*/ 259 h 3993"/>
                  <a:gd name="T66" fmla="*/ 531 w 3021"/>
                  <a:gd name="T67" fmla="*/ 353 h 3993"/>
                  <a:gd name="T68" fmla="*/ 413 w 3021"/>
                  <a:gd name="T69" fmla="*/ 467 h 3993"/>
                  <a:gd name="T70" fmla="*/ 304 w 3021"/>
                  <a:gd name="T71" fmla="*/ 601 h 3993"/>
                  <a:gd name="T72" fmla="*/ 205 w 3021"/>
                  <a:gd name="T73" fmla="*/ 760 h 3993"/>
                  <a:gd name="T74" fmla="*/ 119 w 3021"/>
                  <a:gd name="T75" fmla="*/ 946 h 3993"/>
                  <a:gd name="T76" fmla="*/ 52 w 3021"/>
                  <a:gd name="T77" fmla="*/ 1159 h 3993"/>
                  <a:gd name="T78" fmla="*/ 19 w 3021"/>
                  <a:gd name="T79" fmla="*/ 1315 h 3993"/>
                  <a:gd name="T80" fmla="*/ 0 w 3021"/>
                  <a:gd name="T81" fmla="*/ 1512 h 3993"/>
                  <a:gd name="T82" fmla="*/ 7 w 3021"/>
                  <a:gd name="T83" fmla="*/ 1699 h 3993"/>
                  <a:gd name="T84" fmla="*/ 38 w 3021"/>
                  <a:gd name="T85" fmla="*/ 1878 h 3993"/>
                  <a:gd name="T86" fmla="*/ 93 w 3021"/>
                  <a:gd name="T87" fmla="*/ 2053 h 3993"/>
                  <a:gd name="T88" fmla="*/ 168 w 3021"/>
                  <a:gd name="T89" fmla="*/ 2227 h 3993"/>
                  <a:gd name="T90" fmla="*/ 291 w 3021"/>
                  <a:gd name="T91" fmla="*/ 2449 h 3993"/>
                  <a:gd name="T92" fmla="*/ 434 w 3021"/>
                  <a:gd name="T93" fmla="*/ 2676 h 3993"/>
                  <a:gd name="T94" fmla="*/ 527 w 3021"/>
                  <a:gd name="T95" fmla="*/ 2843 h 3993"/>
                  <a:gd name="T96" fmla="*/ 593 w 3021"/>
                  <a:gd name="T97" fmla="*/ 3001 h 3993"/>
                  <a:gd name="T98" fmla="*/ 649 w 3021"/>
                  <a:gd name="T99" fmla="*/ 3184 h 3993"/>
                  <a:gd name="T100" fmla="*/ 695 w 3021"/>
                  <a:gd name="T101" fmla="*/ 3436 h 3993"/>
                  <a:gd name="T102" fmla="*/ 723 w 3021"/>
                  <a:gd name="T103" fmla="*/ 3665 h 3993"/>
                  <a:gd name="T104" fmla="*/ 750 w 3021"/>
                  <a:gd name="T105" fmla="*/ 3756 h 3993"/>
                  <a:gd name="T106" fmla="*/ 804 w 3021"/>
                  <a:gd name="T107" fmla="*/ 3846 h 3993"/>
                  <a:gd name="T108" fmla="*/ 872 w 3021"/>
                  <a:gd name="T109" fmla="*/ 3908 h 3993"/>
                  <a:gd name="T110" fmla="*/ 956 w 3021"/>
                  <a:gd name="T111" fmla="*/ 3959 h 3993"/>
                  <a:gd name="T112" fmla="*/ 1024 w 3021"/>
                  <a:gd name="T113" fmla="*/ 3973 h 3993"/>
                  <a:gd name="T114" fmla="*/ 1321 w 3021"/>
                  <a:gd name="T115" fmla="*/ 3990 h 3993"/>
                  <a:gd name="T116" fmla="*/ 1699 w 3021"/>
                  <a:gd name="T117" fmla="*/ 3990 h 3993"/>
                  <a:gd name="T118" fmla="*/ 1997 w 3021"/>
                  <a:gd name="T119" fmla="*/ 3973 h 3993"/>
                  <a:gd name="T120" fmla="*/ 2065 w 3021"/>
                  <a:gd name="T121" fmla="*/ 3959 h 3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21" h="3993">
                    <a:moveTo>
                      <a:pt x="2065" y="3959"/>
                    </a:moveTo>
                    <a:lnTo>
                      <a:pt x="2065" y="3959"/>
                    </a:lnTo>
                    <a:lnTo>
                      <a:pt x="2097" y="3941"/>
                    </a:lnTo>
                    <a:lnTo>
                      <a:pt x="2131" y="3920"/>
                    </a:lnTo>
                    <a:lnTo>
                      <a:pt x="2149" y="3908"/>
                    </a:lnTo>
                    <a:lnTo>
                      <a:pt x="2166" y="3895"/>
                    </a:lnTo>
                    <a:lnTo>
                      <a:pt x="2183" y="3880"/>
                    </a:lnTo>
                    <a:lnTo>
                      <a:pt x="2199" y="3864"/>
                    </a:lnTo>
                    <a:lnTo>
                      <a:pt x="2215" y="3846"/>
                    </a:lnTo>
                    <a:lnTo>
                      <a:pt x="2231" y="3827"/>
                    </a:lnTo>
                    <a:lnTo>
                      <a:pt x="2245" y="3805"/>
                    </a:lnTo>
                    <a:lnTo>
                      <a:pt x="2258" y="3782"/>
                    </a:lnTo>
                    <a:lnTo>
                      <a:pt x="2270" y="3756"/>
                    </a:lnTo>
                    <a:lnTo>
                      <a:pt x="2282" y="3728"/>
                    </a:lnTo>
                    <a:lnTo>
                      <a:pt x="2290" y="3697"/>
                    </a:lnTo>
                    <a:lnTo>
                      <a:pt x="2298" y="3665"/>
                    </a:lnTo>
                    <a:lnTo>
                      <a:pt x="2298" y="3665"/>
                    </a:lnTo>
                    <a:lnTo>
                      <a:pt x="2302" y="3628"/>
                    </a:lnTo>
                    <a:lnTo>
                      <a:pt x="2308" y="3587"/>
                    </a:lnTo>
                    <a:lnTo>
                      <a:pt x="2318" y="3491"/>
                    </a:lnTo>
                    <a:lnTo>
                      <a:pt x="2324" y="3436"/>
                    </a:lnTo>
                    <a:lnTo>
                      <a:pt x="2332" y="3379"/>
                    </a:lnTo>
                    <a:lnTo>
                      <a:pt x="2342" y="3317"/>
                    </a:lnTo>
                    <a:lnTo>
                      <a:pt x="2354" y="3252"/>
                    </a:lnTo>
                    <a:lnTo>
                      <a:pt x="2370" y="3184"/>
                    </a:lnTo>
                    <a:lnTo>
                      <a:pt x="2389" y="3113"/>
                    </a:lnTo>
                    <a:lnTo>
                      <a:pt x="2401" y="3076"/>
                    </a:lnTo>
                    <a:lnTo>
                      <a:pt x="2413" y="3039"/>
                    </a:lnTo>
                    <a:lnTo>
                      <a:pt x="2426" y="3001"/>
                    </a:lnTo>
                    <a:lnTo>
                      <a:pt x="2441" y="2962"/>
                    </a:lnTo>
                    <a:lnTo>
                      <a:pt x="2457" y="2923"/>
                    </a:lnTo>
                    <a:lnTo>
                      <a:pt x="2475" y="2883"/>
                    </a:lnTo>
                    <a:lnTo>
                      <a:pt x="2494" y="2843"/>
                    </a:lnTo>
                    <a:lnTo>
                      <a:pt x="2515" y="2802"/>
                    </a:lnTo>
                    <a:lnTo>
                      <a:pt x="2537" y="2760"/>
                    </a:lnTo>
                    <a:lnTo>
                      <a:pt x="2561" y="2719"/>
                    </a:lnTo>
                    <a:lnTo>
                      <a:pt x="2586" y="2676"/>
                    </a:lnTo>
                    <a:lnTo>
                      <a:pt x="2614" y="2633"/>
                    </a:lnTo>
                    <a:lnTo>
                      <a:pt x="2614" y="2633"/>
                    </a:lnTo>
                    <a:lnTo>
                      <a:pt x="2674" y="2540"/>
                    </a:lnTo>
                    <a:lnTo>
                      <a:pt x="2730" y="2449"/>
                    </a:lnTo>
                    <a:lnTo>
                      <a:pt x="2782" y="2359"/>
                    </a:lnTo>
                    <a:lnTo>
                      <a:pt x="2806" y="2314"/>
                    </a:lnTo>
                    <a:lnTo>
                      <a:pt x="2829" y="2270"/>
                    </a:lnTo>
                    <a:lnTo>
                      <a:pt x="2851" y="2227"/>
                    </a:lnTo>
                    <a:lnTo>
                      <a:pt x="2872" y="2183"/>
                    </a:lnTo>
                    <a:lnTo>
                      <a:pt x="2891" y="2140"/>
                    </a:lnTo>
                    <a:lnTo>
                      <a:pt x="2910" y="2096"/>
                    </a:lnTo>
                    <a:lnTo>
                      <a:pt x="2927" y="2053"/>
                    </a:lnTo>
                    <a:lnTo>
                      <a:pt x="2943" y="2009"/>
                    </a:lnTo>
                    <a:lnTo>
                      <a:pt x="2958" y="1965"/>
                    </a:lnTo>
                    <a:lnTo>
                      <a:pt x="2969" y="1922"/>
                    </a:lnTo>
                    <a:lnTo>
                      <a:pt x="2981" y="1878"/>
                    </a:lnTo>
                    <a:lnTo>
                      <a:pt x="2991" y="1833"/>
                    </a:lnTo>
                    <a:lnTo>
                      <a:pt x="3000" y="1789"/>
                    </a:lnTo>
                    <a:lnTo>
                      <a:pt x="3008" y="1743"/>
                    </a:lnTo>
                    <a:lnTo>
                      <a:pt x="3014" y="1699"/>
                    </a:lnTo>
                    <a:lnTo>
                      <a:pt x="3017" y="1653"/>
                    </a:lnTo>
                    <a:lnTo>
                      <a:pt x="3020" y="1606"/>
                    </a:lnTo>
                    <a:lnTo>
                      <a:pt x="3021" y="1560"/>
                    </a:lnTo>
                    <a:lnTo>
                      <a:pt x="3020" y="1512"/>
                    </a:lnTo>
                    <a:lnTo>
                      <a:pt x="3018" y="1464"/>
                    </a:lnTo>
                    <a:lnTo>
                      <a:pt x="3014" y="1416"/>
                    </a:lnTo>
                    <a:lnTo>
                      <a:pt x="3008" y="1365"/>
                    </a:lnTo>
                    <a:lnTo>
                      <a:pt x="3000" y="1315"/>
                    </a:lnTo>
                    <a:lnTo>
                      <a:pt x="2991" y="1265"/>
                    </a:lnTo>
                    <a:lnTo>
                      <a:pt x="2981" y="1212"/>
                    </a:lnTo>
                    <a:lnTo>
                      <a:pt x="2968" y="1159"/>
                    </a:lnTo>
                    <a:lnTo>
                      <a:pt x="2968" y="1159"/>
                    </a:lnTo>
                    <a:lnTo>
                      <a:pt x="2953" y="1103"/>
                    </a:lnTo>
                    <a:lnTo>
                      <a:pt x="2937" y="1050"/>
                    </a:lnTo>
                    <a:lnTo>
                      <a:pt x="2919" y="996"/>
                    </a:lnTo>
                    <a:lnTo>
                      <a:pt x="2900" y="946"/>
                    </a:lnTo>
                    <a:lnTo>
                      <a:pt x="2881" y="898"/>
                    </a:lnTo>
                    <a:lnTo>
                      <a:pt x="2860" y="850"/>
                    </a:lnTo>
                    <a:lnTo>
                      <a:pt x="2839" y="805"/>
                    </a:lnTo>
                    <a:lnTo>
                      <a:pt x="2817" y="760"/>
                    </a:lnTo>
                    <a:lnTo>
                      <a:pt x="2794" y="719"/>
                    </a:lnTo>
                    <a:lnTo>
                      <a:pt x="2770" y="678"/>
                    </a:lnTo>
                    <a:lnTo>
                      <a:pt x="2745" y="639"/>
                    </a:lnTo>
                    <a:lnTo>
                      <a:pt x="2720" y="601"/>
                    </a:lnTo>
                    <a:lnTo>
                      <a:pt x="2693" y="566"/>
                    </a:lnTo>
                    <a:lnTo>
                      <a:pt x="2667" y="532"/>
                    </a:lnTo>
                    <a:lnTo>
                      <a:pt x="2640" y="498"/>
                    </a:lnTo>
                    <a:lnTo>
                      <a:pt x="2612" y="467"/>
                    </a:lnTo>
                    <a:lnTo>
                      <a:pt x="2584" y="436"/>
                    </a:lnTo>
                    <a:lnTo>
                      <a:pt x="2555" y="406"/>
                    </a:lnTo>
                    <a:lnTo>
                      <a:pt x="2525" y="380"/>
                    </a:lnTo>
                    <a:lnTo>
                      <a:pt x="2496" y="353"/>
                    </a:lnTo>
                    <a:lnTo>
                      <a:pt x="2466" y="328"/>
                    </a:lnTo>
                    <a:lnTo>
                      <a:pt x="2437" y="303"/>
                    </a:lnTo>
                    <a:lnTo>
                      <a:pt x="2406" y="281"/>
                    </a:lnTo>
                    <a:lnTo>
                      <a:pt x="2376" y="259"/>
                    </a:lnTo>
                    <a:lnTo>
                      <a:pt x="2345" y="239"/>
                    </a:lnTo>
                    <a:lnTo>
                      <a:pt x="2314" y="219"/>
                    </a:lnTo>
                    <a:lnTo>
                      <a:pt x="2283" y="201"/>
                    </a:lnTo>
                    <a:lnTo>
                      <a:pt x="2252" y="183"/>
                    </a:lnTo>
                    <a:lnTo>
                      <a:pt x="2192" y="152"/>
                    </a:lnTo>
                    <a:lnTo>
                      <a:pt x="2131" y="124"/>
                    </a:lnTo>
                    <a:lnTo>
                      <a:pt x="2071" y="101"/>
                    </a:lnTo>
                    <a:lnTo>
                      <a:pt x="2013" y="80"/>
                    </a:lnTo>
                    <a:lnTo>
                      <a:pt x="1955" y="62"/>
                    </a:lnTo>
                    <a:lnTo>
                      <a:pt x="1901" y="47"/>
                    </a:lnTo>
                    <a:lnTo>
                      <a:pt x="1848" y="34"/>
                    </a:lnTo>
                    <a:lnTo>
                      <a:pt x="1799" y="25"/>
                    </a:lnTo>
                    <a:lnTo>
                      <a:pt x="1752" y="16"/>
                    </a:lnTo>
                    <a:lnTo>
                      <a:pt x="1707" y="11"/>
                    </a:lnTo>
                    <a:lnTo>
                      <a:pt x="1669" y="6"/>
                    </a:lnTo>
                    <a:lnTo>
                      <a:pt x="1634" y="3"/>
                    </a:lnTo>
                    <a:lnTo>
                      <a:pt x="1576" y="0"/>
                    </a:lnTo>
                    <a:lnTo>
                      <a:pt x="1539" y="0"/>
                    </a:lnTo>
                    <a:lnTo>
                      <a:pt x="1526" y="0"/>
                    </a:lnTo>
                    <a:lnTo>
                      <a:pt x="1526" y="0"/>
                    </a:lnTo>
                    <a:lnTo>
                      <a:pt x="1514" y="0"/>
                    </a:lnTo>
                    <a:lnTo>
                      <a:pt x="1476" y="0"/>
                    </a:lnTo>
                    <a:lnTo>
                      <a:pt x="1417" y="3"/>
                    </a:lnTo>
                    <a:lnTo>
                      <a:pt x="1381" y="6"/>
                    </a:lnTo>
                    <a:lnTo>
                      <a:pt x="1340" y="11"/>
                    </a:lnTo>
                    <a:lnTo>
                      <a:pt x="1296" y="16"/>
                    </a:lnTo>
                    <a:lnTo>
                      <a:pt x="1247" y="25"/>
                    </a:lnTo>
                    <a:lnTo>
                      <a:pt x="1195" y="34"/>
                    </a:lnTo>
                    <a:lnTo>
                      <a:pt x="1142" y="47"/>
                    </a:lnTo>
                    <a:lnTo>
                      <a:pt x="1086" y="62"/>
                    </a:lnTo>
                    <a:lnTo>
                      <a:pt x="1027" y="80"/>
                    </a:lnTo>
                    <a:lnTo>
                      <a:pt x="967" y="101"/>
                    </a:lnTo>
                    <a:lnTo>
                      <a:pt x="906" y="124"/>
                    </a:lnTo>
                    <a:lnTo>
                      <a:pt x="844" y="152"/>
                    </a:lnTo>
                    <a:lnTo>
                      <a:pt x="781" y="183"/>
                    </a:lnTo>
                    <a:lnTo>
                      <a:pt x="750" y="201"/>
                    </a:lnTo>
                    <a:lnTo>
                      <a:pt x="717" y="219"/>
                    </a:lnTo>
                    <a:lnTo>
                      <a:pt x="686" y="239"/>
                    </a:lnTo>
                    <a:lnTo>
                      <a:pt x="655" y="259"/>
                    </a:lnTo>
                    <a:lnTo>
                      <a:pt x="624" y="281"/>
                    </a:lnTo>
                    <a:lnTo>
                      <a:pt x="593" y="303"/>
                    </a:lnTo>
                    <a:lnTo>
                      <a:pt x="562" y="328"/>
                    </a:lnTo>
                    <a:lnTo>
                      <a:pt x="531" y="353"/>
                    </a:lnTo>
                    <a:lnTo>
                      <a:pt x="502" y="380"/>
                    </a:lnTo>
                    <a:lnTo>
                      <a:pt x="472" y="406"/>
                    </a:lnTo>
                    <a:lnTo>
                      <a:pt x="443" y="436"/>
                    </a:lnTo>
                    <a:lnTo>
                      <a:pt x="413" y="467"/>
                    </a:lnTo>
                    <a:lnTo>
                      <a:pt x="385" y="498"/>
                    </a:lnTo>
                    <a:lnTo>
                      <a:pt x="357" y="532"/>
                    </a:lnTo>
                    <a:lnTo>
                      <a:pt x="331" y="566"/>
                    </a:lnTo>
                    <a:lnTo>
                      <a:pt x="304" y="601"/>
                    </a:lnTo>
                    <a:lnTo>
                      <a:pt x="277" y="639"/>
                    </a:lnTo>
                    <a:lnTo>
                      <a:pt x="252" y="678"/>
                    </a:lnTo>
                    <a:lnTo>
                      <a:pt x="229" y="719"/>
                    </a:lnTo>
                    <a:lnTo>
                      <a:pt x="205" y="760"/>
                    </a:lnTo>
                    <a:lnTo>
                      <a:pt x="181" y="805"/>
                    </a:lnTo>
                    <a:lnTo>
                      <a:pt x="161" y="850"/>
                    </a:lnTo>
                    <a:lnTo>
                      <a:pt x="140" y="898"/>
                    </a:lnTo>
                    <a:lnTo>
                      <a:pt x="119" y="946"/>
                    </a:lnTo>
                    <a:lnTo>
                      <a:pt x="102" y="996"/>
                    </a:lnTo>
                    <a:lnTo>
                      <a:pt x="84" y="1050"/>
                    </a:lnTo>
                    <a:lnTo>
                      <a:pt x="68" y="1103"/>
                    </a:lnTo>
                    <a:lnTo>
                      <a:pt x="52" y="1159"/>
                    </a:lnTo>
                    <a:lnTo>
                      <a:pt x="52" y="1159"/>
                    </a:lnTo>
                    <a:lnTo>
                      <a:pt x="40" y="1212"/>
                    </a:lnTo>
                    <a:lnTo>
                      <a:pt x="28" y="1265"/>
                    </a:lnTo>
                    <a:lnTo>
                      <a:pt x="19" y="1315"/>
                    </a:lnTo>
                    <a:lnTo>
                      <a:pt x="12" y="1365"/>
                    </a:lnTo>
                    <a:lnTo>
                      <a:pt x="6" y="1416"/>
                    </a:lnTo>
                    <a:lnTo>
                      <a:pt x="3" y="1464"/>
                    </a:lnTo>
                    <a:lnTo>
                      <a:pt x="0" y="1512"/>
                    </a:lnTo>
                    <a:lnTo>
                      <a:pt x="0" y="1560"/>
                    </a:lnTo>
                    <a:lnTo>
                      <a:pt x="0" y="1606"/>
                    </a:lnTo>
                    <a:lnTo>
                      <a:pt x="3" y="1653"/>
                    </a:lnTo>
                    <a:lnTo>
                      <a:pt x="7" y="1699"/>
                    </a:lnTo>
                    <a:lnTo>
                      <a:pt x="13" y="1743"/>
                    </a:lnTo>
                    <a:lnTo>
                      <a:pt x="19" y="1789"/>
                    </a:lnTo>
                    <a:lnTo>
                      <a:pt x="28" y="1833"/>
                    </a:lnTo>
                    <a:lnTo>
                      <a:pt x="38" y="1878"/>
                    </a:lnTo>
                    <a:lnTo>
                      <a:pt x="50" y="1922"/>
                    </a:lnTo>
                    <a:lnTo>
                      <a:pt x="63" y="1965"/>
                    </a:lnTo>
                    <a:lnTo>
                      <a:pt x="77" y="2009"/>
                    </a:lnTo>
                    <a:lnTo>
                      <a:pt x="93" y="2053"/>
                    </a:lnTo>
                    <a:lnTo>
                      <a:pt x="111" y="2096"/>
                    </a:lnTo>
                    <a:lnTo>
                      <a:pt x="128" y="2140"/>
                    </a:lnTo>
                    <a:lnTo>
                      <a:pt x="148" y="2183"/>
                    </a:lnTo>
                    <a:lnTo>
                      <a:pt x="168" y="2227"/>
                    </a:lnTo>
                    <a:lnTo>
                      <a:pt x="190" y="2270"/>
                    </a:lnTo>
                    <a:lnTo>
                      <a:pt x="214" y="2314"/>
                    </a:lnTo>
                    <a:lnTo>
                      <a:pt x="238" y="2359"/>
                    </a:lnTo>
                    <a:lnTo>
                      <a:pt x="291" y="2449"/>
                    </a:lnTo>
                    <a:lnTo>
                      <a:pt x="347" y="2540"/>
                    </a:lnTo>
                    <a:lnTo>
                      <a:pt x="407" y="2633"/>
                    </a:lnTo>
                    <a:lnTo>
                      <a:pt x="407" y="2633"/>
                    </a:lnTo>
                    <a:lnTo>
                      <a:pt x="434" y="2676"/>
                    </a:lnTo>
                    <a:lnTo>
                      <a:pt x="460" y="2719"/>
                    </a:lnTo>
                    <a:lnTo>
                      <a:pt x="484" y="2760"/>
                    </a:lnTo>
                    <a:lnTo>
                      <a:pt x="506" y="2802"/>
                    </a:lnTo>
                    <a:lnTo>
                      <a:pt x="527" y="2843"/>
                    </a:lnTo>
                    <a:lnTo>
                      <a:pt x="545" y="2883"/>
                    </a:lnTo>
                    <a:lnTo>
                      <a:pt x="562" y="2923"/>
                    </a:lnTo>
                    <a:lnTo>
                      <a:pt x="578" y="2962"/>
                    </a:lnTo>
                    <a:lnTo>
                      <a:pt x="593" y="3001"/>
                    </a:lnTo>
                    <a:lnTo>
                      <a:pt x="607" y="3039"/>
                    </a:lnTo>
                    <a:lnTo>
                      <a:pt x="620" y="3076"/>
                    </a:lnTo>
                    <a:lnTo>
                      <a:pt x="630" y="3113"/>
                    </a:lnTo>
                    <a:lnTo>
                      <a:pt x="649" y="3184"/>
                    </a:lnTo>
                    <a:lnTo>
                      <a:pt x="666" y="3252"/>
                    </a:lnTo>
                    <a:lnTo>
                      <a:pt x="677" y="3317"/>
                    </a:lnTo>
                    <a:lnTo>
                      <a:pt x="688" y="3379"/>
                    </a:lnTo>
                    <a:lnTo>
                      <a:pt x="695" y="3436"/>
                    </a:lnTo>
                    <a:lnTo>
                      <a:pt x="702" y="3491"/>
                    </a:lnTo>
                    <a:lnTo>
                      <a:pt x="713" y="3587"/>
                    </a:lnTo>
                    <a:lnTo>
                      <a:pt x="717" y="3628"/>
                    </a:lnTo>
                    <a:lnTo>
                      <a:pt x="723" y="3665"/>
                    </a:lnTo>
                    <a:lnTo>
                      <a:pt x="723" y="3665"/>
                    </a:lnTo>
                    <a:lnTo>
                      <a:pt x="730" y="3697"/>
                    </a:lnTo>
                    <a:lnTo>
                      <a:pt x="739" y="3728"/>
                    </a:lnTo>
                    <a:lnTo>
                      <a:pt x="750" y="3756"/>
                    </a:lnTo>
                    <a:lnTo>
                      <a:pt x="761" y="3782"/>
                    </a:lnTo>
                    <a:lnTo>
                      <a:pt x="775" y="3805"/>
                    </a:lnTo>
                    <a:lnTo>
                      <a:pt x="790" y="3827"/>
                    </a:lnTo>
                    <a:lnTo>
                      <a:pt x="804" y="3846"/>
                    </a:lnTo>
                    <a:lnTo>
                      <a:pt x="821" y="3864"/>
                    </a:lnTo>
                    <a:lnTo>
                      <a:pt x="837" y="3880"/>
                    </a:lnTo>
                    <a:lnTo>
                      <a:pt x="854" y="3895"/>
                    </a:lnTo>
                    <a:lnTo>
                      <a:pt x="872" y="3908"/>
                    </a:lnTo>
                    <a:lnTo>
                      <a:pt x="888" y="3920"/>
                    </a:lnTo>
                    <a:lnTo>
                      <a:pt x="924" y="3941"/>
                    </a:lnTo>
                    <a:lnTo>
                      <a:pt x="956" y="3959"/>
                    </a:lnTo>
                    <a:lnTo>
                      <a:pt x="956" y="3959"/>
                    </a:lnTo>
                    <a:lnTo>
                      <a:pt x="967" y="3963"/>
                    </a:lnTo>
                    <a:lnTo>
                      <a:pt x="981" y="3966"/>
                    </a:lnTo>
                    <a:lnTo>
                      <a:pt x="1001" y="3970"/>
                    </a:lnTo>
                    <a:lnTo>
                      <a:pt x="1024" y="3973"/>
                    </a:lnTo>
                    <a:lnTo>
                      <a:pt x="1082" y="3979"/>
                    </a:lnTo>
                    <a:lnTo>
                      <a:pt x="1153" y="3984"/>
                    </a:lnTo>
                    <a:lnTo>
                      <a:pt x="1232" y="3987"/>
                    </a:lnTo>
                    <a:lnTo>
                      <a:pt x="1321" y="3990"/>
                    </a:lnTo>
                    <a:lnTo>
                      <a:pt x="1414" y="3991"/>
                    </a:lnTo>
                    <a:lnTo>
                      <a:pt x="1510" y="3993"/>
                    </a:lnTo>
                    <a:lnTo>
                      <a:pt x="1606" y="3991"/>
                    </a:lnTo>
                    <a:lnTo>
                      <a:pt x="1699" y="3990"/>
                    </a:lnTo>
                    <a:lnTo>
                      <a:pt x="1787" y="3987"/>
                    </a:lnTo>
                    <a:lnTo>
                      <a:pt x="1868" y="3984"/>
                    </a:lnTo>
                    <a:lnTo>
                      <a:pt x="1938" y="3979"/>
                    </a:lnTo>
                    <a:lnTo>
                      <a:pt x="1997" y="3973"/>
                    </a:lnTo>
                    <a:lnTo>
                      <a:pt x="2020" y="3970"/>
                    </a:lnTo>
                    <a:lnTo>
                      <a:pt x="2040" y="3966"/>
                    </a:lnTo>
                    <a:lnTo>
                      <a:pt x="2054" y="3963"/>
                    </a:lnTo>
                    <a:lnTo>
                      <a:pt x="2065" y="3959"/>
                    </a:lnTo>
                    <a:lnTo>
                      <a:pt x="2065" y="3959"/>
                    </a:lnTo>
                    <a:close/>
                  </a:path>
                </a:pathLst>
              </a:custGeom>
              <a:gradFill flip="none" rotWithShape="1">
                <a:gsLst>
                  <a:gs pos="88000">
                    <a:srgbClr val="2A9B18">
                      <a:lumMod val="80000"/>
                    </a:srgbClr>
                  </a:gs>
                  <a:gs pos="49000">
                    <a:srgbClr val="2A9B18">
                      <a:lumMod val="76000"/>
                      <a:lumOff val="24000"/>
                    </a:srgbClr>
                  </a:gs>
                  <a:gs pos="7000">
                    <a:srgbClr val="92D050">
                      <a:lumMod val="3000"/>
                      <a:lumOff val="97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5875" cap="rnd">
                <a:solidFill>
                  <a:srgbClr val="69A12B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8" name="Freeform 6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50801" y="3713709"/>
                <a:ext cx="1094837" cy="562971"/>
              </a:xfrm>
              <a:custGeom>
                <a:avLst/>
                <a:gdLst>
                  <a:gd name="T0" fmla="*/ 74 w 2817"/>
                  <a:gd name="T1" fmla="*/ 1061 h 1446"/>
                  <a:gd name="T2" fmla="*/ 148 w 2817"/>
                  <a:gd name="T3" fmla="*/ 863 h 1446"/>
                  <a:gd name="T4" fmla="*/ 235 w 2817"/>
                  <a:gd name="T5" fmla="*/ 694 h 1446"/>
                  <a:gd name="T6" fmla="*/ 335 w 2817"/>
                  <a:gd name="T7" fmla="*/ 549 h 1446"/>
                  <a:gd name="T8" fmla="*/ 443 w 2817"/>
                  <a:gd name="T9" fmla="*/ 428 h 1446"/>
                  <a:gd name="T10" fmla="*/ 558 w 2817"/>
                  <a:gd name="T11" fmla="*/ 328 h 1446"/>
                  <a:gd name="T12" fmla="*/ 676 w 2817"/>
                  <a:gd name="T13" fmla="*/ 248 h 1446"/>
                  <a:gd name="T14" fmla="*/ 853 w 2817"/>
                  <a:gd name="T15" fmla="*/ 159 h 1446"/>
                  <a:gd name="T16" fmla="*/ 1076 w 2817"/>
                  <a:gd name="T17" fmla="*/ 90 h 1446"/>
                  <a:gd name="T18" fmla="*/ 1262 w 2817"/>
                  <a:gd name="T19" fmla="*/ 60 h 1446"/>
                  <a:gd name="T20" fmla="*/ 1424 w 2817"/>
                  <a:gd name="T21" fmla="*/ 56 h 1446"/>
                  <a:gd name="T22" fmla="*/ 1483 w 2817"/>
                  <a:gd name="T23" fmla="*/ 56 h 1446"/>
                  <a:gd name="T24" fmla="*/ 1649 w 2817"/>
                  <a:gd name="T25" fmla="*/ 72 h 1446"/>
                  <a:gd name="T26" fmla="*/ 1842 w 2817"/>
                  <a:gd name="T27" fmla="*/ 115 h 1446"/>
                  <a:gd name="T28" fmla="*/ 2066 w 2817"/>
                  <a:gd name="T29" fmla="*/ 202 h 1446"/>
                  <a:gd name="T30" fmla="*/ 2240 w 2817"/>
                  <a:gd name="T31" fmla="*/ 304 h 1446"/>
                  <a:gd name="T32" fmla="*/ 2357 w 2817"/>
                  <a:gd name="T33" fmla="*/ 394 h 1446"/>
                  <a:gd name="T34" fmla="*/ 2468 w 2817"/>
                  <a:gd name="T35" fmla="*/ 503 h 1446"/>
                  <a:gd name="T36" fmla="*/ 2571 w 2817"/>
                  <a:gd name="T37" fmla="*/ 633 h 1446"/>
                  <a:gd name="T38" fmla="*/ 2665 w 2817"/>
                  <a:gd name="T39" fmla="*/ 787 h 1446"/>
                  <a:gd name="T40" fmla="*/ 2748 w 2817"/>
                  <a:gd name="T41" fmla="*/ 964 h 1446"/>
                  <a:gd name="T42" fmla="*/ 2816 w 2817"/>
                  <a:gd name="T43" fmla="*/ 1169 h 1446"/>
                  <a:gd name="T44" fmla="*/ 2788 w 2817"/>
                  <a:gd name="T45" fmla="*/ 1049 h 1446"/>
                  <a:gd name="T46" fmla="*/ 2714 w 2817"/>
                  <a:gd name="T47" fmla="*/ 850 h 1446"/>
                  <a:gd name="T48" fmla="*/ 2627 w 2817"/>
                  <a:gd name="T49" fmla="*/ 679 h 1446"/>
                  <a:gd name="T50" fmla="*/ 2527 w 2817"/>
                  <a:gd name="T51" fmla="*/ 531 h 1446"/>
                  <a:gd name="T52" fmla="*/ 2419 w 2817"/>
                  <a:gd name="T53" fmla="*/ 407 h 1446"/>
                  <a:gd name="T54" fmla="*/ 2305 w 2817"/>
                  <a:gd name="T55" fmla="*/ 304 h 1446"/>
                  <a:gd name="T56" fmla="*/ 2187 w 2817"/>
                  <a:gd name="T57" fmla="*/ 220 h 1446"/>
                  <a:gd name="T58" fmla="*/ 2010 w 2817"/>
                  <a:gd name="T59" fmla="*/ 125 h 1446"/>
                  <a:gd name="T60" fmla="*/ 1789 w 2817"/>
                  <a:gd name="T61" fmla="*/ 47 h 1446"/>
                  <a:gd name="T62" fmla="*/ 1603 w 2817"/>
                  <a:gd name="T63" fmla="*/ 12 h 1446"/>
                  <a:gd name="T64" fmla="*/ 1439 w 2817"/>
                  <a:gd name="T65" fmla="*/ 0 h 1446"/>
                  <a:gd name="T66" fmla="*/ 1378 w 2817"/>
                  <a:gd name="T67" fmla="*/ 1 h 1446"/>
                  <a:gd name="T68" fmla="*/ 1207 w 2817"/>
                  <a:gd name="T69" fmla="*/ 18 h 1446"/>
                  <a:gd name="T70" fmla="*/ 1007 w 2817"/>
                  <a:gd name="T71" fmla="*/ 63 h 1446"/>
                  <a:gd name="T72" fmla="*/ 776 w 2817"/>
                  <a:gd name="T73" fmla="*/ 155 h 1446"/>
                  <a:gd name="T74" fmla="*/ 627 w 2817"/>
                  <a:gd name="T75" fmla="*/ 242 h 1446"/>
                  <a:gd name="T76" fmla="*/ 508 w 2817"/>
                  <a:gd name="T77" fmla="*/ 331 h 1446"/>
                  <a:gd name="T78" fmla="*/ 393 w 2817"/>
                  <a:gd name="T79" fmla="*/ 440 h 1446"/>
                  <a:gd name="T80" fmla="*/ 286 w 2817"/>
                  <a:gd name="T81" fmla="*/ 570 h 1446"/>
                  <a:gd name="T82" fmla="*/ 187 w 2817"/>
                  <a:gd name="T83" fmla="*/ 723 h 1446"/>
                  <a:gd name="T84" fmla="*/ 103 w 2817"/>
                  <a:gd name="T85" fmla="*/ 902 h 1446"/>
                  <a:gd name="T86" fmla="*/ 32 w 2817"/>
                  <a:gd name="T87" fmla="*/ 1107 h 1446"/>
                  <a:gd name="T88" fmla="*/ 7 w 2817"/>
                  <a:gd name="T89" fmla="*/ 1216 h 1446"/>
                  <a:gd name="T90" fmla="*/ 1 w 2817"/>
                  <a:gd name="T91" fmla="*/ 1359 h 1446"/>
                  <a:gd name="T92" fmla="*/ 13 w 2817"/>
                  <a:gd name="T93" fmla="*/ 1446 h 1446"/>
                  <a:gd name="T94" fmla="*/ 18 w 2817"/>
                  <a:gd name="T95" fmla="*/ 1322 h 1446"/>
                  <a:gd name="T96" fmla="*/ 43 w 2817"/>
                  <a:gd name="T97" fmla="*/ 1172 h 1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17" h="1446">
                    <a:moveTo>
                      <a:pt x="43" y="1172"/>
                    </a:moveTo>
                    <a:lnTo>
                      <a:pt x="43" y="1172"/>
                    </a:lnTo>
                    <a:lnTo>
                      <a:pt x="58" y="1116"/>
                    </a:lnTo>
                    <a:lnTo>
                      <a:pt x="74" y="1061"/>
                    </a:lnTo>
                    <a:lnTo>
                      <a:pt x="90" y="1010"/>
                    </a:lnTo>
                    <a:lnTo>
                      <a:pt x="109" y="959"/>
                    </a:lnTo>
                    <a:lnTo>
                      <a:pt x="127" y="911"/>
                    </a:lnTo>
                    <a:lnTo>
                      <a:pt x="148" y="863"/>
                    </a:lnTo>
                    <a:lnTo>
                      <a:pt x="168" y="819"/>
                    </a:lnTo>
                    <a:lnTo>
                      <a:pt x="190" y="775"/>
                    </a:lnTo>
                    <a:lnTo>
                      <a:pt x="213" y="734"/>
                    </a:lnTo>
                    <a:lnTo>
                      <a:pt x="235" y="694"/>
                    </a:lnTo>
                    <a:lnTo>
                      <a:pt x="260" y="655"/>
                    </a:lnTo>
                    <a:lnTo>
                      <a:pt x="283" y="618"/>
                    </a:lnTo>
                    <a:lnTo>
                      <a:pt x="308" y="583"/>
                    </a:lnTo>
                    <a:lnTo>
                      <a:pt x="335" y="549"/>
                    </a:lnTo>
                    <a:lnTo>
                      <a:pt x="362" y="517"/>
                    </a:lnTo>
                    <a:lnTo>
                      <a:pt x="388" y="486"/>
                    </a:lnTo>
                    <a:lnTo>
                      <a:pt x="416" y="456"/>
                    </a:lnTo>
                    <a:lnTo>
                      <a:pt x="443" y="428"/>
                    </a:lnTo>
                    <a:lnTo>
                      <a:pt x="471" y="401"/>
                    </a:lnTo>
                    <a:lnTo>
                      <a:pt x="500" y="375"/>
                    </a:lnTo>
                    <a:lnTo>
                      <a:pt x="528" y="351"/>
                    </a:lnTo>
                    <a:lnTo>
                      <a:pt x="558" y="328"/>
                    </a:lnTo>
                    <a:lnTo>
                      <a:pt x="587" y="305"/>
                    </a:lnTo>
                    <a:lnTo>
                      <a:pt x="617" y="285"/>
                    </a:lnTo>
                    <a:lnTo>
                      <a:pt x="646" y="266"/>
                    </a:lnTo>
                    <a:lnTo>
                      <a:pt x="676" y="248"/>
                    </a:lnTo>
                    <a:lnTo>
                      <a:pt x="705" y="230"/>
                    </a:lnTo>
                    <a:lnTo>
                      <a:pt x="735" y="214"/>
                    </a:lnTo>
                    <a:lnTo>
                      <a:pt x="794" y="184"/>
                    </a:lnTo>
                    <a:lnTo>
                      <a:pt x="853" y="159"/>
                    </a:lnTo>
                    <a:lnTo>
                      <a:pt x="911" y="137"/>
                    </a:lnTo>
                    <a:lnTo>
                      <a:pt x="968" y="118"/>
                    </a:lnTo>
                    <a:lnTo>
                      <a:pt x="1023" y="102"/>
                    </a:lnTo>
                    <a:lnTo>
                      <a:pt x="1076" y="90"/>
                    </a:lnTo>
                    <a:lnTo>
                      <a:pt x="1126" y="78"/>
                    </a:lnTo>
                    <a:lnTo>
                      <a:pt x="1175" y="71"/>
                    </a:lnTo>
                    <a:lnTo>
                      <a:pt x="1219" y="65"/>
                    </a:lnTo>
                    <a:lnTo>
                      <a:pt x="1262" y="60"/>
                    </a:lnTo>
                    <a:lnTo>
                      <a:pt x="1300" y="58"/>
                    </a:lnTo>
                    <a:lnTo>
                      <a:pt x="1334" y="56"/>
                    </a:lnTo>
                    <a:lnTo>
                      <a:pt x="1390" y="55"/>
                    </a:lnTo>
                    <a:lnTo>
                      <a:pt x="1424" y="56"/>
                    </a:lnTo>
                    <a:lnTo>
                      <a:pt x="1437" y="56"/>
                    </a:lnTo>
                    <a:lnTo>
                      <a:pt x="1437" y="56"/>
                    </a:lnTo>
                    <a:lnTo>
                      <a:pt x="1449" y="56"/>
                    </a:lnTo>
                    <a:lnTo>
                      <a:pt x="1483" y="56"/>
                    </a:lnTo>
                    <a:lnTo>
                      <a:pt x="1538" y="59"/>
                    </a:lnTo>
                    <a:lnTo>
                      <a:pt x="1570" y="62"/>
                    </a:lnTo>
                    <a:lnTo>
                      <a:pt x="1609" y="66"/>
                    </a:lnTo>
                    <a:lnTo>
                      <a:pt x="1649" y="72"/>
                    </a:lnTo>
                    <a:lnTo>
                      <a:pt x="1693" y="80"/>
                    </a:lnTo>
                    <a:lnTo>
                      <a:pt x="1740" y="89"/>
                    </a:lnTo>
                    <a:lnTo>
                      <a:pt x="1790" y="100"/>
                    </a:lnTo>
                    <a:lnTo>
                      <a:pt x="1842" y="115"/>
                    </a:lnTo>
                    <a:lnTo>
                      <a:pt x="1896" y="133"/>
                    </a:lnTo>
                    <a:lnTo>
                      <a:pt x="1951" y="152"/>
                    </a:lnTo>
                    <a:lnTo>
                      <a:pt x="2009" y="176"/>
                    </a:lnTo>
                    <a:lnTo>
                      <a:pt x="2066" y="202"/>
                    </a:lnTo>
                    <a:lnTo>
                      <a:pt x="2124" y="232"/>
                    </a:lnTo>
                    <a:lnTo>
                      <a:pt x="2183" y="266"/>
                    </a:lnTo>
                    <a:lnTo>
                      <a:pt x="2212" y="285"/>
                    </a:lnTo>
                    <a:lnTo>
                      <a:pt x="2240" y="304"/>
                    </a:lnTo>
                    <a:lnTo>
                      <a:pt x="2270" y="325"/>
                    </a:lnTo>
                    <a:lnTo>
                      <a:pt x="2299" y="347"/>
                    </a:lnTo>
                    <a:lnTo>
                      <a:pt x="2327" y="370"/>
                    </a:lnTo>
                    <a:lnTo>
                      <a:pt x="2357" y="394"/>
                    </a:lnTo>
                    <a:lnTo>
                      <a:pt x="2385" y="419"/>
                    </a:lnTo>
                    <a:lnTo>
                      <a:pt x="2413" y="446"/>
                    </a:lnTo>
                    <a:lnTo>
                      <a:pt x="2440" y="474"/>
                    </a:lnTo>
                    <a:lnTo>
                      <a:pt x="2468" y="503"/>
                    </a:lnTo>
                    <a:lnTo>
                      <a:pt x="2494" y="534"/>
                    </a:lnTo>
                    <a:lnTo>
                      <a:pt x="2521" y="565"/>
                    </a:lnTo>
                    <a:lnTo>
                      <a:pt x="2546" y="599"/>
                    </a:lnTo>
                    <a:lnTo>
                      <a:pt x="2571" y="633"/>
                    </a:lnTo>
                    <a:lnTo>
                      <a:pt x="2596" y="669"/>
                    </a:lnTo>
                    <a:lnTo>
                      <a:pt x="2620" y="707"/>
                    </a:lnTo>
                    <a:lnTo>
                      <a:pt x="2643" y="745"/>
                    </a:lnTo>
                    <a:lnTo>
                      <a:pt x="2665" y="787"/>
                    </a:lnTo>
                    <a:lnTo>
                      <a:pt x="2688" y="828"/>
                    </a:lnTo>
                    <a:lnTo>
                      <a:pt x="2708" y="872"/>
                    </a:lnTo>
                    <a:lnTo>
                      <a:pt x="2729" y="918"/>
                    </a:lnTo>
                    <a:lnTo>
                      <a:pt x="2748" y="964"/>
                    </a:lnTo>
                    <a:lnTo>
                      <a:pt x="2767" y="1012"/>
                    </a:lnTo>
                    <a:lnTo>
                      <a:pt x="2783" y="1063"/>
                    </a:lnTo>
                    <a:lnTo>
                      <a:pt x="2801" y="1116"/>
                    </a:lnTo>
                    <a:lnTo>
                      <a:pt x="2816" y="1169"/>
                    </a:lnTo>
                    <a:lnTo>
                      <a:pt x="2817" y="1160"/>
                    </a:lnTo>
                    <a:lnTo>
                      <a:pt x="2817" y="1160"/>
                    </a:lnTo>
                    <a:lnTo>
                      <a:pt x="2803" y="1104"/>
                    </a:lnTo>
                    <a:lnTo>
                      <a:pt x="2788" y="1049"/>
                    </a:lnTo>
                    <a:lnTo>
                      <a:pt x="2770" y="996"/>
                    </a:lnTo>
                    <a:lnTo>
                      <a:pt x="2752" y="946"/>
                    </a:lnTo>
                    <a:lnTo>
                      <a:pt x="2733" y="897"/>
                    </a:lnTo>
                    <a:lnTo>
                      <a:pt x="2714" y="850"/>
                    </a:lnTo>
                    <a:lnTo>
                      <a:pt x="2693" y="804"/>
                    </a:lnTo>
                    <a:lnTo>
                      <a:pt x="2671" y="762"/>
                    </a:lnTo>
                    <a:lnTo>
                      <a:pt x="2649" y="719"/>
                    </a:lnTo>
                    <a:lnTo>
                      <a:pt x="2627" y="679"/>
                    </a:lnTo>
                    <a:lnTo>
                      <a:pt x="2602" y="639"/>
                    </a:lnTo>
                    <a:lnTo>
                      <a:pt x="2578" y="602"/>
                    </a:lnTo>
                    <a:lnTo>
                      <a:pt x="2553" y="565"/>
                    </a:lnTo>
                    <a:lnTo>
                      <a:pt x="2527" y="531"/>
                    </a:lnTo>
                    <a:lnTo>
                      <a:pt x="2500" y="497"/>
                    </a:lnTo>
                    <a:lnTo>
                      <a:pt x="2474" y="466"/>
                    </a:lnTo>
                    <a:lnTo>
                      <a:pt x="2447" y="435"/>
                    </a:lnTo>
                    <a:lnTo>
                      <a:pt x="2419" y="407"/>
                    </a:lnTo>
                    <a:lnTo>
                      <a:pt x="2391" y="379"/>
                    </a:lnTo>
                    <a:lnTo>
                      <a:pt x="2363" y="353"/>
                    </a:lnTo>
                    <a:lnTo>
                      <a:pt x="2333" y="328"/>
                    </a:lnTo>
                    <a:lnTo>
                      <a:pt x="2305" y="304"/>
                    </a:lnTo>
                    <a:lnTo>
                      <a:pt x="2276" y="280"/>
                    </a:lnTo>
                    <a:lnTo>
                      <a:pt x="2246" y="260"/>
                    </a:lnTo>
                    <a:lnTo>
                      <a:pt x="2217" y="239"/>
                    </a:lnTo>
                    <a:lnTo>
                      <a:pt x="2187" y="220"/>
                    </a:lnTo>
                    <a:lnTo>
                      <a:pt x="2158" y="201"/>
                    </a:lnTo>
                    <a:lnTo>
                      <a:pt x="2128" y="184"/>
                    </a:lnTo>
                    <a:lnTo>
                      <a:pt x="2069" y="152"/>
                    </a:lnTo>
                    <a:lnTo>
                      <a:pt x="2010" y="125"/>
                    </a:lnTo>
                    <a:lnTo>
                      <a:pt x="1953" y="100"/>
                    </a:lnTo>
                    <a:lnTo>
                      <a:pt x="1896" y="80"/>
                    </a:lnTo>
                    <a:lnTo>
                      <a:pt x="1840" y="62"/>
                    </a:lnTo>
                    <a:lnTo>
                      <a:pt x="1789" y="47"/>
                    </a:lnTo>
                    <a:lnTo>
                      <a:pt x="1737" y="35"/>
                    </a:lnTo>
                    <a:lnTo>
                      <a:pt x="1690" y="25"/>
                    </a:lnTo>
                    <a:lnTo>
                      <a:pt x="1644" y="18"/>
                    </a:lnTo>
                    <a:lnTo>
                      <a:pt x="1603" y="12"/>
                    </a:lnTo>
                    <a:lnTo>
                      <a:pt x="1564" y="7"/>
                    </a:lnTo>
                    <a:lnTo>
                      <a:pt x="1529" y="4"/>
                    </a:lnTo>
                    <a:lnTo>
                      <a:pt x="1474" y="1"/>
                    </a:lnTo>
                    <a:lnTo>
                      <a:pt x="1439" y="0"/>
                    </a:lnTo>
                    <a:lnTo>
                      <a:pt x="1427" y="1"/>
                    </a:lnTo>
                    <a:lnTo>
                      <a:pt x="1427" y="1"/>
                    </a:lnTo>
                    <a:lnTo>
                      <a:pt x="1414" y="0"/>
                    </a:lnTo>
                    <a:lnTo>
                      <a:pt x="1378" y="1"/>
                    </a:lnTo>
                    <a:lnTo>
                      <a:pt x="1322" y="4"/>
                    </a:lnTo>
                    <a:lnTo>
                      <a:pt x="1288" y="7"/>
                    </a:lnTo>
                    <a:lnTo>
                      <a:pt x="1250" y="12"/>
                    </a:lnTo>
                    <a:lnTo>
                      <a:pt x="1207" y="18"/>
                    </a:lnTo>
                    <a:lnTo>
                      <a:pt x="1162" y="27"/>
                    </a:lnTo>
                    <a:lnTo>
                      <a:pt x="1113" y="37"/>
                    </a:lnTo>
                    <a:lnTo>
                      <a:pt x="1061" y="49"/>
                    </a:lnTo>
                    <a:lnTo>
                      <a:pt x="1007" y="63"/>
                    </a:lnTo>
                    <a:lnTo>
                      <a:pt x="952" y="81"/>
                    </a:lnTo>
                    <a:lnTo>
                      <a:pt x="894" y="103"/>
                    </a:lnTo>
                    <a:lnTo>
                      <a:pt x="835" y="127"/>
                    </a:lnTo>
                    <a:lnTo>
                      <a:pt x="776" y="155"/>
                    </a:lnTo>
                    <a:lnTo>
                      <a:pt x="717" y="186"/>
                    </a:lnTo>
                    <a:lnTo>
                      <a:pt x="686" y="204"/>
                    </a:lnTo>
                    <a:lnTo>
                      <a:pt x="657" y="223"/>
                    </a:lnTo>
                    <a:lnTo>
                      <a:pt x="627" y="242"/>
                    </a:lnTo>
                    <a:lnTo>
                      <a:pt x="596" y="263"/>
                    </a:lnTo>
                    <a:lnTo>
                      <a:pt x="567" y="283"/>
                    </a:lnTo>
                    <a:lnTo>
                      <a:pt x="537" y="307"/>
                    </a:lnTo>
                    <a:lnTo>
                      <a:pt x="508" y="331"/>
                    </a:lnTo>
                    <a:lnTo>
                      <a:pt x="478" y="356"/>
                    </a:lnTo>
                    <a:lnTo>
                      <a:pt x="450" y="382"/>
                    </a:lnTo>
                    <a:lnTo>
                      <a:pt x="422" y="410"/>
                    </a:lnTo>
                    <a:lnTo>
                      <a:pt x="393" y="440"/>
                    </a:lnTo>
                    <a:lnTo>
                      <a:pt x="366" y="469"/>
                    </a:lnTo>
                    <a:lnTo>
                      <a:pt x="338" y="502"/>
                    </a:lnTo>
                    <a:lnTo>
                      <a:pt x="311" y="534"/>
                    </a:lnTo>
                    <a:lnTo>
                      <a:pt x="286" y="570"/>
                    </a:lnTo>
                    <a:lnTo>
                      <a:pt x="260" y="605"/>
                    </a:lnTo>
                    <a:lnTo>
                      <a:pt x="236" y="643"/>
                    </a:lnTo>
                    <a:lnTo>
                      <a:pt x="211" y="682"/>
                    </a:lnTo>
                    <a:lnTo>
                      <a:pt x="187" y="723"/>
                    </a:lnTo>
                    <a:lnTo>
                      <a:pt x="165" y="765"/>
                    </a:lnTo>
                    <a:lnTo>
                      <a:pt x="143" y="809"/>
                    </a:lnTo>
                    <a:lnTo>
                      <a:pt x="123" y="855"/>
                    </a:lnTo>
                    <a:lnTo>
                      <a:pt x="103" y="902"/>
                    </a:lnTo>
                    <a:lnTo>
                      <a:pt x="84" y="950"/>
                    </a:lnTo>
                    <a:lnTo>
                      <a:pt x="65" y="1001"/>
                    </a:lnTo>
                    <a:lnTo>
                      <a:pt x="49" y="1054"/>
                    </a:lnTo>
                    <a:lnTo>
                      <a:pt x="32" y="1107"/>
                    </a:lnTo>
                    <a:lnTo>
                      <a:pt x="18" y="1163"/>
                    </a:lnTo>
                    <a:lnTo>
                      <a:pt x="18" y="1163"/>
                    </a:lnTo>
                    <a:lnTo>
                      <a:pt x="12" y="1190"/>
                    </a:lnTo>
                    <a:lnTo>
                      <a:pt x="7" y="1216"/>
                    </a:lnTo>
                    <a:lnTo>
                      <a:pt x="4" y="1243"/>
                    </a:lnTo>
                    <a:lnTo>
                      <a:pt x="1" y="1268"/>
                    </a:lnTo>
                    <a:lnTo>
                      <a:pt x="0" y="1316"/>
                    </a:lnTo>
                    <a:lnTo>
                      <a:pt x="1" y="1359"/>
                    </a:lnTo>
                    <a:lnTo>
                      <a:pt x="6" y="1395"/>
                    </a:lnTo>
                    <a:lnTo>
                      <a:pt x="9" y="1423"/>
                    </a:lnTo>
                    <a:lnTo>
                      <a:pt x="13" y="1446"/>
                    </a:lnTo>
                    <a:lnTo>
                      <a:pt x="13" y="1446"/>
                    </a:lnTo>
                    <a:lnTo>
                      <a:pt x="13" y="1424"/>
                    </a:lnTo>
                    <a:lnTo>
                      <a:pt x="13" y="1398"/>
                    </a:lnTo>
                    <a:lnTo>
                      <a:pt x="15" y="1364"/>
                    </a:lnTo>
                    <a:lnTo>
                      <a:pt x="18" y="1322"/>
                    </a:lnTo>
                    <a:lnTo>
                      <a:pt x="24" y="1277"/>
                    </a:lnTo>
                    <a:lnTo>
                      <a:pt x="31" y="1225"/>
                    </a:lnTo>
                    <a:lnTo>
                      <a:pt x="43" y="1172"/>
                    </a:lnTo>
                    <a:lnTo>
                      <a:pt x="43" y="1172"/>
                    </a:lnTo>
                    <a:close/>
                  </a:path>
                </a:pathLst>
              </a:custGeom>
              <a:gradFill>
                <a:gsLst>
                  <a:gs pos="100000">
                    <a:srgbClr val="00B0F0">
                      <a:alpha val="0"/>
                    </a:srgb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9" name="Freeform 14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788433" y="3865338"/>
                <a:ext cx="247271" cy="163293"/>
              </a:xfrm>
              <a:custGeom>
                <a:avLst/>
                <a:gdLst>
                  <a:gd name="T0" fmla="*/ 358 w 634"/>
                  <a:gd name="T1" fmla="*/ 0 h 419"/>
                  <a:gd name="T2" fmla="*/ 358 w 634"/>
                  <a:gd name="T3" fmla="*/ 0 h 419"/>
                  <a:gd name="T4" fmla="*/ 344 w 634"/>
                  <a:gd name="T5" fmla="*/ 8 h 419"/>
                  <a:gd name="T6" fmla="*/ 326 w 634"/>
                  <a:gd name="T7" fmla="*/ 22 h 419"/>
                  <a:gd name="T8" fmla="*/ 302 w 634"/>
                  <a:gd name="T9" fmla="*/ 41 h 419"/>
                  <a:gd name="T10" fmla="*/ 271 w 634"/>
                  <a:gd name="T11" fmla="*/ 66 h 419"/>
                  <a:gd name="T12" fmla="*/ 236 w 634"/>
                  <a:gd name="T13" fmla="*/ 100 h 419"/>
                  <a:gd name="T14" fmla="*/ 195 w 634"/>
                  <a:gd name="T15" fmla="*/ 140 h 419"/>
                  <a:gd name="T16" fmla="*/ 149 w 634"/>
                  <a:gd name="T17" fmla="*/ 189 h 419"/>
                  <a:gd name="T18" fmla="*/ 149 w 634"/>
                  <a:gd name="T19" fmla="*/ 189 h 419"/>
                  <a:gd name="T20" fmla="*/ 121 w 634"/>
                  <a:gd name="T21" fmla="*/ 220 h 419"/>
                  <a:gd name="T22" fmla="*/ 94 w 634"/>
                  <a:gd name="T23" fmla="*/ 252 h 419"/>
                  <a:gd name="T24" fmla="*/ 47 w 634"/>
                  <a:gd name="T25" fmla="*/ 314 h 419"/>
                  <a:gd name="T26" fmla="*/ 13 w 634"/>
                  <a:gd name="T27" fmla="*/ 363 h 419"/>
                  <a:gd name="T28" fmla="*/ 0 w 634"/>
                  <a:gd name="T29" fmla="*/ 380 h 419"/>
                  <a:gd name="T30" fmla="*/ 265 w 634"/>
                  <a:gd name="T31" fmla="*/ 419 h 419"/>
                  <a:gd name="T32" fmla="*/ 265 w 634"/>
                  <a:gd name="T33" fmla="*/ 419 h 419"/>
                  <a:gd name="T34" fmla="*/ 279 w 634"/>
                  <a:gd name="T35" fmla="*/ 398 h 419"/>
                  <a:gd name="T36" fmla="*/ 317 w 634"/>
                  <a:gd name="T37" fmla="*/ 345 h 419"/>
                  <a:gd name="T38" fmla="*/ 342 w 634"/>
                  <a:gd name="T39" fmla="*/ 308 h 419"/>
                  <a:gd name="T40" fmla="*/ 373 w 634"/>
                  <a:gd name="T41" fmla="*/ 270 h 419"/>
                  <a:gd name="T42" fmla="*/ 407 w 634"/>
                  <a:gd name="T43" fmla="*/ 228 h 419"/>
                  <a:gd name="T44" fmla="*/ 444 w 634"/>
                  <a:gd name="T45" fmla="*/ 187 h 419"/>
                  <a:gd name="T46" fmla="*/ 444 w 634"/>
                  <a:gd name="T47" fmla="*/ 187 h 419"/>
                  <a:gd name="T48" fmla="*/ 476 w 634"/>
                  <a:gd name="T49" fmla="*/ 153 h 419"/>
                  <a:gd name="T50" fmla="*/ 510 w 634"/>
                  <a:gd name="T51" fmla="*/ 121 h 419"/>
                  <a:gd name="T52" fmla="*/ 571 w 634"/>
                  <a:gd name="T53" fmla="*/ 65 h 419"/>
                  <a:gd name="T54" fmla="*/ 617 w 634"/>
                  <a:gd name="T55" fmla="*/ 25 h 419"/>
                  <a:gd name="T56" fmla="*/ 634 w 634"/>
                  <a:gd name="T57" fmla="*/ 10 h 419"/>
                  <a:gd name="T58" fmla="*/ 358 w 634"/>
                  <a:gd name="T59" fmla="*/ 0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34" h="419">
                    <a:moveTo>
                      <a:pt x="358" y="0"/>
                    </a:moveTo>
                    <a:lnTo>
                      <a:pt x="358" y="0"/>
                    </a:lnTo>
                    <a:lnTo>
                      <a:pt x="344" y="8"/>
                    </a:lnTo>
                    <a:lnTo>
                      <a:pt x="326" y="22"/>
                    </a:lnTo>
                    <a:lnTo>
                      <a:pt x="302" y="41"/>
                    </a:lnTo>
                    <a:lnTo>
                      <a:pt x="271" y="66"/>
                    </a:lnTo>
                    <a:lnTo>
                      <a:pt x="236" y="100"/>
                    </a:lnTo>
                    <a:lnTo>
                      <a:pt x="195" y="140"/>
                    </a:lnTo>
                    <a:lnTo>
                      <a:pt x="149" y="189"/>
                    </a:lnTo>
                    <a:lnTo>
                      <a:pt x="149" y="189"/>
                    </a:lnTo>
                    <a:lnTo>
                      <a:pt x="121" y="220"/>
                    </a:lnTo>
                    <a:lnTo>
                      <a:pt x="94" y="252"/>
                    </a:lnTo>
                    <a:lnTo>
                      <a:pt x="47" y="314"/>
                    </a:lnTo>
                    <a:lnTo>
                      <a:pt x="13" y="363"/>
                    </a:lnTo>
                    <a:lnTo>
                      <a:pt x="0" y="380"/>
                    </a:lnTo>
                    <a:lnTo>
                      <a:pt x="265" y="419"/>
                    </a:lnTo>
                    <a:lnTo>
                      <a:pt x="265" y="419"/>
                    </a:lnTo>
                    <a:lnTo>
                      <a:pt x="279" y="398"/>
                    </a:lnTo>
                    <a:lnTo>
                      <a:pt x="317" y="345"/>
                    </a:lnTo>
                    <a:lnTo>
                      <a:pt x="342" y="308"/>
                    </a:lnTo>
                    <a:lnTo>
                      <a:pt x="373" y="270"/>
                    </a:lnTo>
                    <a:lnTo>
                      <a:pt x="407" y="228"/>
                    </a:lnTo>
                    <a:lnTo>
                      <a:pt x="444" y="187"/>
                    </a:lnTo>
                    <a:lnTo>
                      <a:pt x="444" y="187"/>
                    </a:lnTo>
                    <a:lnTo>
                      <a:pt x="476" y="153"/>
                    </a:lnTo>
                    <a:lnTo>
                      <a:pt x="510" y="121"/>
                    </a:lnTo>
                    <a:lnTo>
                      <a:pt x="571" y="65"/>
                    </a:lnTo>
                    <a:lnTo>
                      <a:pt x="617" y="25"/>
                    </a:lnTo>
                    <a:lnTo>
                      <a:pt x="634" y="10"/>
                    </a:lnTo>
                    <a:lnTo>
                      <a:pt x="358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0B0F0">
                      <a:alpha val="0"/>
                    </a:srgbClr>
                  </a:gs>
                  <a:gs pos="0">
                    <a:schemeClr val="bg1">
                      <a:alpha val="76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0" name="Freeform 15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722338" y="4054291"/>
                <a:ext cx="227832" cy="586298"/>
              </a:xfrm>
              <a:custGeom>
                <a:avLst/>
                <a:gdLst>
                  <a:gd name="T0" fmla="*/ 386 w 586"/>
                  <a:gd name="T1" fmla="*/ 27 h 1509"/>
                  <a:gd name="T2" fmla="*/ 378 w 586"/>
                  <a:gd name="T3" fmla="*/ 44 h 1509"/>
                  <a:gd name="T4" fmla="*/ 349 w 586"/>
                  <a:gd name="T5" fmla="*/ 126 h 1509"/>
                  <a:gd name="T6" fmla="*/ 324 w 586"/>
                  <a:gd name="T7" fmla="*/ 208 h 1509"/>
                  <a:gd name="T8" fmla="*/ 297 w 586"/>
                  <a:gd name="T9" fmla="*/ 310 h 1509"/>
                  <a:gd name="T10" fmla="*/ 275 w 586"/>
                  <a:gd name="T11" fmla="*/ 424 h 1509"/>
                  <a:gd name="T12" fmla="*/ 263 w 586"/>
                  <a:gd name="T13" fmla="*/ 545 h 1509"/>
                  <a:gd name="T14" fmla="*/ 262 w 586"/>
                  <a:gd name="T15" fmla="*/ 607 h 1509"/>
                  <a:gd name="T16" fmla="*/ 265 w 586"/>
                  <a:gd name="T17" fmla="*/ 670 h 1509"/>
                  <a:gd name="T18" fmla="*/ 271 w 586"/>
                  <a:gd name="T19" fmla="*/ 731 h 1509"/>
                  <a:gd name="T20" fmla="*/ 278 w 586"/>
                  <a:gd name="T21" fmla="*/ 772 h 1509"/>
                  <a:gd name="T22" fmla="*/ 294 w 586"/>
                  <a:gd name="T23" fmla="*/ 852 h 1509"/>
                  <a:gd name="T24" fmla="*/ 313 w 586"/>
                  <a:gd name="T25" fmla="*/ 929 h 1509"/>
                  <a:gd name="T26" fmla="*/ 349 w 586"/>
                  <a:gd name="T27" fmla="*/ 1036 h 1509"/>
                  <a:gd name="T28" fmla="*/ 400 w 586"/>
                  <a:gd name="T29" fmla="*/ 1166 h 1509"/>
                  <a:gd name="T30" fmla="*/ 454 w 586"/>
                  <a:gd name="T31" fmla="*/ 1278 h 1509"/>
                  <a:gd name="T32" fmla="*/ 504 w 586"/>
                  <a:gd name="T33" fmla="*/ 1368 h 1509"/>
                  <a:gd name="T34" fmla="*/ 547 w 586"/>
                  <a:gd name="T35" fmla="*/ 1436 h 1509"/>
                  <a:gd name="T36" fmla="*/ 586 w 586"/>
                  <a:gd name="T37" fmla="*/ 1492 h 1509"/>
                  <a:gd name="T38" fmla="*/ 383 w 586"/>
                  <a:gd name="T39" fmla="*/ 1509 h 1509"/>
                  <a:gd name="T40" fmla="*/ 331 w 586"/>
                  <a:gd name="T41" fmla="*/ 1445 h 1509"/>
                  <a:gd name="T42" fmla="*/ 276 w 586"/>
                  <a:gd name="T43" fmla="*/ 1371 h 1509"/>
                  <a:gd name="T44" fmla="*/ 213 w 586"/>
                  <a:gd name="T45" fmla="*/ 1274 h 1509"/>
                  <a:gd name="T46" fmla="*/ 148 w 586"/>
                  <a:gd name="T47" fmla="*/ 1157 h 1509"/>
                  <a:gd name="T48" fmla="*/ 101 w 586"/>
                  <a:gd name="T49" fmla="*/ 1060 h 1509"/>
                  <a:gd name="T50" fmla="*/ 73 w 586"/>
                  <a:gd name="T51" fmla="*/ 991 h 1509"/>
                  <a:gd name="T52" fmla="*/ 49 w 586"/>
                  <a:gd name="T53" fmla="*/ 920 h 1509"/>
                  <a:gd name="T54" fmla="*/ 29 w 586"/>
                  <a:gd name="T55" fmla="*/ 844 h 1509"/>
                  <a:gd name="T56" fmla="*/ 14 w 586"/>
                  <a:gd name="T57" fmla="*/ 769 h 1509"/>
                  <a:gd name="T58" fmla="*/ 9 w 586"/>
                  <a:gd name="T59" fmla="*/ 731 h 1509"/>
                  <a:gd name="T60" fmla="*/ 2 w 586"/>
                  <a:gd name="T61" fmla="*/ 656 h 1509"/>
                  <a:gd name="T62" fmla="*/ 0 w 586"/>
                  <a:gd name="T63" fmla="*/ 582 h 1509"/>
                  <a:gd name="T64" fmla="*/ 2 w 586"/>
                  <a:gd name="T65" fmla="*/ 512 h 1509"/>
                  <a:gd name="T66" fmla="*/ 15 w 586"/>
                  <a:gd name="T67" fmla="*/ 381 h 1509"/>
                  <a:gd name="T68" fmla="*/ 36 w 586"/>
                  <a:gd name="T69" fmla="*/ 264 h 1509"/>
                  <a:gd name="T70" fmla="*/ 61 w 586"/>
                  <a:gd name="T71" fmla="*/ 166 h 1509"/>
                  <a:gd name="T72" fmla="*/ 86 w 586"/>
                  <a:gd name="T73" fmla="*/ 87 h 1509"/>
                  <a:gd name="T74" fmla="*/ 116 w 586"/>
                  <a:gd name="T75" fmla="*/ 15 h 1509"/>
                  <a:gd name="T76" fmla="*/ 123 w 586"/>
                  <a:gd name="T77" fmla="*/ 0 h 1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6" h="1509">
                    <a:moveTo>
                      <a:pt x="123" y="0"/>
                    </a:moveTo>
                    <a:lnTo>
                      <a:pt x="386" y="27"/>
                    </a:lnTo>
                    <a:lnTo>
                      <a:pt x="386" y="27"/>
                    </a:lnTo>
                    <a:lnTo>
                      <a:pt x="378" y="44"/>
                    </a:lnTo>
                    <a:lnTo>
                      <a:pt x="361" y="92"/>
                    </a:lnTo>
                    <a:lnTo>
                      <a:pt x="349" y="126"/>
                    </a:lnTo>
                    <a:lnTo>
                      <a:pt x="337" y="164"/>
                    </a:lnTo>
                    <a:lnTo>
                      <a:pt x="324" y="208"/>
                    </a:lnTo>
                    <a:lnTo>
                      <a:pt x="310" y="257"/>
                    </a:lnTo>
                    <a:lnTo>
                      <a:pt x="297" y="310"/>
                    </a:lnTo>
                    <a:lnTo>
                      <a:pt x="285" y="365"/>
                    </a:lnTo>
                    <a:lnTo>
                      <a:pt x="275" y="424"/>
                    </a:lnTo>
                    <a:lnTo>
                      <a:pt x="268" y="484"/>
                    </a:lnTo>
                    <a:lnTo>
                      <a:pt x="263" y="545"/>
                    </a:lnTo>
                    <a:lnTo>
                      <a:pt x="262" y="576"/>
                    </a:lnTo>
                    <a:lnTo>
                      <a:pt x="262" y="607"/>
                    </a:lnTo>
                    <a:lnTo>
                      <a:pt x="262" y="639"/>
                    </a:lnTo>
                    <a:lnTo>
                      <a:pt x="265" y="670"/>
                    </a:lnTo>
                    <a:lnTo>
                      <a:pt x="266" y="701"/>
                    </a:lnTo>
                    <a:lnTo>
                      <a:pt x="271" y="731"/>
                    </a:lnTo>
                    <a:lnTo>
                      <a:pt x="271" y="731"/>
                    </a:lnTo>
                    <a:lnTo>
                      <a:pt x="278" y="772"/>
                    </a:lnTo>
                    <a:lnTo>
                      <a:pt x="285" y="813"/>
                    </a:lnTo>
                    <a:lnTo>
                      <a:pt x="294" y="852"/>
                    </a:lnTo>
                    <a:lnTo>
                      <a:pt x="303" y="892"/>
                    </a:lnTo>
                    <a:lnTo>
                      <a:pt x="313" y="929"/>
                    </a:lnTo>
                    <a:lnTo>
                      <a:pt x="325" y="965"/>
                    </a:lnTo>
                    <a:lnTo>
                      <a:pt x="349" y="1036"/>
                    </a:lnTo>
                    <a:lnTo>
                      <a:pt x="374" y="1104"/>
                    </a:lnTo>
                    <a:lnTo>
                      <a:pt x="400" y="1166"/>
                    </a:lnTo>
                    <a:lnTo>
                      <a:pt x="427" y="1225"/>
                    </a:lnTo>
                    <a:lnTo>
                      <a:pt x="454" y="1278"/>
                    </a:lnTo>
                    <a:lnTo>
                      <a:pt x="480" y="1326"/>
                    </a:lnTo>
                    <a:lnTo>
                      <a:pt x="504" y="1368"/>
                    </a:lnTo>
                    <a:lnTo>
                      <a:pt x="527" y="1405"/>
                    </a:lnTo>
                    <a:lnTo>
                      <a:pt x="547" y="1436"/>
                    </a:lnTo>
                    <a:lnTo>
                      <a:pt x="576" y="1478"/>
                    </a:lnTo>
                    <a:lnTo>
                      <a:pt x="586" y="1492"/>
                    </a:lnTo>
                    <a:lnTo>
                      <a:pt x="383" y="1509"/>
                    </a:lnTo>
                    <a:lnTo>
                      <a:pt x="383" y="1509"/>
                    </a:lnTo>
                    <a:lnTo>
                      <a:pt x="369" y="1492"/>
                    </a:lnTo>
                    <a:lnTo>
                      <a:pt x="331" y="1445"/>
                    </a:lnTo>
                    <a:lnTo>
                      <a:pt x="306" y="1411"/>
                    </a:lnTo>
                    <a:lnTo>
                      <a:pt x="276" y="1371"/>
                    </a:lnTo>
                    <a:lnTo>
                      <a:pt x="245" y="1326"/>
                    </a:lnTo>
                    <a:lnTo>
                      <a:pt x="213" y="1274"/>
                    </a:lnTo>
                    <a:lnTo>
                      <a:pt x="181" y="1218"/>
                    </a:lnTo>
                    <a:lnTo>
                      <a:pt x="148" y="1157"/>
                    </a:lnTo>
                    <a:lnTo>
                      <a:pt x="116" y="1094"/>
                    </a:lnTo>
                    <a:lnTo>
                      <a:pt x="101" y="1060"/>
                    </a:lnTo>
                    <a:lnTo>
                      <a:pt x="86" y="1026"/>
                    </a:lnTo>
                    <a:lnTo>
                      <a:pt x="73" y="991"/>
                    </a:lnTo>
                    <a:lnTo>
                      <a:pt x="61" y="955"/>
                    </a:lnTo>
                    <a:lnTo>
                      <a:pt x="49" y="920"/>
                    </a:lnTo>
                    <a:lnTo>
                      <a:pt x="37" y="883"/>
                    </a:lnTo>
                    <a:lnTo>
                      <a:pt x="29" y="844"/>
                    </a:lnTo>
                    <a:lnTo>
                      <a:pt x="21" y="808"/>
                    </a:lnTo>
                    <a:lnTo>
                      <a:pt x="14" y="769"/>
                    </a:lnTo>
                    <a:lnTo>
                      <a:pt x="9" y="731"/>
                    </a:lnTo>
                    <a:lnTo>
                      <a:pt x="9" y="731"/>
                    </a:lnTo>
                    <a:lnTo>
                      <a:pt x="5" y="694"/>
                    </a:lnTo>
                    <a:lnTo>
                      <a:pt x="2" y="656"/>
                    </a:lnTo>
                    <a:lnTo>
                      <a:pt x="0" y="619"/>
                    </a:lnTo>
                    <a:lnTo>
                      <a:pt x="0" y="582"/>
                    </a:lnTo>
                    <a:lnTo>
                      <a:pt x="0" y="546"/>
                    </a:lnTo>
                    <a:lnTo>
                      <a:pt x="2" y="512"/>
                    </a:lnTo>
                    <a:lnTo>
                      <a:pt x="8" y="444"/>
                    </a:lnTo>
                    <a:lnTo>
                      <a:pt x="15" y="381"/>
                    </a:lnTo>
                    <a:lnTo>
                      <a:pt x="24" y="320"/>
                    </a:lnTo>
                    <a:lnTo>
                      <a:pt x="36" y="264"/>
                    </a:lnTo>
                    <a:lnTo>
                      <a:pt x="49" y="213"/>
                    </a:lnTo>
                    <a:lnTo>
                      <a:pt x="61" y="166"/>
                    </a:lnTo>
                    <a:lnTo>
                      <a:pt x="74" y="124"/>
                    </a:lnTo>
                    <a:lnTo>
                      <a:pt x="86" y="87"/>
                    </a:lnTo>
                    <a:lnTo>
                      <a:pt x="98" y="56"/>
                    </a:lnTo>
                    <a:lnTo>
                      <a:pt x="116" y="15"/>
                    </a:ln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0"/>
                    </a:srgb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Freeform 16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2489035" y="4315559"/>
                <a:ext cx="255825" cy="599517"/>
              </a:xfrm>
              <a:custGeom>
                <a:avLst/>
                <a:gdLst>
                  <a:gd name="T0" fmla="*/ 654 w 658"/>
                  <a:gd name="T1" fmla="*/ 0 h 1542"/>
                  <a:gd name="T2" fmla="*/ 656 w 658"/>
                  <a:gd name="T3" fmla="*/ 28 h 1542"/>
                  <a:gd name="T4" fmla="*/ 658 w 658"/>
                  <a:gd name="T5" fmla="*/ 75 h 1542"/>
                  <a:gd name="T6" fmla="*/ 655 w 658"/>
                  <a:gd name="T7" fmla="*/ 144 h 1542"/>
                  <a:gd name="T8" fmla="*/ 640 w 658"/>
                  <a:gd name="T9" fmla="*/ 233 h 1542"/>
                  <a:gd name="T10" fmla="*/ 612 w 658"/>
                  <a:gd name="T11" fmla="*/ 339 h 1542"/>
                  <a:gd name="T12" fmla="*/ 578 w 658"/>
                  <a:gd name="T13" fmla="*/ 431 h 1542"/>
                  <a:gd name="T14" fmla="*/ 550 w 658"/>
                  <a:gd name="T15" fmla="*/ 496 h 1542"/>
                  <a:gd name="T16" fmla="*/ 515 w 658"/>
                  <a:gd name="T17" fmla="*/ 565 h 1542"/>
                  <a:gd name="T18" fmla="*/ 473 w 658"/>
                  <a:gd name="T19" fmla="*/ 637 h 1542"/>
                  <a:gd name="T20" fmla="*/ 450 w 658"/>
                  <a:gd name="T21" fmla="*/ 676 h 1542"/>
                  <a:gd name="T22" fmla="*/ 332 w 658"/>
                  <a:gd name="T23" fmla="*/ 866 h 1542"/>
                  <a:gd name="T24" fmla="*/ 234 w 658"/>
                  <a:gd name="T25" fmla="*/ 1036 h 1542"/>
                  <a:gd name="T26" fmla="*/ 156 w 658"/>
                  <a:gd name="T27" fmla="*/ 1183 h 1542"/>
                  <a:gd name="T28" fmla="*/ 96 w 658"/>
                  <a:gd name="T29" fmla="*/ 1309 h 1542"/>
                  <a:gd name="T30" fmla="*/ 51 w 658"/>
                  <a:gd name="T31" fmla="*/ 1408 h 1542"/>
                  <a:gd name="T32" fmla="*/ 6 w 658"/>
                  <a:gd name="T33" fmla="*/ 1526 h 1542"/>
                  <a:gd name="T34" fmla="*/ 0 w 658"/>
                  <a:gd name="T35" fmla="*/ 1542 h 1542"/>
                  <a:gd name="T36" fmla="*/ 9 w 658"/>
                  <a:gd name="T37" fmla="*/ 1496 h 1542"/>
                  <a:gd name="T38" fmla="*/ 31 w 658"/>
                  <a:gd name="T39" fmla="*/ 1406 h 1542"/>
                  <a:gd name="T40" fmla="*/ 59 w 658"/>
                  <a:gd name="T41" fmla="*/ 1322 h 1542"/>
                  <a:gd name="T42" fmla="*/ 97 w 658"/>
                  <a:gd name="T43" fmla="*/ 1220 h 1542"/>
                  <a:gd name="T44" fmla="*/ 150 w 658"/>
                  <a:gd name="T45" fmla="*/ 1104 h 1542"/>
                  <a:gd name="T46" fmla="*/ 220 w 658"/>
                  <a:gd name="T47" fmla="*/ 972 h 1542"/>
                  <a:gd name="T48" fmla="*/ 261 w 658"/>
                  <a:gd name="T49" fmla="*/ 902 h 1542"/>
                  <a:gd name="T50" fmla="*/ 420 w 658"/>
                  <a:gd name="T51" fmla="*/ 639 h 1542"/>
                  <a:gd name="T52" fmla="*/ 482 w 658"/>
                  <a:gd name="T53" fmla="*/ 534 h 1542"/>
                  <a:gd name="T54" fmla="*/ 534 w 658"/>
                  <a:gd name="T55" fmla="*/ 437 h 1542"/>
                  <a:gd name="T56" fmla="*/ 575 w 658"/>
                  <a:gd name="T57" fmla="*/ 342 h 1542"/>
                  <a:gd name="T58" fmla="*/ 609 w 658"/>
                  <a:gd name="T59" fmla="*/ 242 h 1542"/>
                  <a:gd name="T60" fmla="*/ 634 w 658"/>
                  <a:gd name="T61" fmla="*/ 130 h 1542"/>
                  <a:gd name="T62" fmla="*/ 654 w 658"/>
                  <a:gd name="T63" fmla="*/ 0 h 1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58" h="1542">
                    <a:moveTo>
                      <a:pt x="654" y="0"/>
                    </a:moveTo>
                    <a:lnTo>
                      <a:pt x="654" y="0"/>
                    </a:lnTo>
                    <a:lnTo>
                      <a:pt x="655" y="13"/>
                    </a:lnTo>
                    <a:lnTo>
                      <a:pt x="656" y="28"/>
                    </a:lnTo>
                    <a:lnTo>
                      <a:pt x="658" y="48"/>
                    </a:lnTo>
                    <a:lnTo>
                      <a:pt x="658" y="75"/>
                    </a:lnTo>
                    <a:lnTo>
                      <a:pt x="658" y="107"/>
                    </a:lnTo>
                    <a:lnTo>
                      <a:pt x="655" y="144"/>
                    </a:lnTo>
                    <a:lnTo>
                      <a:pt x="649" y="186"/>
                    </a:lnTo>
                    <a:lnTo>
                      <a:pt x="640" y="233"/>
                    </a:lnTo>
                    <a:lnTo>
                      <a:pt x="628" y="283"/>
                    </a:lnTo>
                    <a:lnTo>
                      <a:pt x="612" y="339"/>
                    </a:lnTo>
                    <a:lnTo>
                      <a:pt x="592" y="400"/>
                    </a:lnTo>
                    <a:lnTo>
                      <a:pt x="578" y="431"/>
                    </a:lnTo>
                    <a:lnTo>
                      <a:pt x="565" y="463"/>
                    </a:lnTo>
                    <a:lnTo>
                      <a:pt x="550" y="496"/>
                    </a:lnTo>
                    <a:lnTo>
                      <a:pt x="532" y="530"/>
                    </a:lnTo>
                    <a:lnTo>
                      <a:pt x="515" y="565"/>
                    </a:lnTo>
                    <a:lnTo>
                      <a:pt x="494" y="600"/>
                    </a:lnTo>
                    <a:lnTo>
                      <a:pt x="473" y="637"/>
                    </a:lnTo>
                    <a:lnTo>
                      <a:pt x="450" y="676"/>
                    </a:lnTo>
                    <a:lnTo>
                      <a:pt x="450" y="676"/>
                    </a:lnTo>
                    <a:lnTo>
                      <a:pt x="388" y="773"/>
                    </a:lnTo>
                    <a:lnTo>
                      <a:pt x="332" y="866"/>
                    </a:lnTo>
                    <a:lnTo>
                      <a:pt x="280" y="953"/>
                    </a:lnTo>
                    <a:lnTo>
                      <a:pt x="234" y="1036"/>
                    </a:lnTo>
                    <a:lnTo>
                      <a:pt x="193" y="1113"/>
                    </a:lnTo>
                    <a:lnTo>
                      <a:pt x="156" y="1183"/>
                    </a:lnTo>
                    <a:lnTo>
                      <a:pt x="124" y="1250"/>
                    </a:lnTo>
                    <a:lnTo>
                      <a:pt x="96" y="1309"/>
                    </a:lnTo>
                    <a:lnTo>
                      <a:pt x="72" y="1362"/>
                    </a:lnTo>
                    <a:lnTo>
                      <a:pt x="51" y="1408"/>
                    </a:lnTo>
                    <a:lnTo>
                      <a:pt x="22" y="1482"/>
                    </a:lnTo>
                    <a:lnTo>
                      <a:pt x="6" y="1526"/>
                    </a:lnTo>
                    <a:lnTo>
                      <a:pt x="0" y="1542"/>
                    </a:lnTo>
                    <a:lnTo>
                      <a:pt x="0" y="1542"/>
                    </a:lnTo>
                    <a:lnTo>
                      <a:pt x="1" y="1530"/>
                    </a:lnTo>
                    <a:lnTo>
                      <a:pt x="9" y="1496"/>
                    </a:lnTo>
                    <a:lnTo>
                      <a:pt x="22" y="1440"/>
                    </a:lnTo>
                    <a:lnTo>
                      <a:pt x="31" y="1406"/>
                    </a:lnTo>
                    <a:lnTo>
                      <a:pt x="44" y="1366"/>
                    </a:lnTo>
                    <a:lnTo>
                      <a:pt x="59" y="1322"/>
                    </a:lnTo>
                    <a:lnTo>
                      <a:pt x="76" y="1273"/>
                    </a:lnTo>
                    <a:lnTo>
                      <a:pt x="97" y="1220"/>
                    </a:lnTo>
                    <a:lnTo>
                      <a:pt x="122" y="1164"/>
                    </a:lnTo>
                    <a:lnTo>
                      <a:pt x="150" y="1104"/>
                    </a:lnTo>
                    <a:lnTo>
                      <a:pt x="183" y="1040"/>
                    </a:lnTo>
                    <a:lnTo>
                      <a:pt x="220" y="972"/>
                    </a:lnTo>
                    <a:lnTo>
                      <a:pt x="261" y="902"/>
                    </a:lnTo>
                    <a:lnTo>
                      <a:pt x="261" y="902"/>
                    </a:lnTo>
                    <a:lnTo>
                      <a:pt x="347" y="760"/>
                    </a:lnTo>
                    <a:lnTo>
                      <a:pt x="420" y="639"/>
                    </a:lnTo>
                    <a:lnTo>
                      <a:pt x="453" y="586"/>
                    </a:lnTo>
                    <a:lnTo>
                      <a:pt x="482" y="534"/>
                    </a:lnTo>
                    <a:lnTo>
                      <a:pt x="509" y="485"/>
                    </a:lnTo>
                    <a:lnTo>
                      <a:pt x="534" y="437"/>
                    </a:lnTo>
                    <a:lnTo>
                      <a:pt x="556" y="389"/>
                    </a:lnTo>
                    <a:lnTo>
                      <a:pt x="575" y="342"/>
                    </a:lnTo>
                    <a:lnTo>
                      <a:pt x="593" y="293"/>
                    </a:lnTo>
                    <a:lnTo>
                      <a:pt x="609" y="242"/>
                    </a:lnTo>
                    <a:lnTo>
                      <a:pt x="623" y="187"/>
                    </a:lnTo>
                    <a:lnTo>
                      <a:pt x="634" y="130"/>
                    </a:lnTo>
                    <a:lnTo>
                      <a:pt x="645" y="68"/>
                    </a:lnTo>
                    <a:lnTo>
                      <a:pt x="654" y="0"/>
                    </a:lnTo>
                    <a:lnTo>
                      <a:pt x="654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00B0F0">
                      <a:alpha val="0"/>
                    </a:srgbClr>
                  </a:gs>
                  <a:gs pos="0">
                    <a:srgbClr val="00B0F0">
                      <a:alpha val="0"/>
                    </a:srgbClr>
                  </a:gs>
                  <a:gs pos="49000">
                    <a:schemeClr val="bg1"/>
                  </a:gs>
                </a:gsLst>
                <a:lin ang="16200000" scaled="1"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48" name="Oval 47"/>
            <p:cNvSpPr/>
            <p:nvPr/>
          </p:nvSpPr>
          <p:spPr>
            <a:xfrm>
              <a:off x="2635614" y="5944135"/>
              <a:ext cx="794130" cy="7200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2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257836" y="3791985"/>
            <a:ext cx="1076443" cy="1941270"/>
            <a:chOff x="5449785" y="3897265"/>
            <a:chExt cx="1174928" cy="2118878"/>
          </a:xfrm>
        </p:grpSpPr>
        <p:grpSp>
          <p:nvGrpSpPr>
            <p:cNvPr id="32" name="Group 31"/>
            <p:cNvGrpSpPr/>
            <p:nvPr/>
          </p:nvGrpSpPr>
          <p:grpSpPr>
            <a:xfrm>
              <a:off x="5449785" y="3897265"/>
              <a:ext cx="1174928" cy="1972655"/>
              <a:chOff x="5508104" y="3459911"/>
              <a:chExt cx="1174928" cy="1972655"/>
            </a:xfrm>
          </p:grpSpPr>
          <p:sp>
            <p:nvSpPr>
              <p:cNvPr id="34" name="Freeform 7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863768" y="4979308"/>
                <a:ext cx="458774" cy="398123"/>
              </a:xfrm>
              <a:custGeom>
                <a:avLst/>
                <a:gdLst>
                  <a:gd name="T0" fmla="*/ 1115 w 1181"/>
                  <a:gd name="T1" fmla="*/ 25 h 1024"/>
                  <a:gd name="T2" fmla="*/ 1093 w 1181"/>
                  <a:gd name="T3" fmla="*/ 32 h 1024"/>
                  <a:gd name="T4" fmla="*/ 1008 w 1181"/>
                  <a:gd name="T5" fmla="*/ 44 h 1024"/>
                  <a:gd name="T6" fmla="*/ 883 w 1181"/>
                  <a:gd name="T7" fmla="*/ 51 h 1024"/>
                  <a:gd name="T8" fmla="*/ 728 w 1181"/>
                  <a:gd name="T9" fmla="*/ 57 h 1024"/>
                  <a:gd name="T10" fmla="*/ 474 w 1181"/>
                  <a:gd name="T11" fmla="*/ 57 h 1024"/>
                  <a:gd name="T12" fmla="*/ 310 w 1181"/>
                  <a:gd name="T13" fmla="*/ 54 h 1024"/>
                  <a:gd name="T14" fmla="*/ 169 w 1181"/>
                  <a:gd name="T15" fmla="*/ 48 h 1024"/>
                  <a:gd name="T16" fmla="*/ 62 w 1181"/>
                  <a:gd name="T17" fmla="*/ 38 h 1024"/>
                  <a:gd name="T18" fmla="*/ 58 w 1181"/>
                  <a:gd name="T19" fmla="*/ 360 h 1024"/>
                  <a:gd name="T20" fmla="*/ 58 w 1181"/>
                  <a:gd name="T21" fmla="*/ 701 h 1024"/>
                  <a:gd name="T22" fmla="*/ 56 w 1181"/>
                  <a:gd name="T23" fmla="*/ 705 h 1024"/>
                  <a:gd name="T24" fmla="*/ 49 w 1181"/>
                  <a:gd name="T25" fmla="*/ 721 h 1024"/>
                  <a:gd name="T26" fmla="*/ 30 w 1181"/>
                  <a:gd name="T27" fmla="*/ 740 h 1024"/>
                  <a:gd name="T28" fmla="*/ 9 w 1181"/>
                  <a:gd name="T29" fmla="*/ 761 h 1024"/>
                  <a:gd name="T30" fmla="*/ 0 w 1181"/>
                  <a:gd name="T31" fmla="*/ 779 h 1024"/>
                  <a:gd name="T32" fmla="*/ 0 w 1181"/>
                  <a:gd name="T33" fmla="*/ 785 h 1024"/>
                  <a:gd name="T34" fmla="*/ 3 w 1181"/>
                  <a:gd name="T35" fmla="*/ 794 h 1024"/>
                  <a:gd name="T36" fmla="*/ 24 w 1181"/>
                  <a:gd name="T37" fmla="*/ 819 h 1024"/>
                  <a:gd name="T38" fmla="*/ 61 w 1181"/>
                  <a:gd name="T39" fmla="*/ 851 h 1024"/>
                  <a:gd name="T40" fmla="*/ 136 w 1181"/>
                  <a:gd name="T41" fmla="*/ 909 h 1024"/>
                  <a:gd name="T42" fmla="*/ 244 w 1181"/>
                  <a:gd name="T43" fmla="*/ 978 h 1024"/>
                  <a:gd name="T44" fmla="*/ 287 w 1181"/>
                  <a:gd name="T45" fmla="*/ 1002 h 1024"/>
                  <a:gd name="T46" fmla="*/ 318 w 1181"/>
                  <a:gd name="T47" fmla="*/ 1014 h 1024"/>
                  <a:gd name="T48" fmla="*/ 332 w 1181"/>
                  <a:gd name="T49" fmla="*/ 1016 h 1024"/>
                  <a:gd name="T50" fmla="*/ 414 w 1181"/>
                  <a:gd name="T51" fmla="*/ 1021 h 1024"/>
                  <a:gd name="T52" fmla="*/ 576 w 1181"/>
                  <a:gd name="T53" fmla="*/ 1024 h 1024"/>
                  <a:gd name="T54" fmla="*/ 738 w 1181"/>
                  <a:gd name="T55" fmla="*/ 1021 h 1024"/>
                  <a:gd name="T56" fmla="*/ 821 w 1181"/>
                  <a:gd name="T57" fmla="*/ 1016 h 1024"/>
                  <a:gd name="T58" fmla="*/ 836 w 1181"/>
                  <a:gd name="T59" fmla="*/ 1014 h 1024"/>
                  <a:gd name="T60" fmla="*/ 864 w 1181"/>
                  <a:gd name="T61" fmla="*/ 1005 h 1024"/>
                  <a:gd name="T62" fmla="*/ 940 w 1181"/>
                  <a:gd name="T63" fmla="*/ 966 h 1024"/>
                  <a:gd name="T64" fmla="*/ 1029 w 1181"/>
                  <a:gd name="T65" fmla="*/ 915 h 1024"/>
                  <a:gd name="T66" fmla="*/ 1098 w 1181"/>
                  <a:gd name="T67" fmla="*/ 870 h 1024"/>
                  <a:gd name="T68" fmla="*/ 1118 w 1181"/>
                  <a:gd name="T69" fmla="*/ 856 h 1024"/>
                  <a:gd name="T70" fmla="*/ 1124 w 1181"/>
                  <a:gd name="T71" fmla="*/ 838 h 1024"/>
                  <a:gd name="T72" fmla="*/ 1128 w 1181"/>
                  <a:gd name="T73" fmla="*/ 799 h 1024"/>
                  <a:gd name="T74" fmla="*/ 1129 w 1181"/>
                  <a:gd name="T75" fmla="*/ 674 h 1024"/>
                  <a:gd name="T76" fmla="*/ 1126 w 1181"/>
                  <a:gd name="T77" fmla="*/ 504 h 1024"/>
                  <a:gd name="T78" fmla="*/ 1121 w 1181"/>
                  <a:gd name="T79" fmla="*/ 321 h 1024"/>
                  <a:gd name="T80" fmla="*/ 1122 w 1181"/>
                  <a:gd name="T81" fmla="*/ 309 h 1024"/>
                  <a:gd name="T82" fmla="*/ 1129 w 1181"/>
                  <a:gd name="T83" fmla="*/ 302 h 1024"/>
                  <a:gd name="T84" fmla="*/ 1152 w 1181"/>
                  <a:gd name="T85" fmla="*/ 287 h 1024"/>
                  <a:gd name="T86" fmla="*/ 1172 w 1181"/>
                  <a:gd name="T87" fmla="*/ 274 h 1024"/>
                  <a:gd name="T88" fmla="*/ 1180 w 1181"/>
                  <a:gd name="T89" fmla="*/ 265 h 1024"/>
                  <a:gd name="T90" fmla="*/ 1181 w 1181"/>
                  <a:gd name="T91" fmla="*/ 255 h 1024"/>
                  <a:gd name="T92" fmla="*/ 1177 w 1181"/>
                  <a:gd name="T93" fmla="*/ 181 h 1024"/>
                  <a:gd name="T94" fmla="*/ 1165 w 1181"/>
                  <a:gd name="T95" fmla="*/ 50 h 1024"/>
                  <a:gd name="T96" fmla="*/ 1159 w 1181"/>
                  <a:gd name="T97" fmla="*/ 0 h 1024"/>
                  <a:gd name="T98" fmla="*/ 1115 w 1181"/>
                  <a:gd name="T99" fmla="*/ 25 h 1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1" h="1024">
                    <a:moveTo>
                      <a:pt x="1115" y="25"/>
                    </a:moveTo>
                    <a:lnTo>
                      <a:pt x="1115" y="25"/>
                    </a:lnTo>
                    <a:lnTo>
                      <a:pt x="1106" y="29"/>
                    </a:lnTo>
                    <a:lnTo>
                      <a:pt x="1093" y="32"/>
                    </a:lnTo>
                    <a:lnTo>
                      <a:pt x="1057" y="38"/>
                    </a:lnTo>
                    <a:lnTo>
                      <a:pt x="1008" y="44"/>
                    </a:lnTo>
                    <a:lnTo>
                      <a:pt x="951" y="48"/>
                    </a:lnTo>
                    <a:lnTo>
                      <a:pt x="883" y="51"/>
                    </a:lnTo>
                    <a:lnTo>
                      <a:pt x="808" y="54"/>
                    </a:lnTo>
                    <a:lnTo>
                      <a:pt x="728" y="57"/>
                    </a:lnTo>
                    <a:lnTo>
                      <a:pt x="645" y="57"/>
                    </a:lnTo>
                    <a:lnTo>
                      <a:pt x="474" y="57"/>
                    </a:lnTo>
                    <a:lnTo>
                      <a:pt x="390" y="56"/>
                    </a:lnTo>
                    <a:lnTo>
                      <a:pt x="310" y="54"/>
                    </a:lnTo>
                    <a:lnTo>
                      <a:pt x="237" y="51"/>
                    </a:lnTo>
                    <a:lnTo>
                      <a:pt x="169" y="48"/>
                    </a:lnTo>
                    <a:lnTo>
                      <a:pt x="110" y="44"/>
                    </a:lnTo>
                    <a:lnTo>
                      <a:pt x="62" y="38"/>
                    </a:lnTo>
                    <a:lnTo>
                      <a:pt x="62" y="38"/>
                    </a:lnTo>
                    <a:lnTo>
                      <a:pt x="58" y="360"/>
                    </a:lnTo>
                    <a:lnTo>
                      <a:pt x="56" y="541"/>
                    </a:lnTo>
                    <a:lnTo>
                      <a:pt x="58" y="701"/>
                    </a:lnTo>
                    <a:lnTo>
                      <a:pt x="58" y="701"/>
                    </a:lnTo>
                    <a:lnTo>
                      <a:pt x="56" y="705"/>
                    </a:lnTo>
                    <a:lnTo>
                      <a:pt x="55" y="711"/>
                    </a:lnTo>
                    <a:lnTo>
                      <a:pt x="49" y="721"/>
                    </a:lnTo>
                    <a:lnTo>
                      <a:pt x="40" y="730"/>
                    </a:lnTo>
                    <a:lnTo>
                      <a:pt x="30" y="740"/>
                    </a:lnTo>
                    <a:lnTo>
                      <a:pt x="20" y="751"/>
                    </a:lnTo>
                    <a:lnTo>
                      <a:pt x="9" y="761"/>
                    </a:lnTo>
                    <a:lnTo>
                      <a:pt x="3" y="773"/>
                    </a:lnTo>
                    <a:lnTo>
                      <a:pt x="0" y="779"/>
                    </a:lnTo>
                    <a:lnTo>
                      <a:pt x="0" y="785"/>
                    </a:lnTo>
                    <a:lnTo>
                      <a:pt x="0" y="785"/>
                    </a:lnTo>
                    <a:lnTo>
                      <a:pt x="0" y="788"/>
                    </a:lnTo>
                    <a:lnTo>
                      <a:pt x="3" y="794"/>
                    </a:lnTo>
                    <a:lnTo>
                      <a:pt x="11" y="804"/>
                    </a:lnTo>
                    <a:lnTo>
                      <a:pt x="24" y="819"/>
                    </a:lnTo>
                    <a:lnTo>
                      <a:pt x="40" y="835"/>
                    </a:lnTo>
                    <a:lnTo>
                      <a:pt x="61" y="851"/>
                    </a:lnTo>
                    <a:lnTo>
                      <a:pt x="85" y="870"/>
                    </a:lnTo>
                    <a:lnTo>
                      <a:pt x="136" y="909"/>
                    </a:lnTo>
                    <a:lnTo>
                      <a:pt x="191" y="946"/>
                    </a:lnTo>
                    <a:lnTo>
                      <a:pt x="244" y="978"/>
                    </a:lnTo>
                    <a:lnTo>
                      <a:pt x="266" y="991"/>
                    </a:lnTo>
                    <a:lnTo>
                      <a:pt x="287" y="1002"/>
                    </a:lnTo>
                    <a:lnTo>
                      <a:pt x="304" y="1009"/>
                    </a:lnTo>
                    <a:lnTo>
                      <a:pt x="318" y="1014"/>
                    </a:lnTo>
                    <a:lnTo>
                      <a:pt x="318" y="1014"/>
                    </a:lnTo>
                    <a:lnTo>
                      <a:pt x="332" y="1016"/>
                    </a:lnTo>
                    <a:lnTo>
                      <a:pt x="353" y="1018"/>
                    </a:lnTo>
                    <a:lnTo>
                      <a:pt x="414" y="1021"/>
                    </a:lnTo>
                    <a:lnTo>
                      <a:pt x="492" y="1022"/>
                    </a:lnTo>
                    <a:lnTo>
                      <a:pt x="576" y="1024"/>
                    </a:lnTo>
                    <a:lnTo>
                      <a:pt x="662" y="1022"/>
                    </a:lnTo>
                    <a:lnTo>
                      <a:pt x="738" y="1021"/>
                    </a:lnTo>
                    <a:lnTo>
                      <a:pt x="800" y="1018"/>
                    </a:lnTo>
                    <a:lnTo>
                      <a:pt x="821" y="1016"/>
                    </a:lnTo>
                    <a:lnTo>
                      <a:pt x="836" y="1014"/>
                    </a:lnTo>
                    <a:lnTo>
                      <a:pt x="836" y="1014"/>
                    </a:lnTo>
                    <a:lnTo>
                      <a:pt x="849" y="1011"/>
                    </a:lnTo>
                    <a:lnTo>
                      <a:pt x="864" y="1005"/>
                    </a:lnTo>
                    <a:lnTo>
                      <a:pt x="899" y="988"/>
                    </a:lnTo>
                    <a:lnTo>
                      <a:pt x="940" y="966"/>
                    </a:lnTo>
                    <a:lnTo>
                      <a:pt x="985" y="941"/>
                    </a:lnTo>
                    <a:lnTo>
                      <a:pt x="1029" y="915"/>
                    </a:lnTo>
                    <a:lnTo>
                      <a:pt x="1067" y="891"/>
                    </a:lnTo>
                    <a:lnTo>
                      <a:pt x="1098" y="870"/>
                    </a:lnTo>
                    <a:lnTo>
                      <a:pt x="1118" y="856"/>
                    </a:lnTo>
                    <a:lnTo>
                      <a:pt x="1118" y="856"/>
                    </a:lnTo>
                    <a:lnTo>
                      <a:pt x="1121" y="850"/>
                    </a:lnTo>
                    <a:lnTo>
                      <a:pt x="1124" y="838"/>
                    </a:lnTo>
                    <a:lnTo>
                      <a:pt x="1126" y="822"/>
                    </a:lnTo>
                    <a:lnTo>
                      <a:pt x="1128" y="799"/>
                    </a:lnTo>
                    <a:lnTo>
                      <a:pt x="1129" y="743"/>
                    </a:lnTo>
                    <a:lnTo>
                      <a:pt x="1129" y="674"/>
                    </a:lnTo>
                    <a:lnTo>
                      <a:pt x="1129" y="593"/>
                    </a:lnTo>
                    <a:lnTo>
                      <a:pt x="1126" y="504"/>
                    </a:lnTo>
                    <a:lnTo>
                      <a:pt x="1121" y="321"/>
                    </a:lnTo>
                    <a:lnTo>
                      <a:pt x="1121" y="321"/>
                    </a:lnTo>
                    <a:lnTo>
                      <a:pt x="1121" y="315"/>
                    </a:lnTo>
                    <a:lnTo>
                      <a:pt x="1122" y="309"/>
                    </a:lnTo>
                    <a:lnTo>
                      <a:pt x="1125" y="305"/>
                    </a:lnTo>
                    <a:lnTo>
                      <a:pt x="1129" y="302"/>
                    </a:lnTo>
                    <a:lnTo>
                      <a:pt x="1140" y="295"/>
                    </a:lnTo>
                    <a:lnTo>
                      <a:pt x="1152" y="287"/>
                    </a:lnTo>
                    <a:lnTo>
                      <a:pt x="1162" y="280"/>
                    </a:lnTo>
                    <a:lnTo>
                      <a:pt x="1172" y="274"/>
                    </a:lnTo>
                    <a:lnTo>
                      <a:pt x="1177" y="270"/>
                    </a:lnTo>
                    <a:lnTo>
                      <a:pt x="1180" y="265"/>
                    </a:lnTo>
                    <a:lnTo>
                      <a:pt x="1181" y="261"/>
                    </a:lnTo>
                    <a:lnTo>
                      <a:pt x="1181" y="255"/>
                    </a:lnTo>
                    <a:lnTo>
                      <a:pt x="1181" y="255"/>
                    </a:lnTo>
                    <a:lnTo>
                      <a:pt x="1177" y="181"/>
                    </a:lnTo>
                    <a:lnTo>
                      <a:pt x="1171" y="112"/>
                    </a:lnTo>
                    <a:lnTo>
                      <a:pt x="1165" y="50"/>
                    </a:lnTo>
                    <a:lnTo>
                      <a:pt x="1159" y="0"/>
                    </a:lnTo>
                    <a:lnTo>
                      <a:pt x="1159" y="0"/>
                    </a:lnTo>
                    <a:lnTo>
                      <a:pt x="1115" y="25"/>
                    </a:lnTo>
                    <a:lnTo>
                      <a:pt x="1115" y="25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37000">
                    <a:srgbClr val="A39793"/>
                  </a:gs>
                  <a:gs pos="74000">
                    <a:schemeClr val="tx1">
                      <a:lumMod val="75000"/>
                      <a:lumOff val="25000"/>
                    </a:schemeClr>
                  </a:gs>
                  <a:gs pos="0">
                    <a:srgbClr val="55382D"/>
                  </a:gs>
                </a:gsLst>
                <a:lin ang="0" scaled="1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Rounded Rectangle 2"/>
              <p:cNvSpPr/>
              <p:nvPr>
                <p:custDataLst>
                  <p:tags r:id="rId4"/>
                </p:custDataLst>
              </p:nvPr>
            </p:nvSpPr>
            <p:spPr>
              <a:xfrm>
                <a:off x="5886559" y="4979308"/>
                <a:ext cx="435982" cy="118970"/>
              </a:xfrm>
              <a:custGeom>
                <a:avLst/>
                <a:gdLst/>
                <a:ahLst/>
                <a:cxnLst/>
                <a:rect l="l" t="t" r="r" b="b"/>
                <a:pathLst>
                  <a:path w="890094" h="242887">
                    <a:moveTo>
                      <a:pt x="872646" y="0"/>
                    </a:moveTo>
                    <a:lnTo>
                      <a:pt x="877405" y="39688"/>
                    </a:lnTo>
                    <a:lnTo>
                      <a:pt x="882163" y="88900"/>
                    </a:lnTo>
                    <a:lnTo>
                      <a:pt x="886922" y="143669"/>
                    </a:lnTo>
                    <a:lnTo>
                      <a:pt x="890094" y="202406"/>
                    </a:lnTo>
                    <a:lnTo>
                      <a:pt x="890094" y="207169"/>
                    </a:lnTo>
                    <a:lnTo>
                      <a:pt x="889301" y="210344"/>
                    </a:lnTo>
                    <a:lnTo>
                      <a:pt x="886922" y="214313"/>
                    </a:lnTo>
                    <a:lnTo>
                      <a:pt x="882956" y="217488"/>
                    </a:lnTo>
                    <a:lnTo>
                      <a:pt x="875026" y="222250"/>
                    </a:lnTo>
                    <a:lnTo>
                      <a:pt x="867095" y="227806"/>
                    </a:lnTo>
                    <a:lnTo>
                      <a:pt x="857578" y="234156"/>
                    </a:lnTo>
                    <a:lnTo>
                      <a:pt x="848854" y="239713"/>
                    </a:lnTo>
                    <a:lnTo>
                      <a:pt x="845682" y="242094"/>
                    </a:lnTo>
                    <a:lnTo>
                      <a:pt x="845087" y="242887"/>
                    </a:lnTo>
                    <a:lnTo>
                      <a:pt x="0" y="242887"/>
                    </a:lnTo>
                    <a:lnTo>
                      <a:pt x="2640" y="30163"/>
                    </a:lnTo>
                    <a:lnTo>
                      <a:pt x="40708" y="34925"/>
                    </a:lnTo>
                    <a:lnTo>
                      <a:pt x="87499" y="38100"/>
                    </a:lnTo>
                    <a:lnTo>
                      <a:pt x="141429" y="40481"/>
                    </a:lnTo>
                    <a:lnTo>
                      <a:pt x="199323" y="42863"/>
                    </a:lnTo>
                    <a:lnTo>
                      <a:pt x="262770" y="44450"/>
                    </a:lnTo>
                    <a:lnTo>
                      <a:pt x="329388" y="45244"/>
                    </a:lnTo>
                    <a:lnTo>
                      <a:pt x="465004" y="45244"/>
                    </a:lnTo>
                    <a:lnTo>
                      <a:pt x="530830" y="45244"/>
                    </a:lnTo>
                    <a:lnTo>
                      <a:pt x="594276" y="42863"/>
                    </a:lnTo>
                    <a:lnTo>
                      <a:pt x="653757" y="40481"/>
                    </a:lnTo>
                    <a:lnTo>
                      <a:pt x="707686" y="38100"/>
                    </a:lnTo>
                    <a:lnTo>
                      <a:pt x="752892" y="34925"/>
                    </a:lnTo>
                    <a:lnTo>
                      <a:pt x="791752" y="30163"/>
                    </a:lnTo>
                    <a:lnTo>
                      <a:pt x="820303" y="25400"/>
                    </a:lnTo>
                    <a:lnTo>
                      <a:pt x="830613" y="23019"/>
                    </a:lnTo>
                    <a:lnTo>
                      <a:pt x="837751" y="19844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lumMod val="85000"/>
                    </a:schemeClr>
                  </a:gs>
                  <a:gs pos="24000">
                    <a:srgbClr val="A39793">
                      <a:lumMod val="77000"/>
                    </a:srgbClr>
                  </a:gs>
                  <a:gs pos="84000">
                    <a:srgbClr val="887B77"/>
                  </a:gs>
                  <a:gs pos="63000">
                    <a:schemeClr val="bg1">
                      <a:lumMod val="85000"/>
                    </a:schemeClr>
                  </a:gs>
                  <a:gs pos="0">
                    <a:schemeClr val="bg1">
                      <a:lumMod val="7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859880" y="5127827"/>
                <a:ext cx="466550" cy="97198"/>
              </a:xfrm>
              <a:custGeom>
                <a:avLst/>
                <a:gdLst>
                  <a:gd name="T0" fmla="*/ 68 w 1201"/>
                  <a:gd name="T1" fmla="*/ 0 h 249"/>
                  <a:gd name="T2" fmla="*/ 44 w 1201"/>
                  <a:gd name="T3" fmla="*/ 16 h 249"/>
                  <a:gd name="T4" fmla="*/ 18 w 1201"/>
                  <a:gd name="T5" fmla="*/ 37 h 249"/>
                  <a:gd name="T6" fmla="*/ 3 w 1201"/>
                  <a:gd name="T7" fmla="*/ 54 h 249"/>
                  <a:gd name="T8" fmla="*/ 0 w 1201"/>
                  <a:gd name="T9" fmla="*/ 66 h 249"/>
                  <a:gd name="T10" fmla="*/ 0 w 1201"/>
                  <a:gd name="T11" fmla="*/ 71 h 249"/>
                  <a:gd name="T12" fmla="*/ 15 w 1201"/>
                  <a:gd name="T13" fmla="*/ 84 h 249"/>
                  <a:gd name="T14" fmla="*/ 49 w 1201"/>
                  <a:gd name="T15" fmla="*/ 100 h 249"/>
                  <a:gd name="T16" fmla="*/ 100 w 1201"/>
                  <a:gd name="T17" fmla="*/ 119 h 249"/>
                  <a:gd name="T18" fmla="*/ 170 w 1201"/>
                  <a:gd name="T19" fmla="*/ 140 h 249"/>
                  <a:gd name="T20" fmla="*/ 255 w 1201"/>
                  <a:gd name="T21" fmla="*/ 162 h 249"/>
                  <a:gd name="T22" fmla="*/ 357 w 1201"/>
                  <a:gd name="T23" fmla="*/ 183 h 249"/>
                  <a:gd name="T24" fmla="*/ 471 w 1201"/>
                  <a:gd name="T25" fmla="*/ 202 h 249"/>
                  <a:gd name="T26" fmla="*/ 598 w 1201"/>
                  <a:gd name="T27" fmla="*/ 220 h 249"/>
                  <a:gd name="T28" fmla="*/ 725 w 1201"/>
                  <a:gd name="T29" fmla="*/ 232 h 249"/>
                  <a:gd name="T30" fmla="*/ 942 w 1201"/>
                  <a:gd name="T31" fmla="*/ 246 h 249"/>
                  <a:gd name="T32" fmla="*/ 1100 w 1201"/>
                  <a:gd name="T33" fmla="*/ 249 h 249"/>
                  <a:gd name="T34" fmla="*/ 1172 w 1201"/>
                  <a:gd name="T35" fmla="*/ 243 h 249"/>
                  <a:gd name="T36" fmla="*/ 1197 w 1201"/>
                  <a:gd name="T37" fmla="*/ 237 h 249"/>
                  <a:gd name="T38" fmla="*/ 1200 w 1201"/>
                  <a:gd name="T39" fmla="*/ 234 h 249"/>
                  <a:gd name="T40" fmla="*/ 1201 w 1201"/>
                  <a:gd name="T41" fmla="*/ 230 h 249"/>
                  <a:gd name="T42" fmla="*/ 1197 w 1201"/>
                  <a:gd name="T43" fmla="*/ 220 h 249"/>
                  <a:gd name="T44" fmla="*/ 1179 w 1201"/>
                  <a:gd name="T45" fmla="*/ 199 h 249"/>
                  <a:gd name="T46" fmla="*/ 1145 w 1201"/>
                  <a:gd name="T47" fmla="*/ 171 h 249"/>
                  <a:gd name="T48" fmla="*/ 1116 w 1201"/>
                  <a:gd name="T49" fmla="*/ 150 h 249"/>
                  <a:gd name="T50" fmla="*/ 1107 w 1201"/>
                  <a:gd name="T51" fmla="*/ 147 h 249"/>
                  <a:gd name="T52" fmla="*/ 943 w 1201"/>
                  <a:gd name="T53" fmla="*/ 142 h 249"/>
                  <a:gd name="T54" fmla="*/ 781 w 1201"/>
                  <a:gd name="T55" fmla="*/ 131 h 249"/>
                  <a:gd name="T56" fmla="*/ 586 w 1201"/>
                  <a:gd name="T57" fmla="*/ 111 h 249"/>
                  <a:gd name="T58" fmla="*/ 525 w 1201"/>
                  <a:gd name="T59" fmla="*/ 103 h 249"/>
                  <a:gd name="T60" fmla="*/ 363 w 1201"/>
                  <a:gd name="T61" fmla="*/ 75 h 249"/>
                  <a:gd name="T62" fmla="*/ 201 w 1201"/>
                  <a:gd name="T63" fmla="*/ 40 h 249"/>
                  <a:gd name="T64" fmla="*/ 102 w 1201"/>
                  <a:gd name="T65" fmla="*/ 12 h 249"/>
                  <a:gd name="T66" fmla="*/ 68 w 1201"/>
                  <a:gd name="T67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01" h="249">
                    <a:moveTo>
                      <a:pt x="68" y="0"/>
                    </a:moveTo>
                    <a:lnTo>
                      <a:pt x="68" y="0"/>
                    </a:lnTo>
                    <a:lnTo>
                      <a:pt x="56" y="7"/>
                    </a:lnTo>
                    <a:lnTo>
                      <a:pt x="44" y="16"/>
                    </a:lnTo>
                    <a:lnTo>
                      <a:pt x="31" y="25"/>
                    </a:lnTo>
                    <a:lnTo>
                      <a:pt x="18" y="37"/>
                    </a:lnTo>
                    <a:lnTo>
                      <a:pt x="7" y="49"/>
                    </a:lnTo>
                    <a:lnTo>
                      <a:pt x="3" y="54"/>
                    </a:lnTo>
                    <a:lnTo>
                      <a:pt x="0" y="60"/>
                    </a:lnTo>
                    <a:lnTo>
                      <a:pt x="0" y="66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4" y="77"/>
                    </a:lnTo>
                    <a:lnTo>
                      <a:pt x="15" y="84"/>
                    </a:lnTo>
                    <a:lnTo>
                      <a:pt x="30" y="91"/>
                    </a:lnTo>
                    <a:lnTo>
                      <a:pt x="49" y="100"/>
                    </a:lnTo>
                    <a:lnTo>
                      <a:pt x="72" y="109"/>
                    </a:lnTo>
                    <a:lnTo>
                      <a:pt x="100" y="119"/>
                    </a:lnTo>
                    <a:lnTo>
                      <a:pt x="133" y="130"/>
                    </a:lnTo>
                    <a:lnTo>
                      <a:pt x="170" y="140"/>
                    </a:lnTo>
                    <a:lnTo>
                      <a:pt x="211" y="152"/>
                    </a:lnTo>
                    <a:lnTo>
                      <a:pt x="255" y="162"/>
                    </a:lnTo>
                    <a:lnTo>
                      <a:pt x="304" y="172"/>
                    </a:lnTo>
                    <a:lnTo>
                      <a:pt x="357" y="183"/>
                    </a:lnTo>
                    <a:lnTo>
                      <a:pt x="412" y="193"/>
                    </a:lnTo>
                    <a:lnTo>
                      <a:pt x="471" y="202"/>
                    </a:lnTo>
                    <a:lnTo>
                      <a:pt x="533" y="211"/>
                    </a:lnTo>
                    <a:lnTo>
                      <a:pt x="598" y="220"/>
                    </a:lnTo>
                    <a:lnTo>
                      <a:pt x="598" y="220"/>
                    </a:lnTo>
                    <a:lnTo>
                      <a:pt x="725" y="232"/>
                    </a:lnTo>
                    <a:lnTo>
                      <a:pt x="840" y="242"/>
                    </a:lnTo>
                    <a:lnTo>
                      <a:pt x="942" y="246"/>
                    </a:lnTo>
                    <a:lnTo>
                      <a:pt x="1029" y="249"/>
                    </a:lnTo>
                    <a:lnTo>
                      <a:pt x="1100" y="249"/>
                    </a:lnTo>
                    <a:lnTo>
                      <a:pt x="1153" y="246"/>
                    </a:lnTo>
                    <a:lnTo>
                      <a:pt x="1172" y="243"/>
                    </a:lnTo>
                    <a:lnTo>
                      <a:pt x="1187" y="240"/>
                    </a:lnTo>
                    <a:lnTo>
                      <a:pt x="1197" y="237"/>
                    </a:lnTo>
                    <a:lnTo>
                      <a:pt x="1198" y="236"/>
                    </a:lnTo>
                    <a:lnTo>
                      <a:pt x="1200" y="234"/>
                    </a:lnTo>
                    <a:lnTo>
                      <a:pt x="1200" y="234"/>
                    </a:lnTo>
                    <a:lnTo>
                      <a:pt x="1201" y="230"/>
                    </a:lnTo>
                    <a:lnTo>
                      <a:pt x="1200" y="226"/>
                    </a:lnTo>
                    <a:lnTo>
                      <a:pt x="1197" y="220"/>
                    </a:lnTo>
                    <a:lnTo>
                      <a:pt x="1191" y="212"/>
                    </a:lnTo>
                    <a:lnTo>
                      <a:pt x="1179" y="199"/>
                    </a:lnTo>
                    <a:lnTo>
                      <a:pt x="1163" y="184"/>
                    </a:lnTo>
                    <a:lnTo>
                      <a:pt x="1145" y="171"/>
                    </a:lnTo>
                    <a:lnTo>
                      <a:pt x="1129" y="159"/>
                    </a:lnTo>
                    <a:lnTo>
                      <a:pt x="1116" y="150"/>
                    </a:lnTo>
                    <a:lnTo>
                      <a:pt x="1107" y="147"/>
                    </a:lnTo>
                    <a:lnTo>
                      <a:pt x="1107" y="147"/>
                    </a:lnTo>
                    <a:lnTo>
                      <a:pt x="1057" y="146"/>
                    </a:lnTo>
                    <a:lnTo>
                      <a:pt x="943" y="142"/>
                    </a:lnTo>
                    <a:lnTo>
                      <a:pt x="868" y="139"/>
                    </a:lnTo>
                    <a:lnTo>
                      <a:pt x="781" y="131"/>
                    </a:lnTo>
                    <a:lnTo>
                      <a:pt x="688" y="122"/>
                    </a:lnTo>
                    <a:lnTo>
                      <a:pt x="586" y="111"/>
                    </a:lnTo>
                    <a:lnTo>
                      <a:pt x="586" y="111"/>
                    </a:lnTo>
                    <a:lnTo>
                      <a:pt x="525" y="103"/>
                    </a:lnTo>
                    <a:lnTo>
                      <a:pt x="468" y="93"/>
                    </a:lnTo>
                    <a:lnTo>
                      <a:pt x="363" y="75"/>
                    </a:lnTo>
                    <a:lnTo>
                      <a:pt x="275" y="56"/>
                    </a:lnTo>
                    <a:lnTo>
                      <a:pt x="201" y="40"/>
                    </a:lnTo>
                    <a:lnTo>
                      <a:pt x="143" y="23"/>
                    </a:lnTo>
                    <a:lnTo>
                      <a:pt x="102" y="12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" name="Freeform 9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5856769" y="5053179"/>
                <a:ext cx="470438" cy="105751"/>
              </a:xfrm>
              <a:custGeom>
                <a:avLst/>
                <a:gdLst>
                  <a:gd name="T0" fmla="*/ 79 w 1210"/>
                  <a:gd name="T1" fmla="*/ 0 h 274"/>
                  <a:gd name="T2" fmla="*/ 53 w 1210"/>
                  <a:gd name="T3" fmla="*/ 18 h 274"/>
                  <a:gd name="T4" fmla="*/ 22 w 1210"/>
                  <a:gd name="T5" fmla="*/ 43 h 274"/>
                  <a:gd name="T6" fmla="*/ 6 w 1210"/>
                  <a:gd name="T7" fmla="*/ 62 h 274"/>
                  <a:gd name="T8" fmla="*/ 0 w 1210"/>
                  <a:gd name="T9" fmla="*/ 76 h 274"/>
                  <a:gd name="T10" fmla="*/ 1 w 1210"/>
                  <a:gd name="T11" fmla="*/ 82 h 274"/>
                  <a:gd name="T12" fmla="*/ 6 w 1210"/>
                  <a:gd name="T13" fmla="*/ 89 h 274"/>
                  <a:gd name="T14" fmla="*/ 34 w 1210"/>
                  <a:gd name="T15" fmla="*/ 105 h 274"/>
                  <a:gd name="T16" fmla="*/ 87 w 1210"/>
                  <a:gd name="T17" fmla="*/ 127 h 274"/>
                  <a:gd name="T18" fmla="*/ 159 w 1210"/>
                  <a:gd name="T19" fmla="*/ 151 h 274"/>
                  <a:gd name="T20" fmla="*/ 249 w 1210"/>
                  <a:gd name="T21" fmla="*/ 176 h 274"/>
                  <a:gd name="T22" fmla="*/ 354 w 1210"/>
                  <a:gd name="T23" fmla="*/ 200 h 274"/>
                  <a:gd name="T24" fmla="*/ 469 w 1210"/>
                  <a:gd name="T25" fmla="*/ 222 h 274"/>
                  <a:gd name="T26" fmla="*/ 593 w 1210"/>
                  <a:gd name="T27" fmla="*/ 238 h 274"/>
                  <a:gd name="T28" fmla="*/ 656 w 1210"/>
                  <a:gd name="T29" fmla="*/ 245 h 274"/>
                  <a:gd name="T30" fmla="*/ 890 w 1210"/>
                  <a:gd name="T31" fmla="*/ 265 h 274"/>
                  <a:gd name="T32" fmla="*/ 1061 w 1210"/>
                  <a:gd name="T33" fmla="*/ 274 h 274"/>
                  <a:gd name="T34" fmla="*/ 1167 w 1210"/>
                  <a:gd name="T35" fmla="*/ 271 h 274"/>
                  <a:gd name="T36" fmla="*/ 1197 w 1210"/>
                  <a:gd name="T37" fmla="*/ 266 h 274"/>
                  <a:gd name="T38" fmla="*/ 1208 w 1210"/>
                  <a:gd name="T39" fmla="*/ 259 h 274"/>
                  <a:gd name="T40" fmla="*/ 1210 w 1210"/>
                  <a:gd name="T41" fmla="*/ 253 h 274"/>
                  <a:gd name="T42" fmla="*/ 1204 w 1210"/>
                  <a:gd name="T43" fmla="*/ 241 h 274"/>
                  <a:gd name="T44" fmla="*/ 1182 w 1210"/>
                  <a:gd name="T45" fmla="*/ 219 h 274"/>
                  <a:gd name="T46" fmla="*/ 1143 w 1210"/>
                  <a:gd name="T47" fmla="*/ 189 h 274"/>
                  <a:gd name="T48" fmla="*/ 1108 w 1210"/>
                  <a:gd name="T49" fmla="*/ 167 h 274"/>
                  <a:gd name="T50" fmla="*/ 1071 w 1210"/>
                  <a:gd name="T51" fmla="*/ 166 h 274"/>
                  <a:gd name="T52" fmla="*/ 890 w 1210"/>
                  <a:gd name="T53" fmla="*/ 155 h 274"/>
                  <a:gd name="T54" fmla="*/ 702 w 1210"/>
                  <a:gd name="T55" fmla="*/ 139 h 274"/>
                  <a:gd name="T56" fmla="*/ 591 w 1210"/>
                  <a:gd name="T57" fmla="*/ 126 h 274"/>
                  <a:gd name="T58" fmla="*/ 462 w 1210"/>
                  <a:gd name="T59" fmla="*/ 108 h 274"/>
                  <a:gd name="T60" fmla="*/ 354 w 1210"/>
                  <a:gd name="T61" fmla="*/ 88 h 274"/>
                  <a:gd name="T62" fmla="*/ 265 w 1210"/>
                  <a:gd name="T63" fmla="*/ 67 h 274"/>
                  <a:gd name="T64" fmla="*/ 196 w 1210"/>
                  <a:gd name="T65" fmla="*/ 46 h 274"/>
                  <a:gd name="T66" fmla="*/ 107 w 1210"/>
                  <a:gd name="T67" fmla="*/ 14 h 274"/>
                  <a:gd name="T68" fmla="*/ 79 w 1210"/>
                  <a:gd name="T69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10" h="274">
                    <a:moveTo>
                      <a:pt x="79" y="0"/>
                    </a:moveTo>
                    <a:lnTo>
                      <a:pt x="79" y="0"/>
                    </a:lnTo>
                    <a:lnTo>
                      <a:pt x="66" y="9"/>
                    </a:lnTo>
                    <a:lnTo>
                      <a:pt x="53" y="18"/>
                    </a:lnTo>
                    <a:lnTo>
                      <a:pt x="38" y="30"/>
                    </a:lnTo>
                    <a:lnTo>
                      <a:pt x="22" y="43"/>
                    </a:lnTo>
                    <a:lnTo>
                      <a:pt x="10" y="57"/>
                    </a:lnTo>
                    <a:lnTo>
                      <a:pt x="6" y="62"/>
                    </a:lnTo>
                    <a:lnTo>
                      <a:pt x="3" y="70"/>
                    </a:lnTo>
                    <a:lnTo>
                      <a:pt x="0" y="76"/>
                    </a:lnTo>
                    <a:lnTo>
                      <a:pt x="1" y="82"/>
                    </a:lnTo>
                    <a:lnTo>
                      <a:pt x="1" y="82"/>
                    </a:lnTo>
                    <a:lnTo>
                      <a:pt x="3" y="85"/>
                    </a:lnTo>
                    <a:lnTo>
                      <a:pt x="6" y="89"/>
                    </a:lnTo>
                    <a:lnTo>
                      <a:pt x="16" y="96"/>
                    </a:lnTo>
                    <a:lnTo>
                      <a:pt x="34" y="105"/>
                    </a:lnTo>
                    <a:lnTo>
                      <a:pt x="57" y="116"/>
                    </a:lnTo>
                    <a:lnTo>
                      <a:pt x="87" y="127"/>
                    </a:lnTo>
                    <a:lnTo>
                      <a:pt x="121" y="139"/>
                    </a:lnTo>
                    <a:lnTo>
                      <a:pt x="159" y="151"/>
                    </a:lnTo>
                    <a:lnTo>
                      <a:pt x="202" y="163"/>
                    </a:lnTo>
                    <a:lnTo>
                      <a:pt x="249" y="176"/>
                    </a:lnTo>
                    <a:lnTo>
                      <a:pt x="299" y="188"/>
                    </a:lnTo>
                    <a:lnTo>
                      <a:pt x="354" y="200"/>
                    </a:lnTo>
                    <a:lnTo>
                      <a:pt x="410" y="210"/>
                    </a:lnTo>
                    <a:lnTo>
                      <a:pt x="469" y="222"/>
                    </a:lnTo>
                    <a:lnTo>
                      <a:pt x="529" y="231"/>
                    </a:lnTo>
                    <a:lnTo>
                      <a:pt x="593" y="238"/>
                    </a:lnTo>
                    <a:lnTo>
                      <a:pt x="656" y="245"/>
                    </a:lnTo>
                    <a:lnTo>
                      <a:pt x="656" y="245"/>
                    </a:lnTo>
                    <a:lnTo>
                      <a:pt x="780" y="257"/>
                    </a:lnTo>
                    <a:lnTo>
                      <a:pt x="890" y="265"/>
                    </a:lnTo>
                    <a:lnTo>
                      <a:pt x="984" y="271"/>
                    </a:lnTo>
                    <a:lnTo>
                      <a:pt x="1061" y="274"/>
                    </a:lnTo>
                    <a:lnTo>
                      <a:pt x="1121" y="274"/>
                    </a:lnTo>
                    <a:lnTo>
                      <a:pt x="1167" y="271"/>
                    </a:lnTo>
                    <a:lnTo>
                      <a:pt x="1183" y="269"/>
                    </a:lnTo>
                    <a:lnTo>
                      <a:pt x="1197" y="266"/>
                    </a:lnTo>
                    <a:lnTo>
                      <a:pt x="1204" y="262"/>
                    </a:lnTo>
                    <a:lnTo>
                      <a:pt x="1208" y="259"/>
                    </a:lnTo>
                    <a:lnTo>
                      <a:pt x="1208" y="259"/>
                    </a:lnTo>
                    <a:lnTo>
                      <a:pt x="1210" y="253"/>
                    </a:lnTo>
                    <a:lnTo>
                      <a:pt x="1208" y="247"/>
                    </a:lnTo>
                    <a:lnTo>
                      <a:pt x="1204" y="241"/>
                    </a:lnTo>
                    <a:lnTo>
                      <a:pt x="1198" y="234"/>
                    </a:lnTo>
                    <a:lnTo>
                      <a:pt x="1182" y="219"/>
                    </a:lnTo>
                    <a:lnTo>
                      <a:pt x="1163" y="204"/>
                    </a:lnTo>
                    <a:lnTo>
                      <a:pt x="1143" y="189"/>
                    </a:lnTo>
                    <a:lnTo>
                      <a:pt x="1126" y="178"/>
                    </a:lnTo>
                    <a:lnTo>
                      <a:pt x="1108" y="167"/>
                    </a:lnTo>
                    <a:lnTo>
                      <a:pt x="1108" y="167"/>
                    </a:lnTo>
                    <a:lnTo>
                      <a:pt x="1071" y="166"/>
                    </a:lnTo>
                    <a:lnTo>
                      <a:pt x="965" y="160"/>
                    </a:lnTo>
                    <a:lnTo>
                      <a:pt x="890" y="155"/>
                    </a:lnTo>
                    <a:lnTo>
                      <a:pt x="803" y="148"/>
                    </a:lnTo>
                    <a:lnTo>
                      <a:pt x="702" y="139"/>
                    </a:lnTo>
                    <a:lnTo>
                      <a:pt x="591" y="126"/>
                    </a:lnTo>
                    <a:lnTo>
                      <a:pt x="591" y="126"/>
                    </a:lnTo>
                    <a:lnTo>
                      <a:pt x="524" y="117"/>
                    </a:lnTo>
                    <a:lnTo>
                      <a:pt x="462" y="108"/>
                    </a:lnTo>
                    <a:lnTo>
                      <a:pt x="406" y="98"/>
                    </a:lnTo>
                    <a:lnTo>
                      <a:pt x="354" y="88"/>
                    </a:lnTo>
                    <a:lnTo>
                      <a:pt x="307" y="77"/>
                    </a:lnTo>
                    <a:lnTo>
                      <a:pt x="265" y="67"/>
                    </a:lnTo>
                    <a:lnTo>
                      <a:pt x="228" y="57"/>
                    </a:lnTo>
                    <a:lnTo>
                      <a:pt x="196" y="46"/>
                    </a:lnTo>
                    <a:lnTo>
                      <a:pt x="143" y="29"/>
                    </a:lnTo>
                    <a:lnTo>
                      <a:pt x="107" y="14"/>
                    </a:lnTo>
                    <a:lnTo>
                      <a:pt x="87" y="3"/>
                    </a:lnTo>
                    <a:lnTo>
                      <a:pt x="79" y="0"/>
                    </a:lnTo>
                    <a:lnTo>
                      <a:pt x="79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" name="Freeform 10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5855992" y="4994860"/>
                <a:ext cx="470438" cy="94865"/>
              </a:xfrm>
              <a:custGeom>
                <a:avLst/>
                <a:gdLst>
                  <a:gd name="T0" fmla="*/ 90 w 1210"/>
                  <a:gd name="T1" fmla="*/ 0 h 244"/>
                  <a:gd name="T2" fmla="*/ 90 w 1210"/>
                  <a:gd name="T3" fmla="*/ 0 h 244"/>
                  <a:gd name="T4" fmla="*/ 75 w 1210"/>
                  <a:gd name="T5" fmla="*/ 5 h 244"/>
                  <a:gd name="T6" fmla="*/ 46 w 1210"/>
                  <a:gd name="T7" fmla="*/ 18 h 244"/>
                  <a:gd name="T8" fmla="*/ 28 w 1210"/>
                  <a:gd name="T9" fmla="*/ 27 h 244"/>
                  <a:gd name="T10" fmla="*/ 15 w 1210"/>
                  <a:gd name="T11" fmla="*/ 36 h 244"/>
                  <a:gd name="T12" fmla="*/ 9 w 1210"/>
                  <a:gd name="T13" fmla="*/ 40 h 244"/>
                  <a:gd name="T14" fmla="*/ 5 w 1210"/>
                  <a:gd name="T15" fmla="*/ 45 h 244"/>
                  <a:gd name="T16" fmla="*/ 2 w 1210"/>
                  <a:gd name="T17" fmla="*/ 49 h 244"/>
                  <a:gd name="T18" fmla="*/ 0 w 1210"/>
                  <a:gd name="T19" fmla="*/ 54 h 244"/>
                  <a:gd name="T20" fmla="*/ 0 w 1210"/>
                  <a:gd name="T21" fmla="*/ 54 h 244"/>
                  <a:gd name="T22" fmla="*/ 0 w 1210"/>
                  <a:gd name="T23" fmla="*/ 56 h 244"/>
                  <a:gd name="T24" fmla="*/ 3 w 1210"/>
                  <a:gd name="T25" fmla="*/ 59 h 244"/>
                  <a:gd name="T26" fmla="*/ 13 w 1210"/>
                  <a:gd name="T27" fmla="*/ 67 h 244"/>
                  <a:gd name="T28" fmla="*/ 30 w 1210"/>
                  <a:gd name="T29" fmla="*/ 74 h 244"/>
                  <a:gd name="T30" fmla="*/ 52 w 1210"/>
                  <a:gd name="T31" fmla="*/ 85 h 244"/>
                  <a:gd name="T32" fmla="*/ 78 w 1210"/>
                  <a:gd name="T33" fmla="*/ 95 h 244"/>
                  <a:gd name="T34" fmla="*/ 112 w 1210"/>
                  <a:gd name="T35" fmla="*/ 105 h 244"/>
                  <a:gd name="T36" fmla="*/ 191 w 1210"/>
                  <a:gd name="T37" fmla="*/ 130 h 244"/>
                  <a:gd name="T38" fmla="*/ 285 w 1210"/>
                  <a:gd name="T39" fmla="*/ 154 h 244"/>
                  <a:gd name="T40" fmla="*/ 335 w 1210"/>
                  <a:gd name="T41" fmla="*/ 167 h 244"/>
                  <a:gd name="T42" fmla="*/ 390 w 1210"/>
                  <a:gd name="T43" fmla="*/ 179 h 244"/>
                  <a:gd name="T44" fmla="*/ 446 w 1210"/>
                  <a:gd name="T45" fmla="*/ 191 h 244"/>
                  <a:gd name="T46" fmla="*/ 503 w 1210"/>
                  <a:gd name="T47" fmla="*/ 201 h 244"/>
                  <a:gd name="T48" fmla="*/ 562 w 1210"/>
                  <a:gd name="T49" fmla="*/ 210 h 244"/>
                  <a:gd name="T50" fmla="*/ 623 w 1210"/>
                  <a:gd name="T51" fmla="*/ 219 h 244"/>
                  <a:gd name="T52" fmla="*/ 623 w 1210"/>
                  <a:gd name="T53" fmla="*/ 219 h 244"/>
                  <a:gd name="T54" fmla="*/ 682 w 1210"/>
                  <a:gd name="T55" fmla="*/ 226 h 244"/>
                  <a:gd name="T56" fmla="*/ 740 w 1210"/>
                  <a:gd name="T57" fmla="*/ 232 h 244"/>
                  <a:gd name="T58" fmla="*/ 794 w 1210"/>
                  <a:gd name="T59" fmla="*/ 237 h 244"/>
                  <a:gd name="T60" fmla="*/ 847 w 1210"/>
                  <a:gd name="T61" fmla="*/ 239 h 244"/>
                  <a:gd name="T62" fmla="*/ 898 w 1210"/>
                  <a:gd name="T63" fmla="*/ 242 h 244"/>
                  <a:gd name="T64" fmla="*/ 945 w 1210"/>
                  <a:gd name="T65" fmla="*/ 242 h 244"/>
                  <a:gd name="T66" fmla="*/ 989 w 1210"/>
                  <a:gd name="T67" fmla="*/ 244 h 244"/>
                  <a:gd name="T68" fmla="*/ 1030 w 1210"/>
                  <a:gd name="T69" fmla="*/ 242 h 244"/>
                  <a:gd name="T70" fmla="*/ 1067 w 1210"/>
                  <a:gd name="T71" fmla="*/ 241 h 244"/>
                  <a:gd name="T72" fmla="*/ 1101 w 1210"/>
                  <a:gd name="T73" fmla="*/ 238 h 244"/>
                  <a:gd name="T74" fmla="*/ 1131 w 1210"/>
                  <a:gd name="T75" fmla="*/ 237 h 244"/>
                  <a:gd name="T76" fmla="*/ 1156 w 1210"/>
                  <a:gd name="T77" fmla="*/ 232 h 244"/>
                  <a:gd name="T78" fmla="*/ 1178 w 1210"/>
                  <a:gd name="T79" fmla="*/ 229 h 244"/>
                  <a:gd name="T80" fmla="*/ 1193 w 1210"/>
                  <a:gd name="T81" fmla="*/ 225 h 244"/>
                  <a:gd name="T82" fmla="*/ 1204 w 1210"/>
                  <a:gd name="T83" fmla="*/ 220 h 244"/>
                  <a:gd name="T84" fmla="*/ 1210 w 1210"/>
                  <a:gd name="T85" fmla="*/ 216 h 244"/>
                  <a:gd name="T86" fmla="*/ 1210 w 1210"/>
                  <a:gd name="T87" fmla="*/ 216 h 244"/>
                  <a:gd name="T88" fmla="*/ 1210 w 1210"/>
                  <a:gd name="T89" fmla="*/ 213 h 244"/>
                  <a:gd name="T90" fmla="*/ 1209 w 1210"/>
                  <a:gd name="T91" fmla="*/ 211 h 244"/>
                  <a:gd name="T92" fmla="*/ 1199 w 1210"/>
                  <a:gd name="T93" fmla="*/ 209 h 244"/>
                  <a:gd name="T94" fmla="*/ 1181 w 1210"/>
                  <a:gd name="T95" fmla="*/ 206 h 244"/>
                  <a:gd name="T96" fmla="*/ 1157 w 1210"/>
                  <a:gd name="T97" fmla="*/ 201 h 244"/>
                  <a:gd name="T98" fmla="*/ 1092 w 1210"/>
                  <a:gd name="T99" fmla="*/ 192 h 244"/>
                  <a:gd name="T100" fmla="*/ 1010 w 1210"/>
                  <a:gd name="T101" fmla="*/ 182 h 244"/>
                  <a:gd name="T102" fmla="*/ 917 w 1210"/>
                  <a:gd name="T103" fmla="*/ 172 h 244"/>
                  <a:gd name="T104" fmla="*/ 816 w 1210"/>
                  <a:gd name="T105" fmla="*/ 158 h 244"/>
                  <a:gd name="T106" fmla="*/ 715 w 1210"/>
                  <a:gd name="T107" fmla="*/ 142 h 244"/>
                  <a:gd name="T108" fmla="*/ 666 w 1210"/>
                  <a:gd name="T109" fmla="*/ 135 h 244"/>
                  <a:gd name="T110" fmla="*/ 619 w 1210"/>
                  <a:gd name="T111" fmla="*/ 126 h 244"/>
                  <a:gd name="T112" fmla="*/ 619 w 1210"/>
                  <a:gd name="T113" fmla="*/ 126 h 244"/>
                  <a:gd name="T114" fmla="*/ 534 w 1210"/>
                  <a:gd name="T115" fmla="*/ 108 h 244"/>
                  <a:gd name="T116" fmla="*/ 446 w 1210"/>
                  <a:gd name="T117" fmla="*/ 87 h 244"/>
                  <a:gd name="T118" fmla="*/ 275 w 1210"/>
                  <a:gd name="T119" fmla="*/ 48 h 244"/>
                  <a:gd name="T120" fmla="*/ 142 w 1210"/>
                  <a:gd name="T121" fmla="*/ 14 h 244"/>
                  <a:gd name="T122" fmla="*/ 90 w 1210"/>
                  <a:gd name="T123" fmla="*/ 0 h 244"/>
                  <a:gd name="T124" fmla="*/ 90 w 1210"/>
                  <a:gd name="T125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10" h="244">
                    <a:moveTo>
                      <a:pt x="90" y="0"/>
                    </a:moveTo>
                    <a:lnTo>
                      <a:pt x="90" y="0"/>
                    </a:lnTo>
                    <a:lnTo>
                      <a:pt x="75" y="5"/>
                    </a:lnTo>
                    <a:lnTo>
                      <a:pt x="46" y="18"/>
                    </a:lnTo>
                    <a:lnTo>
                      <a:pt x="28" y="27"/>
                    </a:lnTo>
                    <a:lnTo>
                      <a:pt x="15" y="36"/>
                    </a:lnTo>
                    <a:lnTo>
                      <a:pt x="9" y="40"/>
                    </a:lnTo>
                    <a:lnTo>
                      <a:pt x="5" y="45"/>
                    </a:lnTo>
                    <a:lnTo>
                      <a:pt x="2" y="49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3" y="59"/>
                    </a:lnTo>
                    <a:lnTo>
                      <a:pt x="13" y="67"/>
                    </a:lnTo>
                    <a:lnTo>
                      <a:pt x="30" y="74"/>
                    </a:lnTo>
                    <a:lnTo>
                      <a:pt x="52" y="85"/>
                    </a:lnTo>
                    <a:lnTo>
                      <a:pt x="78" y="95"/>
                    </a:lnTo>
                    <a:lnTo>
                      <a:pt x="112" y="105"/>
                    </a:lnTo>
                    <a:lnTo>
                      <a:pt x="191" y="130"/>
                    </a:lnTo>
                    <a:lnTo>
                      <a:pt x="285" y="154"/>
                    </a:lnTo>
                    <a:lnTo>
                      <a:pt x="335" y="167"/>
                    </a:lnTo>
                    <a:lnTo>
                      <a:pt x="390" y="179"/>
                    </a:lnTo>
                    <a:lnTo>
                      <a:pt x="446" y="191"/>
                    </a:lnTo>
                    <a:lnTo>
                      <a:pt x="503" y="201"/>
                    </a:lnTo>
                    <a:lnTo>
                      <a:pt x="562" y="210"/>
                    </a:lnTo>
                    <a:lnTo>
                      <a:pt x="623" y="219"/>
                    </a:lnTo>
                    <a:lnTo>
                      <a:pt x="623" y="219"/>
                    </a:lnTo>
                    <a:lnTo>
                      <a:pt x="682" y="226"/>
                    </a:lnTo>
                    <a:lnTo>
                      <a:pt x="740" y="232"/>
                    </a:lnTo>
                    <a:lnTo>
                      <a:pt x="794" y="237"/>
                    </a:lnTo>
                    <a:lnTo>
                      <a:pt x="847" y="239"/>
                    </a:lnTo>
                    <a:lnTo>
                      <a:pt x="898" y="242"/>
                    </a:lnTo>
                    <a:lnTo>
                      <a:pt x="945" y="242"/>
                    </a:lnTo>
                    <a:lnTo>
                      <a:pt x="989" y="244"/>
                    </a:lnTo>
                    <a:lnTo>
                      <a:pt x="1030" y="242"/>
                    </a:lnTo>
                    <a:lnTo>
                      <a:pt x="1067" y="241"/>
                    </a:lnTo>
                    <a:lnTo>
                      <a:pt x="1101" y="238"/>
                    </a:lnTo>
                    <a:lnTo>
                      <a:pt x="1131" y="237"/>
                    </a:lnTo>
                    <a:lnTo>
                      <a:pt x="1156" y="232"/>
                    </a:lnTo>
                    <a:lnTo>
                      <a:pt x="1178" y="229"/>
                    </a:lnTo>
                    <a:lnTo>
                      <a:pt x="1193" y="225"/>
                    </a:lnTo>
                    <a:lnTo>
                      <a:pt x="1204" y="220"/>
                    </a:lnTo>
                    <a:lnTo>
                      <a:pt x="1210" y="216"/>
                    </a:lnTo>
                    <a:lnTo>
                      <a:pt x="1210" y="216"/>
                    </a:lnTo>
                    <a:lnTo>
                      <a:pt x="1210" y="213"/>
                    </a:lnTo>
                    <a:lnTo>
                      <a:pt x="1209" y="211"/>
                    </a:lnTo>
                    <a:lnTo>
                      <a:pt x="1199" y="209"/>
                    </a:lnTo>
                    <a:lnTo>
                      <a:pt x="1181" y="206"/>
                    </a:lnTo>
                    <a:lnTo>
                      <a:pt x="1157" y="201"/>
                    </a:lnTo>
                    <a:lnTo>
                      <a:pt x="1092" y="192"/>
                    </a:lnTo>
                    <a:lnTo>
                      <a:pt x="1010" y="182"/>
                    </a:lnTo>
                    <a:lnTo>
                      <a:pt x="917" y="172"/>
                    </a:lnTo>
                    <a:lnTo>
                      <a:pt x="816" y="158"/>
                    </a:lnTo>
                    <a:lnTo>
                      <a:pt x="715" y="142"/>
                    </a:lnTo>
                    <a:lnTo>
                      <a:pt x="666" y="135"/>
                    </a:lnTo>
                    <a:lnTo>
                      <a:pt x="619" y="126"/>
                    </a:lnTo>
                    <a:lnTo>
                      <a:pt x="619" y="126"/>
                    </a:lnTo>
                    <a:lnTo>
                      <a:pt x="534" y="108"/>
                    </a:lnTo>
                    <a:lnTo>
                      <a:pt x="446" y="87"/>
                    </a:lnTo>
                    <a:lnTo>
                      <a:pt x="275" y="48"/>
                    </a:lnTo>
                    <a:lnTo>
                      <a:pt x="142" y="14"/>
                    </a:lnTo>
                    <a:lnTo>
                      <a:pt x="90" y="0"/>
                    </a:lnTo>
                    <a:lnTo>
                      <a:pt x="90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" name="Freeform 11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5978072" y="5368952"/>
                <a:ext cx="214613" cy="63614"/>
              </a:xfrm>
              <a:custGeom>
                <a:avLst/>
                <a:gdLst>
                  <a:gd name="T0" fmla="*/ 542 w 554"/>
                  <a:gd name="T1" fmla="*/ 9 h 162"/>
                  <a:gd name="T2" fmla="*/ 542 w 554"/>
                  <a:gd name="T3" fmla="*/ 9 h 162"/>
                  <a:gd name="T4" fmla="*/ 527 w 554"/>
                  <a:gd name="T5" fmla="*/ 11 h 162"/>
                  <a:gd name="T6" fmla="*/ 506 w 554"/>
                  <a:gd name="T7" fmla="*/ 13 h 162"/>
                  <a:gd name="T8" fmla="*/ 444 w 554"/>
                  <a:gd name="T9" fmla="*/ 16 h 162"/>
                  <a:gd name="T10" fmla="*/ 368 w 554"/>
                  <a:gd name="T11" fmla="*/ 17 h 162"/>
                  <a:gd name="T12" fmla="*/ 282 w 554"/>
                  <a:gd name="T13" fmla="*/ 19 h 162"/>
                  <a:gd name="T14" fmla="*/ 198 w 554"/>
                  <a:gd name="T15" fmla="*/ 17 h 162"/>
                  <a:gd name="T16" fmla="*/ 120 w 554"/>
                  <a:gd name="T17" fmla="*/ 16 h 162"/>
                  <a:gd name="T18" fmla="*/ 59 w 554"/>
                  <a:gd name="T19" fmla="*/ 13 h 162"/>
                  <a:gd name="T20" fmla="*/ 38 w 554"/>
                  <a:gd name="T21" fmla="*/ 11 h 162"/>
                  <a:gd name="T22" fmla="*/ 24 w 554"/>
                  <a:gd name="T23" fmla="*/ 9 h 162"/>
                  <a:gd name="T24" fmla="*/ 24 w 554"/>
                  <a:gd name="T25" fmla="*/ 9 h 162"/>
                  <a:gd name="T26" fmla="*/ 13 w 554"/>
                  <a:gd name="T27" fmla="*/ 6 h 162"/>
                  <a:gd name="T28" fmla="*/ 0 w 554"/>
                  <a:gd name="T29" fmla="*/ 0 h 162"/>
                  <a:gd name="T30" fmla="*/ 0 w 554"/>
                  <a:gd name="T31" fmla="*/ 0 h 162"/>
                  <a:gd name="T32" fmla="*/ 24 w 554"/>
                  <a:gd name="T33" fmla="*/ 19 h 162"/>
                  <a:gd name="T34" fmla="*/ 56 w 554"/>
                  <a:gd name="T35" fmla="*/ 42 h 162"/>
                  <a:gd name="T36" fmla="*/ 93 w 554"/>
                  <a:gd name="T37" fmla="*/ 68 h 162"/>
                  <a:gd name="T38" fmla="*/ 131 w 554"/>
                  <a:gd name="T39" fmla="*/ 93 h 162"/>
                  <a:gd name="T40" fmla="*/ 201 w 554"/>
                  <a:gd name="T41" fmla="*/ 135 h 162"/>
                  <a:gd name="T42" fmla="*/ 236 w 554"/>
                  <a:gd name="T43" fmla="*/ 158 h 162"/>
                  <a:gd name="T44" fmla="*/ 236 w 554"/>
                  <a:gd name="T45" fmla="*/ 158 h 162"/>
                  <a:gd name="T46" fmla="*/ 244 w 554"/>
                  <a:gd name="T47" fmla="*/ 159 h 162"/>
                  <a:gd name="T48" fmla="*/ 254 w 554"/>
                  <a:gd name="T49" fmla="*/ 161 h 162"/>
                  <a:gd name="T50" fmla="*/ 279 w 554"/>
                  <a:gd name="T51" fmla="*/ 162 h 162"/>
                  <a:gd name="T52" fmla="*/ 304 w 554"/>
                  <a:gd name="T53" fmla="*/ 161 h 162"/>
                  <a:gd name="T54" fmla="*/ 314 w 554"/>
                  <a:gd name="T55" fmla="*/ 159 h 162"/>
                  <a:gd name="T56" fmla="*/ 322 w 554"/>
                  <a:gd name="T57" fmla="*/ 156 h 162"/>
                  <a:gd name="T58" fmla="*/ 322 w 554"/>
                  <a:gd name="T59" fmla="*/ 156 h 162"/>
                  <a:gd name="T60" fmla="*/ 337 w 554"/>
                  <a:gd name="T61" fmla="*/ 149 h 162"/>
                  <a:gd name="T62" fmla="*/ 360 w 554"/>
                  <a:gd name="T63" fmla="*/ 135 h 162"/>
                  <a:gd name="T64" fmla="*/ 425 w 554"/>
                  <a:gd name="T65" fmla="*/ 93 h 162"/>
                  <a:gd name="T66" fmla="*/ 554 w 554"/>
                  <a:gd name="T67" fmla="*/ 6 h 162"/>
                  <a:gd name="T68" fmla="*/ 554 w 554"/>
                  <a:gd name="T69" fmla="*/ 6 h 162"/>
                  <a:gd name="T70" fmla="*/ 542 w 554"/>
                  <a:gd name="T71" fmla="*/ 9 h 162"/>
                  <a:gd name="T72" fmla="*/ 542 w 554"/>
                  <a:gd name="T73" fmla="*/ 9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54" h="162">
                    <a:moveTo>
                      <a:pt x="542" y="9"/>
                    </a:moveTo>
                    <a:lnTo>
                      <a:pt x="542" y="9"/>
                    </a:lnTo>
                    <a:lnTo>
                      <a:pt x="527" y="11"/>
                    </a:lnTo>
                    <a:lnTo>
                      <a:pt x="506" y="13"/>
                    </a:lnTo>
                    <a:lnTo>
                      <a:pt x="444" y="16"/>
                    </a:lnTo>
                    <a:lnTo>
                      <a:pt x="368" y="17"/>
                    </a:lnTo>
                    <a:lnTo>
                      <a:pt x="282" y="19"/>
                    </a:lnTo>
                    <a:lnTo>
                      <a:pt x="198" y="17"/>
                    </a:lnTo>
                    <a:lnTo>
                      <a:pt x="120" y="16"/>
                    </a:lnTo>
                    <a:lnTo>
                      <a:pt x="59" y="13"/>
                    </a:lnTo>
                    <a:lnTo>
                      <a:pt x="38" y="11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13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4" y="19"/>
                    </a:lnTo>
                    <a:lnTo>
                      <a:pt x="56" y="42"/>
                    </a:lnTo>
                    <a:lnTo>
                      <a:pt x="93" y="68"/>
                    </a:lnTo>
                    <a:lnTo>
                      <a:pt x="131" y="93"/>
                    </a:lnTo>
                    <a:lnTo>
                      <a:pt x="201" y="135"/>
                    </a:lnTo>
                    <a:lnTo>
                      <a:pt x="236" y="158"/>
                    </a:lnTo>
                    <a:lnTo>
                      <a:pt x="236" y="158"/>
                    </a:lnTo>
                    <a:lnTo>
                      <a:pt x="244" y="159"/>
                    </a:lnTo>
                    <a:lnTo>
                      <a:pt x="254" y="161"/>
                    </a:lnTo>
                    <a:lnTo>
                      <a:pt x="279" y="162"/>
                    </a:lnTo>
                    <a:lnTo>
                      <a:pt x="304" y="161"/>
                    </a:lnTo>
                    <a:lnTo>
                      <a:pt x="314" y="159"/>
                    </a:lnTo>
                    <a:lnTo>
                      <a:pt x="322" y="156"/>
                    </a:lnTo>
                    <a:lnTo>
                      <a:pt x="322" y="156"/>
                    </a:lnTo>
                    <a:lnTo>
                      <a:pt x="337" y="149"/>
                    </a:lnTo>
                    <a:lnTo>
                      <a:pt x="360" y="135"/>
                    </a:lnTo>
                    <a:lnTo>
                      <a:pt x="425" y="93"/>
                    </a:lnTo>
                    <a:lnTo>
                      <a:pt x="554" y="6"/>
                    </a:lnTo>
                    <a:lnTo>
                      <a:pt x="554" y="6"/>
                    </a:lnTo>
                    <a:lnTo>
                      <a:pt x="542" y="9"/>
                    </a:lnTo>
                    <a:lnTo>
                      <a:pt x="542" y="9"/>
                    </a:lnTo>
                    <a:close/>
                  </a:path>
                </a:pathLst>
              </a:custGeom>
              <a:gradFill flip="none" rotWithShape="1">
                <a:gsLst>
                  <a:gs pos="82000">
                    <a:schemeClr val="tx1"/>
                  </a:gs>
                  <a:gs pos="19000">
                    <a:schemeClr val="bg2">
                      <a:lumMod val="10000"/>
                    </a:schemeClr>
                  </a:gs>
                  <a:gs pos="41000">
                    <a:srgbClr val="55382D"/>
                  </a:gs>
                </a:gsLst>
                <a:lin ang="9000000" scaled="0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" name="Freeform 12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66878" y="5291897"/>
                <a:ext cx="434669" cy="85534"/>
              </a:xfrm>
              <a:custGeom>
                <a:avLst/>
                <a:gdLst>
                  <a:gd name="T0" fmla="*/ 1109 w 1119"/>
                  <a:gd name="T1" fmla="*/ 54 h 222"/>
                  <a:gd name="T2" fmla="*/ 1109 w 1119"/>
                  <a:gd name="T3" fmla="*/ 54 h 222"/>
                  <a:gd name="T4" fmla="*/ 1112 w 1119"/>
                  <a:gd name="T5" fmla="*/ 49 h 222"/>
                  <a:gd name="T6" fmla="*/ 1115 w 1119"/>
                  <a:gd name="T7" fmla="*/ 39 h 222"/>
                  <a:gd name="T8" fmla="*/ 1116 w 1119"/>
                  <a:gd name="T9" fmla="*/ 24 h 222"/>
                  <a:gd name="T10" fmla="*/ 1119 w 1119"/>
                  <a:gd name="T11" fmla="*/ 5 h 222"/>
                  <a:gd name="T12" fmla="*/ 1119 w 1119"/>
                  <a:gd name="T13" fmla="*/ 5 h 222"/>
                  <a:gd name="T14" fmla="*/ 1013 w 1119"/>
                  <a:gd name="T15" fmla="*/ 11 h 222"/>
                  <a:gd name="T16" fmla="*/ 881 w 1119"/>
                  <a:gd name="T17" fmla="*/ 15 h 222"/>
                  <a:gd name="T18" fmla="*/ 809 w 1119"/>
                  <a:gd name="T19" fmla="*/ 18 h 222"/>
                  <a:gd name="T20" fmla="*/ 735 w 1119"/>
                  <a:gd name="T21" fmla="*/ 18 h 222"/>
                  <a:gd name="T22" fmla="*/ 658 w 1119"/>
                  <a:gd name="T23" fmla="*/ 18 h 222"/>
                  <a:gd name="T24" fmla="*/ 582 w 1119"/>
                  <a:gd name="T25" fmla="*/ 17 h 222"/>
                  <a:gd name="T26" fmla="*/ 582 w 1119"/>
                  <a:gd name="T27" fmla="*/ 17 h 222"/>
                  <a:gd name="T28" fmla="*/ 0 w 1119"/>
                  <a:gd name="T29" fmla="*/ 0 h 222"/>
                  <a:gd name="T30" fmla="*/ 0 w 1119"/>
                  <a:gd name="T31" fmla="*/ 0 h 222"/>
                  <a:gd name="T32" fmla="*/ 12 w 1119"/>
                  <a:gd name="T33" fmla="*/ 12 h 222"/>
                  <a:gd name="T34" fmla="*/ 25 w 1119"/>
                  <a:gd name="T35" fmla="*/ 27 h 222"/>
                  <a:gd name="T36" fmla="*/ 62 w 1119"/>
                  <a:gd name="T37" fmla="*/ 57 h 222"/>
                  <a:gd name="T38" fmla="*/ 105 w 1119"/>
                  <a:gd name="T39" fmla="*/ 90 h 222"/>
                  <a:gd name="T40" fmla="*/ 154 w 1119"/>
                  <a:gd name="T41" fmla="*/ 124 h 222"/>
                  <a:gd name="T42" fmla="*/ 201 w 1119"/>
                  <a:gd name="T43" fmla="*/ 155 h 222"/>
                  <a:gd name="T44" fmla="*/ 245 w 1119"/>
                  <a:gd name="T45" fmla="*/ 182 h 222"/>
                  <a:gd name="T46" fmla="*/ 282 w 1119"/>
                  <a:gd name="T47" fmla="*/ 201 h 222"/>
                  <a:gd name="T48" fmla="*/ 297 w 1119"/>
                  <a:gd name="T49" fmla="*/ 209 h 222"/>
                  <a:gd name="T50" fmla="*/ 309 w 1119"/>
                  <a:gd name="T51" fmla="*/ 212 h 222"/>
                  <a:gd name="T52" fmla="*/ 309 w 1119"/>
                  <a:gd name="T53" fmla="*/ 212 h 222"/>
                  <a:gd name="T54" fmla="*/ 323 w 1119"/>
                  <a:gd name="T55" fmla="*/ 214 h 222"/>
                  <a:gd name="T56" fmla="*/ 344 w 1119"/>
                  <a:gd name="T57" fmla="*/ 216 h 222"/>
                  <a:gd name="T58" fmla="*/ 405 w 1119"/>
                  <a:gd name="T59" fmla="*/ 219 h 222"/>
                  <a:gd name="T60" fmla="*/ 483 w 1119"/>
                  <a:gd name="T61" fmla="*/ 220 h 222"/>
                  <a:gd name="T62" fmla="*/ 567 w 1119"/>
                  <a:gd name="T63" fmla="*/ 222 h 222"/>
                  <a:gd name="T64" fmla="*/ 653 w 1119"/>
                  <a:gd name="T65" fmla="*/ 220 h 222"/>
                  <a:gd name="T66" fmla="*/ 729 w 1119"/>
                  <a:gd name="T67" fmla="*/ 219 h 222"/>
                  <a:gd name="T68" fmla="*/ 791 w 1119"/>
                  <a:gd name="T69" fmla="*/ 216 h 222"/>
                  <a:gd name="T70" fmla="*/ 812 w 1119"/>
                  <a:gd name="T71" fmla="*/ 214 h 222"/>
                  <a:gd name="T72" fmla="*/ 827 w 1119"/>
                  <a:gd name="T73" fmla="*/ 212 h 222"/>
                  <a:gd name="T74" fmla="*/ 827 w 1119"/>
                  <a:gd name="T75" fmla="*/ 212 h 222"/>
                  <a:gd name="T76" fmla="*/ 840 w 1119"/>
                  <a:gd name="T77" fmla="*/ 209 h 222"/>
                  <a:gd name="T78" fmla="*/ 855 w 1119"/>
                  <a:gd name="T79" fmla="*/ 203 h 222"/>
                  <a:gd name="T80" fmla="*/ 890 w 1119"/>
                  <a:gd name="T81" fmla="*/ 186 h 222"/>
                  <a:gd name="T82" fmla="*/ 931 w 1119"/>
                  <a:gd name="T83" fmla="*/ 164 h 222"/>
                  <a:gd name="T84" fmla="*/ 976 w 1119"/>
                  <a:gd name="T85" fmla="*/ 139 h 222"/>
                  <a:gd name="T86" fmla="*/ 1020 w 1119"/>
                  <a:gd name="T87" fmla="*/ 113 h 222"/>
                  <a:gd name="T88" fmla="*/ 1058 w 1119"/>
                  <a:gd name="T89" fmla="*/ 89 h 222"/>
                  <a:gd name="T90" fmla="*/ 1089 w 1119"/>
                  <a:gd name="T91" fmla="*/ 68 h 222"/>
                  <a:gd name="T92" fmla="*/ 1109 w 1119"/>
                  <a:gd name="T93" fmla="*/ 54 h 222"/>
                  <a:gd name="T94" fmla="*/ 1109 w 1119"/>
                  <a:gd name="T95" fmla="*/ 54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19" h="222">
                    <a:moveTo>
                      <a:pt x="1109" y="54"/>
                    </a:moveTo>
                    <a:lnTo>
                      <a:pt x="1109" y="54"/>
                    </a:lnTo>
                    <a:lnTo>
                      <a:pt x="1112" y="49"/>
                    </a:lnTo>
                    <a:lnTo>
                      <a:pt x="1115" y="39"/>
                    </a:lnTo>
                    <a:lnTo>
                      <a:pt x="1116" y="24"/>
                    </a:lnTo>
                    <a:lnTo>
                      <a:pt x="1119" y="5"/>
                    </a:lnTo>
                    <a:lnTo>
                      <a:pt x="1119" y="5"/>
                    </a:lnTo>
                    <a:lnTo>
                      <a:pt x="1013" y="11"/>
                    </a:lnTo>
                    <a:lnTo>
                      <a:pt x="881" y="15"/>
                    </a:lnTo>
                    <a:lnTo>
                      <a:pt x="809" y="18"/>
                    </a:lnTo>
                    <a:lnTo>
                      <a:pt x="735" y="18"/>
                    </a:lnTo>
                    <a:lnTo>
                      <a:pt x="658" y="18"/>
                    </a:lnTo>
                    <a:lnTo>
                      <a:pt x="582" y="17"/>
                    </a:lnTo>
                    <a:lnTo>
                      <a:pt x="582" y="1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" y="12"/>
                    </a:lnTo>
                    <a:lnTo>
                      <a:pt x="25" y="27"/>
                    </a:lnTo>
                    <a:lnTo>
                      <a:pt x="62" y="57"/>
                    </a:lnTo>
                    <a:lnTo>
                      <a:pt x="105" y="90"/>
                    </a:lnTo>
                    <a:lnTo>
                      <a:pt x="154" y="124"/>
                    </a:lnTo>
                    <a:lnTo>
                      <a:pt x="201" y="155"/>
                    </a:lnTo>
                    <a:lnTo>
                      <a:pt x="245" y="182"/>
                    </a:lnTo>
                    <a:lnTo>
                      <a:pt x="282" y="201"/>
                    </a:lnTo>
                    <a:lnTo>
                      <a:pt x="297" y="209"/>
                    </a:lnTo>
                    <a:lnTo>
                      <a:pt x="309" y="212"/>
                    </a:lnTo>
                    <a:lnTo>
                      <a:pt x="309" y="212"/>
                    </a:lnTo>
                    <a:lnTo>
                      <a:pt x="323" y="214"/>
                    </a:lnTo>
                    <a:lnTo>
                      <a:pt x="344" y="216"/>
                    </a:lnTo>
                    <a:lnTo>
                      <a:pt x="405" y="219"/>
                    </a:lnTo>
                    <a:lnTo>
                      <a:pt x="483" y="220"/>
                    </a:lnTo>
                    <a:lnTo>
                      <a:pt x="567" y="222"/>
                    </a:lnTo>
                    <a:lnTo>
                      <a:pt x="653" y="220"/>
                    </a:lnTo>
                    <a:lnTo>
                      <a:pt x="729" y="219"/>
                    </a:lnTo>
                    <a:lnTo>
                      <a:pt x="791" y="216"/>
                    </a:lnTo>
                    <a:lnTo>
                      <a:pt x="812" y="214"/>
                    </a:lnTo>
                    <a:lnTo>
                      <a:pt x="827" y="212"/>
                    </a:lnTo>
                    <a:lnTo>
                      <a:pt x="827" y="212"/>
                    </a:lnTo>
                    <a:lnTo>
                      <a:pt x="840" y="209"/>
                    </a:lnTo>
                    <a:lnTo>
                      <a:pt x="855" y="203"/>
                    </a:lnTo>
                    <a:lnTo>
                      <a:pt x="890" y="186"/>
                    </a:lnTo>
                    <a:lnTo>
                      <a:pt x="931" y="164"/>
                    </a:lnTo>
                    <a:lnTo>
                      <a:pt x="976" y="139"/>
                    </a:lnTo>
                    <a:lnTo>
                      <a:pt x="1020" y="113"/>
                    </a:lnTo>
                    <a:lnTo>
                      <a:pt x="1058" y="89"/>
                    </a:lnTo>
                    <a:lnTo>
                      <a:pt x="1089" y="68"/>
                    </a:lnTo>
                    <a:lnTo>
                      <a:pt x="1109" y="54"/>
                    </a:lnTo>
                    <a:lnTo>
                      <a:pt x="1109" y="54"/>
                    </a:lnTo>
                    <a:close/>
                  </a:path>
                </a:pathLst>
              </a:custGeom>
              <a:gradFill>
                <a:gsLst>
                  <a:gs pos="56000">
                    <a:srgbClr val="544030">
                      <a:lumMod val="99000"/>
                    </a:srgbClr>
                  </a:gs>
                  <a:gs pos="100000">
                    <a:schemeClr val="bg1">
                      <a:lumMod val="75000"/>
                    </a:schemeClr>
                  </a:gs>
                  <a:gs pos="15000">
                    <a:schemeClr val="bg1">
                      <a:lumMod val="50000"/>
                    </a:schemeClr>
                  </a:gs>
                </a:gsLst>
                <a:lin ang="9000000" scaled="0"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" name="Freeform 13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856769" y="5190033"/>
                <a:ext cx="470438" cy="111195"/>
              </a:xfrm>
              <a:custGeom>
                <a:avLst/>
                <a:gdLst>
                  <a:gd name="T0" fmla="*/ 73 w 1210"/>
                  <a:gd name="T1" fmla="*/ 0 h 285"/>
                  <a:gd name="T2" fmla="*/ 110 w 1210"/>
                  <a:gd name="T3" fmla="*/ 16 h 285"/>
                  <a:gd name="T4" fmla="*/ 215 w 1210"/>
                  <a:gd name="T5" fmla="*/ 55 h 285"/>
                  <a:gd name="T6" fmla="*/ 293 w 1210"/>
                  <a:gd name="T7" fmla="*/ 78 h 285"/>
                  <a:gd name="T8" fmla="*/ 388 w 1210"/>
                  <a:gd name="T9" fmla="*/ 101 h 285"/>
                  <a:gd name="T10" fmla="*/ 499 w 1210"/>
                  <a:gd name="T11" fmla="*/ 121 h 285"/>
                  <a:gd name="T12" fmla="*/ 624 w 1210"/>
                  <a:gd name="T13" fmla="*/ 139 h 285"/>
                  <a:gd name="T14" fmla="*/ 749 w 1210"/>
                  <a:gd name="T15" fmla="*/ 151 h 285"/>
                  <a:gd name="T16" fmla="*/ 944 w 1210"/>
                  <a:gd name="T17" fmla="*/ 164 h 285"/>
                  <a:gd name="T18" fmla="*/ 1073 w 1210"/>
                  <a:gd name="T19" fmla="*/ 167 h 285"/>
                  <a:gd name="T20" fmla="*/ 1142 w 1210"/>
                  <a:gd name="T21" fmla="*/ 166 h 285"/>
                  <a:gd name="T22" fmla="*/ 1154 w 1210"/>
                  <a:gd name="T23" fmla="*/ 174 h 285"/>
                  <a:gd name="T24" fmla="*/ 1179 w 1210"/>
                  <a:gd name="T25" fmla="*/ 198 h 285"/>
                  <a:gd name="T26" fmla="*/ 1202 w 1210"/>
                  <a:gd name="T27" fmla="*/ 228 h 285"/>
                  <a:gd name="T28" fmla="*/ 1208 w 1210"/>
                  <a:gd name="T29" fmla="*/ 242 h 285"/>
                  <a:gd name="T30" fmla="*/ 1208 w 1210"/>
                  <a:gd name="T31" fmla="*/ 257 h 285"/>
                  <a:gd name="T32" fmla="*/ 1204 w 1210"/>
                  <a:gd name="T33" fmla="*/ 260 h 285"/>
                  <a:gd name="T34" fmla="*/ 1179 w 1210"/>
                  <a:gd name="T35" fmla="*/ 267 h 285"/>
                  <a:gd name="T36" fmla="*/ 1133 w 1210"/>
                  <a:gd name="T37" fmla="*/ 275 h 285"/>
                  <a:gd name="T38" fmla="*/ 1068 w 1210"/>
                  <a:gd name="T39" fmla="*/ 281 h 285"/>
                  <a:gd name="T40" fmla="*/ 987 w 1210"/>
                  <a:gd name="T41" fmla="*/ 285 h 285"/>
                  <a:gd name="T42" fmla="*/ 888 w 1210"/>
                  <a:gd name="T43" fmla="*/ 284 h 285"/>
                  <a:gd name="T44" fmla="*/ 777 w 1210"/>
                  <a:gd name="T45" fmla="*/ 279 h 285"/>
                  <a:gd name="T46" fmla="*/ 653 w 1210"/>
                  <a:gd name="T47" fmla="*/ 267 h 285"/>
                  <a:gd name="T48" fmla="*/ 589 w 1210"/>
                  <a:gd name="T49" fmla="*/ 258 h 285"/>
                  <a:gd name="T50" fmla="*/ 460 w 1210"/>
                  <a:gd name="T51" fmla="*/ 238 h 285"/>
                  <a:gd name="T52" fmla="*/ 346 w 1210"/>
                  <a:gd name="T53" fmla="*/ 216 h 285"/>
                  <a:gd name="T54" fmla="*/ 248 w 1210"/>
                  <a:gd name="T55" fmla="*/ 192 h 285"/>
                  <a:gd name="T56" fmla="*/ 163 w 1210"/>
                  <a:gd name="T57" fmla="*/ 167 h 285"/>
                  <a:gd name="T58" fmla="*/ 96 w 1210"/>
                  <a:gd name="T59" fmla="*/ 145 h 285"/>
                  <a:gd name="T60" fmla="*/ 45 w 1210"/>
                  <a:gd name="T61" fmla="*/ 123 h 285"/>
                  <a:gd name="T62" fmla="*/ 13 w 1210"/>
                  <a:gd name="T63" fmla="*/ 104 h 285"/>
                  <a:gd name="T64" fmla="*/ 1 w 1210"/>
                  <a:gd name="T65" fmla="*/ 92 h 285"/>
                  <a:gd name="T66" fmla="*/ 0 w 1210"/>
                  <a:gd name="T67" fmla="*/ 87 h 285"/>
                  <a:gd name="T68" fmla="*/ 1 w 1210"/>
                  <a:gd name="T69" fmla="*/ 73 h 285"/>
                  <a:gd name="T70" fmla="*/ 9 w 1210"/>
                  <a:gd name="T71" fmla="*/ 58 h 285"/>
                  <a:gd name="T72" fmla="*/ 34 w 1210"/>
                  <a:gd name="T73" fmla="*/ 30 h 285"/>
                  <a:gd name="T74" fmla="*/ 62 w 1210"/>
                  <a:gd name="T75" fmla="*/ 9 h 285"/>
                  <a:gd name="T76" fmla="*/ 73 w 1210"/>
                  <a:gd name="T77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10" h="285">
                    <a:moveTo>
                      <a:pt x="73" y="0"/>
                    </a:moveTo>
                    <a:lnTo>
                      <a:pt x="73" y="0"/>
                    </a:lnTo>
                    <a:lnTo>
                      <a:pt x="82" y="5"/>
                    </a:lnTo>
                    <a:lnTo>
                      <a:pt x="110" y="16"/>
                    </a:lnTo>
                    <a:lnTo>
                      <a:pt x="155" y="34"/>
                    </a:lnTo>
                    <a:lnTo>
                      <a:pt x="215" y="55"/>
                    </a:lnTo>
                    <a:lnTo>
                      <a:pt x="252" y="67"/>
                    </a:lnTo>
                    <a:lnTo>
                      <a:pt x="293" y="78"/>
                    </a:lnTo>
                    <a:lnTo>
                      <a:pt x="339" y="90"/>
                    </a:lnTo>
                    <a:lnTo>
                      <a:pt x="388" y="101"/>
                    </a:lnTo>
                    <a:lnTo>
                      <a:pt x="441" y="112"/>
                    </a:lnTo>
                    <a:lnTo>
                      <a:pt x="499" y="121"/>
                    </a:lnTo>
                    <a:lnTo>
                      <a:pt x="559" y="132"/>
                    </a:lnTo>
                    <a:lnTo>
                      <a:pt x="624" y="139"/>
                    </a:lnTo>
                    <a:lnTo>
                      <a:pt x="624" y="139"/>
                    </a:lnTo>
                    <a:lnTo>
                      <a:pt x="749" y="151"/>
                    </a:lnTo>
                    <a:lnTo>
                      <a:pt x="856" y="160"/>
                    </a:lnTo>
                    <a:lnTo>
                      <a:pt x="944" y="164"/>
                    </a:lnTo>
                    <a:lnTo>
                      <a:pt x="1017" y="167"/>
                    </a:lnTo>
                    <a:lnTo>
                      <a:pt x="1073" y="167"/>
                    </a:lnTo>
                    <a:lnTo>
                      <a:pt x="1111" y="167"/>
                    </a:lnTo>
                    <a:lnTo>
                      <a:pt x="1142" y="166"/>
                    </a:lnTo>
                    <a:lnTo>
                      <a:pt x="1142" y="166"/>
                    </a:lnTo>
                    <a:lnTo>
                      <a:pt x="1154" y="174"/>
                    </a:lnTo>
                    <a:lnTo>
                      <a:pt x="1166" y="185"/>
                    </a:lnTo>
                    <a:lnTo>
                      <a:pt x="1179" y="198"/>
                    </a:lnTo>
                    <a:lnTo>
                      <a:pt x="1192" y="213"/>
                    </a:lnTo>
                    <a:lnTo>
                      <a:pt x="1202" y="228"/>
                    </a:lnTo>
                    <a:lnTo>
                      <a:pt x="1207" y="235"/>
                    </a:lnTo>
                    <a:lnTo>
                      <a:pt x="1208" y="242"/>
                    </a:lnTo>
                    <a:lnTo>
                      <a:pt x="1210" y="250"/>
                    </a:lnTo>
                    <a:lnTo>
                      <a:pt x="1208" y="257"/>
                    </a:lnTo>
                    <a:lnTo>
                      <a:pt x="1208" y="257"/>
                    </a:lnTo>
                    <a:lnTo>
                      <a:pt x="1204" y="260"/>
                    </a:lnTo>
                    <a:lnTo>
                      <a:pt x="1194" y="263"/>
                    </a:lnTo>
                    <a:lnTo>
                      <a:pt x="1179" y="267"/>
                    </a:lnTo>
                    <a:lnTo>
                      <a:pt x="1158" y="272"/>
                    </a:lnTo>
                    <a:lnTo>
                      <a:pt x="1133" y="275"/>
                    </a:lnTo>
                    <a:lnTo>
                      <a:pt x="1104" y="278"/>
                    </a:lnTo>
                    <a:lnTo>
                      <a:pt x="1068" y="281"/>
                    </a:lnTo>
                    <a:lnTo>
                      <a:pt x="1030" y="284"/>
                    </a:lnTo>
                    <a:lnTo>
                      <a:pt x="987" y="285"/>
                    </a:lnTo>
                    <a:lnTo>
                      <a:pt x="940" y="285"/>
                    </a:lnTo>
                    <a:lnTo>
                      <a:pt x="888" y="284"/>
                    </a:lnTo>
                    <a:lnTo>
                      <a:pt x="835" y="282"/>
                    </a:lnTo>
                    <a:lnTo>
                      <a:pt x="777" y="279"/>
                    </a:lnTo>
                    <a:lnTo>
                      <a:pt x="717" y="273"/>
                    </a:lnTo>
                    <a:lnTo>
                      <a:pt x="653" y="267"/>
                    </a:lnTo>
                    <a:lnTo>
                      <a:pt x="589" y="258"/>
                    </a:lnTo>
                    <a:lnTo>
                      <a:pt x="589" y="258"/>
                    </a:lnTo>
                    <a:lnTo>
                      <a:pt x="522" y="248"/>
                    </a:lnTo>
                    <a:lnTo>
                      <a:pt x="460" y="238"/>
                    </a:lnTo>
                    <a:lnTo>
                      <a:pt x="403" y="226"/>
                    </a:lnTo>
                    <a:lnTo>
                      <a:pt x="346" y="216"/>
                    </a:lnTo>
                    <a:lnTo>
                      <a:pt x="295" y="204"/>
                    </a:lnTo>
                    <a:lnTo>
                      <a:pt x="248" y="192"/>
                    </a:lnTo>
                    <a:lnTo>
                      <a:pt x="203" y="179"/>
                    </a:lnTo>
                    <a:lnTo>
                      <a:pt x="163" y="167"/>
                    </a:lnTo>
                    <a:lnTo>
                      <a:pt x="127" y="155"/>
                    </a:lnTo>
                    <a:lnTo>
                      <a:pt x="96" y="145"/>
                    </a:lnTo>
                    <a:lnTo>
                      <a:pt x="68" y="133"/>
                    </a:lnTo>
                    <a:lnTo>
                      <a:pt x="45" y="123"/>
                    </a:lnTo>
                    <a:lnTo>
                      <a:pt x="26" y="112"/>
                    </a:lnTo>
                    <a:lnTo>
                      <a:pt x="13" y="104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0" y="87"/>
                    </a:lnTo>
                    <a:lnTo>
                      <a:pt x="0" y="87"/>
                    </a:lnTo>
                    <a:lnTo>
                      <a:pt x="0" y="80"/>
                    </a:lnTo>
                    <a:lnTo>
                      <a:pt x="1" y="73"/>
                    </a:lnTo>
                    <a:lnTo>
                      <a:pt x="4" y="65"/>
                    </a:lnTo>
                    <a:lnTo>
                      <a:pt x="9" y="58"/>
                    </a:lnTo>
                    <a:lnTo>
                      <a:pt x="20" y="44"/>
                    </a:lnTo>
                    <a:lnTo>
                      <a:pt x="34" y="30"/>
                    </a:lnTo>
                    <a:lnTo>
                      <a:pt x="48" y="18"/>
                    </a:lnTo>
                    <a:lnTo>
                      <a:pt x="62" y="9"/>
                    </a:lnTo>
                    <a:lnTo>
                      <a:pt x="73" y="0"/>
                    </a:lnTo>
                    <a:lnTo>
                      <a:pt x="73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12000">
                    <a:srgbClr val="A39793">
                      <a:lumMod val="77000"/>
                    </a:srgbClr>
                  </a:gs>
                  <a:gs pos="84000">
                    <a:schemeClr val="tx1">
                      <a:lumMod val="75000"/>
                      <a:lumOff val="25000"/>
                    </a:schemeClr>
                  </a:gs>
                  <a:gs pos="44000">
                    <a:schemeClr val="bg1">
                      <a:lumMod val="95000"/>
                    </a:schemeClr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" name="Freeform 5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508104" y="3459911"/>
                <a:ext cx="1174928" cy="1552057"/>
              </a:xfrm>
              <a:custGeom>
                <a:avLst/>
                <a:gdLst>
                  <a:gd name="T0" fmla="*/ 2131 w 3021"/>
                  <a:gd name="T1" fmla="*/ 3920 h 3993"/>
                  <a:gd name="T2" fmla="*/ 2199 w 3021"/>
                  <a:gd name="T3" fmla="*/ 3864 h 3993"/>
                  <a:gd name="T4" fmla="*/ 2258 w 3021"/>
                  <a:gd name="T5" fmla="*/ 3782 h 3993"/>
                  <a:gd name="T6" fmla="*/ 2298 w 3021"/>
                  <a:gd name="T7" fmla="*/ 3665 h 3993"/>
                  <a:gd name="T8" fmla="*/ 2318 w 3021"/>
                  <a:gd name="T9" fmla="*/ 3491 h 3993"/>
                  <a:gd name="T10" fmla="*/ 2354 w 3021"/>
                  <a:gd name="T11" fmla="*/ 3252 h 3993"/>
                  <a:gd name="T12" fmla="*/ 2413 w 3021"/>
                  <a:gd name="T13" fmla="*/ 3039 h 3993"/>
                  <a:gd name="T14" fmla="*/ 2475 w 3021"/>
                  <a:gd name="T15" fmla="*/ 2883 h 3993"/>
                  <a:gd name="T16" fmla="*/ 2561 w 3021"/>
                  <a:gd name="T17" fmla="*/ 2719 h 3993"/>
                  <a:gd name="T18" fmla="*/ 2674 w 3021"/>
                  <a:gd name="T19" fmla="*/ 2540 h 3993"/>
                  <a:gd name="T20" fmla="*/ 2829 w 3021"/>
                  <a:gd name="T21" fmla="*/ 2270 h 3993"/>
                  <a:gd name="T22" fmla="*/ 2910 w 3021"/>
                  <a:gd name="T23" fmla="*/ 2096 h 3993"/>
                  <a:gd name="T24" fmla="*/ 2969 w 3021"/>
                  <a:gd name="T25" fmla="*/ 1922 h 3993"/>
                  <a:gd name="T26" fmla="*/ 3008 w 3021"/>
                  <a:gd name="T27" fmla="*/ 1743 h 3993"/>
                  <a:gd name="T28" fmla="*/ 3021 w 3021"/>
                  <a:gd name="T29" fmla="*/ 1560 h 3993"/>
                  <a:gd name="T30" fmla="*/ 3008 w 3021"/>
                  <a:gd name="T31" fmla="*/ 1365 h 3993"/>
                  <a:gd name="T32" fmla="*/ 2968 w 3021"/>
                  <a:gd name="T33" fmla="*/ 1159 h 3993"/>
                  <a:gd name="T34" fmla="*/ 2919 w 3021"/>
                  <a:gd name="T35" fmla="*/ 996 h 3993"/>
                  <a:gd name="T36" fmla="*/ 2839 w 3021"/>
                  <a:gd name="T37" fmla="*/ 805 h 3993"/>
                  <a:gd name="T38" fmla="*/ 2745 w 3021"/>
                  <a:gd name="T39" fmla="*/ 639 h 3993"/>
                  <a:gd name="T40" fmla="*/ 2640 w 3021"/>
                  <a:gd name="T41" fmla="*/ 498 h 3993"/>
                  <a:gd name="T42" fmla="*/ 2525 w 3021"/>
                  <a:gd name="T43" fmla="*/ 380 h 3993"/>
                  <a:gd name="T44" fmla="*/ 2406 w 3021"/>
                  <a:gd name="T45" fmla="*/ 281 h 3993"/>
                  <a:gd name="T46" fmla="*/ 2283 w 3021"/>
                  <a:gd name="T47" fmla="*/ 201 h 3993"/>
                  <a:gd name="T48" fmla="*/ 2071 w 3021"/>
                  <a:gd name="T49" fmla="*/ 101 h 3993"/>
                  <a:gd name="T50" fmla="*/ 1848 w 3021"/>
                  <a:gd name="T51" fmla="*/ 34 h 3993"/>
                  <a:gd name="T52" fmla="*/ 1669 w 3021"/>
                  <a:gd name="T53" fmla="*/ 6 h 3993"/>
                  <a:gd name="T54" fmla="*/ 1526 w 3021"/>
                  <a:gd name="T55" fmla="*/ 0 h 3993"/>
                  <a:gd name="T56" fmla="*/ 1417 w 3021"/>
                  <a:gd name="T57" fmla="*/ 3 h 3993"/>
                  <a:gd name="T58" fmla="*/ 1247 w 3021"/>
                  <a:gd name="T59" fmla="*/ 25 h 3993"/>
                  <a:gd name="T60" fmla="*/ 1027 w 3021"/>
                  <a:gd name="T61" fmla="*/ 80 h 3993"/>
                  <a:gd name="T62" fmla="*/ 781 w 3021"/>
                  <a:gd name="T63" fmla="*/ 183 h 3993"/>
                  <a:gd name="T64" fmla="*/ 655 w 3021"/>
                  <a:gd name="T65" fmla="*/ 259 h 3993"/>
                  <a:gd name="T66" fmla="*/ 531 w 3021"/>
                  <a:gd name="T67" fmla="*/ 353 h 3993"/>
                  <a:gd name="T68" fmla="*/ 413 w 3021"/>
                  <a:gd name="T69" fmla="*/ 467 h 3993"/>
                  <a:gd name="T70" fmla="*/ 304 w 3021"/>
                  <a:gd name="T71" fmla="*/ 601 h 3993"/>
                  <a:gd name="T72" fmla="*/ 205 w 3021"/>
                  <a:gd name="T73" fmla="*/ 760 h 3993"/>
                  <a:gd name="T74" fmla="*/ 119 w 3021"/>
                  <a:gd name="T75" fmla="*/ 946 h 3993"/>
                  <a:gd name="T76" fmla="*/ 52 w 3021"/>
                  <a:gd name="T77" fmla="*/ 1159 h 3993"/>
                  <a:gd name="T78" fmla="*/ 19 w 3021"/>
                  <a:gd name="T79" fmla="*/ 1315 h 3993"/>
                  <a:gd name="T80" fmla="*/ 0 w 3021"/>
                  <a:gd name="T81" fmla="*/ 1512 h 3993"/>
                  <a:gd name="T82" fmla="*/ 7 w 3021"/>
                  <a:gd name="T83" fmla="*/ 1699 h 3993"/>
                  <a:gd name="T84" fmla="*/ 38 w 3021"/>
                  <a:gd name="T85" fmla="*/ 1878 h 3993"/>
                  <a:gd name="T86" fmla="*/ 93 w 3021"/>
                  <a:gd name="T87" fmla="*/ 2053 h 3993"/>
                  <a:gd name="T88" fmla="*/ 168 w 3021"/>
                  <a:gd name="T89" fmla="*/ 2227 h 3993"/>
                  <a:gd name="T90" fmla="*/ 291 w 3021"/>
                  <a:gd name="T91" fmla="*/ 2449 h 3993"/>
                  <a:gd name="T92" fmla="*/ 434 w 3021"/>
                  <a:gd name="T93" fmla="*/ 2676 h 3993"/>
                  <a:gd name="T94" fmla="*/ 527 w 3021"/>
                  <a:gd name="T95" fmla="*/ 2843 h 3993"/>
                  <a:gd name="T96" fmla="*/ 593 w 3021"/>
                  <a:gd name="T97" fmla="*/ 3001 h 3993"/>
                  <a:gd name="T98" fmla="*/ 649 w 3021"/>
                  <a:gd name="T99" fmla="*/ 3184 h 3993"/>
                  <a:gd name="T100" fmla="*/ 695 w 3021"/>
                  <a:gd name="T101" fmla="*/ 3436 h 3993"/>
                  <a:gd name="T102" fmla="*/ 723 w 3021"/>
                  <a:gd name="T103" fmla="*/ 3665 h 3993"/>
                  <a:gd name="T104" fmla="*/ 750 w 3021"/>
                  <a:gd name="T105" fmla="*/ 3756 h 3993"/>
                  <a:gd name="T106" fmla="*/ 804 w 3021"/>
                  <a:gd name="T107" fmla="*/ 3846 h 3993"/>
                  <a:gd name="T108" fmla="*/ 872 w 3021"/>
                  <a:gd name="T109" fmla="*/ 3908 h 3993"/>
                  <a:gd name="T110" fmla="*/ 956 w 3021"/>
                  <a:gd name="T111" fmla="*/ 3959 h 3993"/>
                  <a:gd name="T112" fmla="*/ 1024 w 3021"/>
                  <a:gd name="T113" fmla="*/ 3973 h 3993"/>
                  <a:gd name="T114" fmla="*/ 1321 w 3021"/>
                  <a:gd name="T115" fmla="*/ 3990 h 3993"/>
                  <a:gd name="T116" fmla="*/ 1699 w 3021"/>
                  <a:gd name="T117" fmla="*/ 3990 h 3993"/>
                  <a:gd name="T118" fmla="*/ 1997 w 3021"/>
                  <a:gd name="T119" fmla="*/ 3973 h 3993"/>
                  <a:gd name="T120" fmla="*/ 2065 w 3021"/>
                  <a:gd name="T121" fmla="*/ 3959 h 3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21" h="3993">
                    <a:moveTo>
                      <a:pt x="2065" y="3959"/>
                    </a:moveTo>
                    <a:lnTo>
                      <a:pt x="2065" y="3959"/>
                    </a:lnTo>
                    <a:lnTo>
                      <a:pt x="2097" y="3941"/>
                    </a:lnTo>
                    <a:lnTo>
                      <a:pt x="2131" y="3920"/>
                    </a:lnTo>
                    <a:lnTo>
                      <a:pt x="2149" y="3908"/>
                    </a:lnTo>
                    <a:lnTo>
                      <a:pt x="2166" y="3895"/>
                    </a:lnTo>
                    <a:lnTo>
                      <a:pt x="2183" y="3880"/>
                    </a:lnTo>
                    <a:lnTo>
                      <a:pt x="2199" y="3864"/>
                    </a:lnTo>
                    <a:lnTo>
                      <a:pt x="2215" y="3846"/>
                    </a:lnTo>
                    <a:lnTo>
                      <a:pt x="2231" y="3827"/>
                    </a:lnTo>
                    <a:lnTo>
                      <a:pt x="2245" y="3805"/>
                    </a:lnTo>
                    <a:lnTo>
                      <a:pt x="2258" y="3782"/>
                    </a:lnTo>
                    <a:lnTo>
                      <a:pt x="2270" y="3756"/>
                    </a:lnTo>
                    <a:lnTo>
                      <a:pt x="2282" y="3728"/>
                    </a:lnTo>
                    <a:lnTo>
                      <a:pt x="2290" y="3697"/>
                    </a:lnTo>
                    <a:lnTo>
                      <a:pt x="2298" y="3665"/>
                    </a:lnTo>
                    <a:lnTo>
                      <a:pt x="2298" y="3665"/>
                    </a:lnTo>
                    <a:lnTo>
                      <a:pt x="2302" y="3628"/>
                    </a:lnTo>
                    <a:lnTo>
                      <a:pt x="2308" y="3587"/>
                    </a:lnTo>
                    <a:lnTo>
                      <a:pt x="2318" y="3491"/>
                    </a:lnTo>
                    <a:lnTo>
                      <a:pt x="2324" y="3436"/>
                    </a:lnTo>
                    <a:lnTo>
                      <a:pt x="2332" y="3379"/>
                    </a:lnTo>
                    <a:lnTo>
                      <a:pt x="2342" y="3317"/>
                    </a:lnTo>
                    <a:lnTo>
                      <a:pt x="2354" y="3252"/>
                    </a:lnTo>
                    <a:lnTo>
                      <a:pt x="2370" y="3184"/>
                    </a:lnTo>
                    <a:lnTo>
                      <a:pt x="2389" y="3113"/>
                    </a:lnTo>
                    <a:lnTo>
                      <a:pt x="2401" y="3076"/>
                    </a:lnTo>
                    <a:lnTo>
                      <a:pt x="2413" y="3039"/>
                    </a:lnTo>
                    <a:lnTo>
                      <a:pt x="2426" y="3001"/>
                    </a:lnTo>
                    <a:lnTo>
                      <a:pt x="2441" y="2962"/>
                    </a:lnTo>
                    <a:lnTo>
                      <a:pt x="2457" y="2923"/>
                    </a:lnTo>
                    <a:lnTo>
                      <a:pt x="2475" y="2883"/>
                    </a:lnTo>
                    <a:lnTo>
                      <a:pt x="2494" y="2843"/>
                    </a:lnTo>
                    <a:lnTo>
                      <a:pt x="2515" y="2802"/>
                    </a:lnTo>
                    <a:lnTo>
                      <a:pt x="2537" y="2760"/>
                    </a:lnTo>
                    <a:lnTo>
                      <a:pt x="2561" y="2719"/>
                    </a:lnTo>
                    <a:lnTo>
                      <a:pt x="2586" y="2676"/>
                    </a:lnTo>
                    <a:lnTo>
                      <a:pt x="2614" y="2633"/>
                    </a:lnTo>
                    <a:lnTo>
                      <a:pt x="2614" y="2633"/>
                    </a:lnTo>
                    <a:lnTo>
                      <a:pt x="2674" y="2540"/>
                    </a:lnTo>
                    <a:lnTo>
                      <a:pt x="2730" y="2449"/>
                    </a:lnTo>
                    <a:lnTo>
                      <a:pt x="2782" y="2359"/>
                    </a:lnTo>
                    <a:lnTo>
                      <a:pt x="2806" y="2314"/>
                    </a:lnTo>
                    <a:lnTo>
                      <a:pt x="2829" y="2270"/>
                    </a:lnTo>
                    <a:lnTo>
                      <a:pt x="2851" y="2227"/>
                    </a:lnTo>
                    <a:lnTo>
                      <a:pt x="2872" y="2183"/>
                    </a:lnTo>
                    <a:lnTo>
                      <a:pt x="2891" y="2140"/>
                    </a:lnTo>
                    <a:lnTo>
                      <a:pt x="2910" y="2096"/>
                    </a:lnTo>
                    <a:lnTo>
                      <a:pt x="2927" y="2053"/>
                    </a:lnTo>
                    <a:lnTo>
                      <a:pt x="2943" y="2009"/>
                    </a:lnTo>
                    <a:lnTo>
                      <a:pt x="2958" y="1965"/>
                    </a:lnTo>
                    <a:lnTo>
                      <a:pt x="2969" y="1922"/>
                    </a:lnTo>
                    <a:lnTo>
                      <a:pt x="2981" y="1878"/>
                    </a:lnTo>
                    <a:lnTo>
                      <a:pt x="2991" y="1833"/>
                    </a:lnTo>
                    <a:lnTo>
                      <a:pt x="3000" y="1789"/>
                    </a:lnTo>
                    <a:lnTo>
                      <a:pt x="3008" y="1743"/>
                    </a:lnTo>
                    <a:lnTo>
                      <a:pt x="3014" y="1699"/>
                    </a:lnTo>
                    <a:lnTo>
                      <a:pt x="3017" y="1653"/>
                    </a:lnTo>
                    <a:lnTo>
                      <a:pt x="3020" y="1606"/>
                    </a:lnTo>
                    <a:lnTo>
                      <a:pt x="3021" y="1560"/>
                    </a:lnTo>
                    <a:lnTo>
                      <a:pt x="3020" y="1512"/>
                    </a:lnTo>
                    <a:lnTo>
                      <a:pt x="3018" y="1464"/>
                    </a:lnTo>
                    <a:lnTo>
                      <a:pt x="3014" y="1416"/>
                    </a:lnTo>
                    <a:lnTo>
                      <a:pt x="3008" y="1365"/>
                    </a:lnTo>
                    <a:lnTo>
                      <a:pt x="3000" y="1315"/>
                    </a:lnTo>
                    <a:lnTo>
                      <a:pt x="2991" y="1265"/>
                    </a:lnTo>
                    <a:lnTo>
                      <a:pt x="2981" y="1212"/>
                    </a:lnTo>
                    <a:lnTo>
                      <a:pt x="2968" y="1159"/>
                    </a:lnTo>
                    <a:lnTo>
                      <a:pt x="2968" y="1159"/>
                    </a:lnTo>
                    <a:lnTo>
                      <a:pt x="2953" y="1103"/>
                    </a:lnTo>
                    <a:lnTo>
                      <a:pt x="2937" y="1050"/>
                    </a:lnTo>
                    <a:lnTo>
                      <a:pt x="2919" y="996"/>
                    </a:lnTo>
                    <a:lnTo>
                      <a:pt x="2900" y="946"/>
                    </a:lnTo>
                    <a:lnTo>
                      <a:pt x="2881" y="898"/>
                    </a:lnTo>
                    <a:lnTo>
                      <a:pt x="2860" y="850"/>
                    </a:lnTo>
                    <a:lnTo>
                      <a:pt x="2839" y="805"/>
                    </a:lnTo>
                    <a:lnTo>
                      <a:pt x="2817" y="760"/>
                    </a:lnTo>
                    <a:lnTo>
                      <a:pt x="2794" y="719"/>
                    </a:lnTo>
                    <a:lnTo>
                      <a:pt x="2770" y="678"/>
                    </a:lnTo>
                    <a:lnTo>
                      <a:pt x="2745" y="639"/>
                    </a:lnTo>
                    <a:lnTo>
                      <a:pt x="2720" y="601"/>
                    </a:lnTo>
                    <a:lnTo>
                      <a:pt x="2693" y="566"/>
                    </a:lnTo>
                    <a:lnTo>
                      <a:pt x="2667" y="532"/>
                    </a:lnTo>
                    <a:lnTo>
                      <a:pt x="2640" y="498"/>
                    </a:lnTo>
                    <a:lnTo>
                      <a:pt x="2612" y="467"/>
                    </a:lnTo>
                    <a:lnTo>
                      <a:pt x="2584" y="436"/>
                    </a:lnTo>
                    <a:lnTo>
                      <a:pt x="2555" y="406"/>
                    </a:lnTo>
                    <a:lnTo>
                      <a:pt x="2525" y="380"/>
                    </a:lnTo>
                    <a:lnTo>
                      <a:pt x="2496" y="353"/>
                    </a:lnTo>
                    <a:lnTo>
                      <a:pt x="2466" y="328"/>
                    </a:lnTo>
                    <a:lnTo>
                      <a:pt x="2437" y="303"/>
                    </a:lnTo>
                    <a:lnTo>
                      <a:pt x="2406" y="281"/>
                    </a:lnTo>
                    <a:lnTo>
                      <a:pt x="2376" y="259"/>
                    </a:lnTo>
                    <a:lnTo>
                      <a:pt x="2345" y="239"/>
                    </a:lnTo>
                    <a:lnTo>
                      <a:pt x="2314" y="219"/>
                    </a:lnTo>
                    <a:lnTo>
                      <a:pt x="2283" y="201"/>
                    </a:lnTo>
                    <a:lnTo>
                      <a:pt x="2252" y="183"/>
                    </a:lnTo>
                    <a:lnTo>
                      <a:pt x="2192" y="152"/>
                    </a:lnTo>
                    <a:lnTo>
                      <a:pt x="2131" y="124"/>
                    </a:lnTo>
                    <a:lnTo>
                      <a:pt x="2071" y="101"/>
                    </a:lnTo>
                    <a:lnTo>
                      <a:pt x="2013" y="80"/>
                    </a:lnTo>
                    <a:lnTo>
                      <a:pt x="1955" y="62"/>
                    </a:lnTo>
                    <a:lnTo>
                      <a:pt x="1901" y="47"/>
                    </a:lnTo>
                    <a:lnTo>
                      <a:pt x="1848" y="34"/>
                    </a:lnTo>
                    <a:lnTo>
                      <a:pt x="1799" y="25"/>
                    </a:lnTo>
                    <a:lnTo>
                      <a:pt x="1752" y="16"/>
                    </a:lnTo>
                    <a:lnTo>
                      <a:pt x="1707" y="11"/>
                    </a:lnTo>
                    <a:lnTo>
                      <a:pt x="1669" y="6"/>
                    </a:lnTo>
                    <a:lnTo>
                      <a:pt x="1634" y="3"/>
                    </a:lnTo>
                    <a:lnTo>
                      <a:pt x="1576" y="0"/>
                    </a:lnTo>
                    <a:lnTo>
                      <a:pt x="1539" y="0"/>
                    </a:lnTo>
                    <a:lnTo>
                      <a:pt x="1526" y="0"/>
                    </a:lnTo>
                    <a:lnTo>
                      <a:pt x="1526" y="0"/>
                    </a:lnTo>
                    <a:lnTo>
                      <a:pt x="1514" y="0"/>
                    </a:lnTo>
                    <a:lnTo>
                      <a:pt x="1476" y="0"/>
                    </a:lnTo>
                    <a:lnTo>
                      <a:pt x="1417" y="3"/>
                    </a:lnTo>
                    <a:lnTo>
                      <a:pt x="1381" y="6"/>
                    </a:lnTo>
                    <a:lnTo>
                      <a:pt x="1340" y="11"/>
                    </a:lnTo>
                    <a:lnTo>
                      <a:pt x="1296" y="16"/>
                    </a:lnTo>
                    <a:lnTo>
                      <a:pt x="1247" y="25"/>
                    </a:lnTo>
                    <a:lnTo>
                      <a:pt x="1195" y="34"/>
                    </a:lnTo>
                    <a:lnTo>
                      <a:pt x="1142" y="47"/>
                    </a:lnTo>
                    <a:lnTo>
                      <a:pt x="1086" y="62"/>
                    </a:lnTo>
                    <a:lnTo>
                      <a:pt x="1027" y="80"/>
                    </a:lnTo>
                    <a:lnTo>
                      <a:pt x="967" y="101"/>
                    </a:lnTo>
                    <a:lnTo>
                      <a:pt x="906" y="124"/>
                    </a:lnTo>
                    <a:lnTo>
                      <a:pt x="844" y="152"/>
                    </a:lnTo>
                    <a:lnTo>
                      <a:pt x="781" y="183"/>
                    </a:lnTo>
                    <a:lnTo>
                      <a:pt x="750" y="201"/>
                    </a:lnTo>
                    <a:lnTo>
                      <a:pt x="717" y="219"/>
                    </a:lnTo>
                    <a:lnTo>
                      <a:pt x="686" y="239"/>
                    </a:lnTo>
                    <a:lnTo>
                      <a:pt x="655" y="259"/>
                    </a:lnTo>
                    <a:lnTo>
                      <a:pt x="624" y="281"/>
                    </a:lnTo>
                    <a:lnTo>
                      <a:pt x="593" y="303"/>
                    </a:lnTo>
                    <a:lnTo>
                      <a:pt x="562" y="328"/>
                    </a:lnTo>
                    <a:lnTo>
                      <a:pt x="531" y="353"/>
                    </a:lnTo>
                    <a:lnTo>
                      <a:pt x="502" y="380"/>
                    </a:lnTo>
                    <a:lnTo>
                      <a:pt x="472" y="406"/>
                    </a:lnTo>
                    <a:lnTo>
                      <a:pt x="443" y="436"/>
                    </a:lnTo>
                    <a:lnTo>
                      <a:pt x="413" y="467"/>
                    </a:lnTo>
                    <a:lnTo>
                      <a:pt x="385" y="498"/>
                    </a:lnTo>
                    <a:lnTo>
                      <a:pt x="357" y="532"/>
                    </a:lnTo>
                    <a:lnTo>
                      <a:pt x="331" y="566"/>
                    </a:lnTo>
                    <a:lnTo>
                      <a:pt x="304" y="601"/>
                    </a:lnTo>
                    <a:lnTo>
                      <a:pt x="277" y="639"/>
                    </a:lnTo>
                    <a:lnTo>
                      <a:pt x="252" y="678"/>
                    </a:lnTo>
                    <a:lnTo>
                      <a:pt x="229" y="719"/>
                    </a:lnTo>
                    <a:lnTo>
                      <a:pt x="205" y="760"/>
                    </a:lnTo>
                    <a:lnTo>
                      <a:pt x="181" y="805"/>
                    </a:lnTo>
                    <a:lnTo>
                      <a:pt x="161" y="850"/>
                    </a:lnTo>
                    <a:lnTo>
                      <a:pt x="140" y="898"/>
                    </a:lnTo>
                    <a:lnTo>
                      <a:pt x="119" y="946"/>
                    </a:lnTo>
                    <a:lnTo>
                      <a:pt x="102" y="996"/>
                    </a:lnTo>
                    <a:lnTo>
                      <a:pt x="84" y="1050"/>
                    </a:lnTo>
                    <a:lnTo>
                      <a:pt x="68" y="1103"/>
                    </a:lnTo>
                    <a:lnTo>
                      <a:pt x="52" y="1159"/>
                    </a:lnTo>
                    <a:lnTo>
                      <a:pt x="52" y="1159"/>
                    </a:lnTo>
                    <a:lnTo>
                      <a:pt x="40" y="1212"/>
                    </a:lnTo>
                    <a:lnTo>
                      <a:pt x="28" y="1265"/>
                    </a:lnTo>
                    <a:lnTo>
                      <a:pt x="19" y="1315"/>
                    </a:lnTo>
                    <a:lnTo>
                      <a:pt x="12" y="1365"/>
                    </a:lnTo>
                    <a:lnTo>
                      <a:pt x="6" y="1416"/>
                    </a:lnTo>
                    <a:lnTo>
                      <a:pt x="3" y="1464"/>
                    </a:lnTo>
                    <a:lnTo>
                      <a:pt x="0" y="1512"/>
                    </a:lnTo>
                    <a:lnTo>
                      <a:pt x="0" y="1560"/>
                    </a:lnTo>
                    <a:lnTo>
                      <a:pt x="0" y="1606"/>
                    </a:lnTo>
                    <a:lnTo>
                      <a:pt x="3" y="1653"/>
                    </a:lnTo>
                    <a:lnTo>
                      <a:pt x="7" y="1699"/>
                    </a:lnTo>
                    <a:lnTo>
                      <a:pt x="13" y="1743"/>
                    </a:lnTo>
                    <a:lnTo>
                      <a:pt x="19" y="1789"/>
                    </a:lnTo>
                    <a:lnTo>
                      <a:pt x="28" y="1833"/>
                    </a:lnTo>
                    <a:lnTo>
                      <a:pt x="38" y="1878"/>
                    </a:lnTo>
                    <a:lnTo>
                      <a:pt x="50" y="1922"/>
                    </a:lnTo>
                    <a:lnTo>
                      <a:pt x="63" y="1965"/>
                    </a:lnTo>
                    <a:lnTo>
                      <a:pt x="77" y="2009"/>
                    </a:lnTo>
                    <a:lnTo>
                      <a:pt x="93" y="2053"/>
                    </a:lnTo>
                    <a:lnTo>
                      <a:pt x="111" y="2096"/>
                    </a:lnTo>
                    <a:lnTo>
                      <a:pt x="128" y="2140"/>
                    </a:lnTo>
                    <a:lnTo>
                      <a:pt x="148" y="2183"/>
                    </a:lnTo>
                    <a:lnTo>
                      <a:pt x="168" y="2227"/>
                    </a:lnTo>
                    <a:lnTo>
                      <a:pt x="190" y="2270"/>
                    </a:lnTo>
                    <a:lnTo>
                      <a:pt x="214" y="2314"/>
                    </a:lnTo>
                    <a:lnTo>
                      <a:pt x="238" y="2359"/>
                    </a:lnTo>
                    <a:lnTo>
                      <a:pt x="291" y="2449"/>
                    </a:lnTo>
                    <a:lnTo>
                      <a:pt x="347" y="2540"/>
                    </a:lnTo>
                    <a:lnTo>
                      <a:pt x="407" y="2633"/>
                    </a:lnTo>
                    <a:lnTo>
                      <a:pt x="407" y="2633"/>
                    </a:lnTo>
                    <a:lnTo>
                      <a:pt x="434" y="2676"/>
                    </a:lnTo>
                    <a:lnTo>
                      <a:pt x="460" y="2719"/>
                    </a:lnTo>
                    <a:lnTo>
                      <a:pt x="484" y="2760"/>
                    </a:lnTo>
                    <a:lnTo>
                      <a:pt x="506" y="2802"/>
                    </a:lnTo>
                    <a:lnTo>
                      <a:pt x="527" y="2843"/>
                    </a:lnTo>
                    <a:lnTo>
                      <a:pt x="545" y="2883"/>
                    </a:lnTo>
                    <a:lnTo>
                      <a:pt x="562" y="2923"/>
                    </a:lnTo>
                    <a:lnTo>
                      <a:pt x="578" y="2962"/>
                    </a:lnTo>
                    <a:lnTo>
                      <a:pt x="593" y="3001"/>
                    </a:lnTo>
                    <a:lnTo>
                      <a:pt x="607" y="3039"/>
                    </a:lnTo>
                    <a:lnTo>
                      <a:pt x="620" y="3076"/>
                    </a:lnTo>
                    <a:lnTo>
                      <a:pt x="630" y="3113"/>
                    </a:lnTo>
                    <a:lnTo>
                      <a:pt x="649" y="3184"/>
                    </a:lnTo>
                    <a:lnTo>
                      <a:pt x="666" y="3252"/>
                    </a:lnTo>
                    <a:lnTo>
                      <a:pt x="677" y="3317"/>
                    </a:lnTo>
                    <a:lnTo>
                      <a:pt x="688" y="3379"/>
                    </a:lnTo>
                    <a:lnTo>
                      <a:pt x="695" y="3436"/>
                    </a:lnTo>
                    <a:lnTo>
                      <a:pt x="702" y="3491"/>
                    </a:lnTo>
                    <a:lnTo>
                      <a:pt x="713" y="3587"/>
                    </a:lnTo>
                    <a:lnTo>
                      <a:pt x="717" y="3628"/>
                    </a:lnTo>
                    <a:lnTo>
                      <a:pt x="723" y="3665"/>
                    </a:lnTo>
                    <a:lnTo>
                      <a:pt x="723" y="3665"/>
                    </a:lnTo>
                    <a:lnTo>
                      <a:pt x="730" y="3697"/>
                    </a:lnTo>
                    <a:lnTo>
                      <a:pt x="739" y="3728"/>
                    </a:lnTo>
                    <a:lnTo>
                      <a:pt x="750" y="3756"/>
                    </a:lnTo>
                    <a:lnTo>
                      <a:pt x="761" y="3782"/>
                    </a:lnTo>
                    <a:lnTo>
                      <a:pt x="775" y="3805"/>
                    </a:lnTo>
                    <a:lnTo>
                      <a:pt x="790" y="3827"/>
                    </a:lnTo>
                    <a:lnTo>
                      <a:pt x="804" y="3846"/>
                    </a:lnTo>
                    <a:lnTo>
                      <a:pt x="821" y="3864"/>
                    </a:lnTo>
                    <a:lnTo>
                      <a:pt x="837" y="3880"/>
                    </a:lnTo>
                    <a:lnTo>
                      <a:pt x="854" y="3895"/>
                    </a:lnTo>
                    <a:lnTo>
                      <a:pt x="872" y="3908"/>
                    </a:lnTo>
                    <a:lnTo>
                      <a:pt x="888" y="3920"/>
                    </a:lnTo>
                    <a:lnTo>
                      <a:pt x="924" y="3941"/>
                    </a:lnTo>
                    <a:lnTo>
                      <a:pt x="956" y="3959"/>
                    </a:lnTo>
                    <a:lnTo>
                      <a:pt x="956" y="3959"/>
                    </a:lnTo>
                    <a:lnTo>
                      <a:pt x="967" y="3963"/>
                    </a:lnTo>
                    <a:lnTo>
                      <a:pt x="981" y="3966"/>
                    </a:lnTo>
                    <a:lnTo>
                      <a:pt x="1001" y="3970"/>
                    </a:lnTo>
                    <a:lnTo>
                      <a:pt x="1024" y="3973"/>
                    </a:lnTo>
                    <a:lnTo>
                      <a:pt x="1082" y="3979"/>
                    </a:lnTo>
                    <a:lnTo>
                      <a:pt x="1153" y="3984"/>
                    </a:lnTo>
                    <a:lnTo>
                      <a:pt x="1232" y="3987"/>
                    </a:lnTo>
                    <a:lnTo>
                      <a:pt x="1321" y="3990"/>
                    </a:lnTo>
                    <a:lnTo>
                      <a:pt x="1414" y="3991"/>
                    </a:lnTo>
                    <a:lnTo>
                      <a:pt x="1510" y="3993"/>
                    </a:lnTo>
                    <a:lnTo>
                      <a:pt x="1606" y="3991"/>
                    </a:lnTo>
                    <a:lnTo>
                      <a:pt x="1699" y="3990"/>
                    </a:lnTo>
                    <a:lnTo>
                      <a:pt x="1787" y="3987"/>
                    </a:lnTo>
                    <a:lnTo>
                      <a:pt x="1868" y="3984"/>
                    </a:lnTo>
                    <a:lnTo>
                      <a:pt x="1938" y="3979"/>
                    </a:lnTo>
                    <a:lnTo>
                      <a:pt x="1997" y="3973"/>
                    </a:lnTo>
                    <a:lnTo>
                      <a:pt x="2020" y="3970"/>
                    </a:lnTo>
                    <a:lnTo>
                      <a:pt x="2040" y="3966"/>
                    </a:lnTo>
                    <a:lnTo>
                      <a:pt x="2054" y="3963"/>
                    </a:lnTo>
                    <a:lnTo>
                      <a:pt x="2065" y="3959"/>
                    </a:lnTo>
                    <a:lnTo>
                      <a:pt x="2065" y="3959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0B71F">
                      <a:lumMod val="76000"/>
                    </a:srgbClr>
                  </a:gs>
                  <a:gs pos="67000">
                    <a:srgbClr val="F0B71F"/>
                  </a:gs>
                  <a:gs pos="7000">
                    <a:srgbClr val="92D050">
                      <a:lumMod val="3000"/>
                      <a:lumOff val="97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5875" cap="rnd">
                <a:solidFill>
                  <a:srgbClr val="C57407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" name="Freeform 6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530654" y="3501123"/>
                <a:ext cx="1094837" cy="562971"/>
              </a:xfrm>
              <a:custGeom>
                <a:avLst/>
                <a:gdLst>
                  <a:gd name="T0" fmla="*/ 74 w 2817"/>
                  <a:gd name="T1" fmla="*/ 1061 h 1446"/>
                  <a:gd name="T2" fmla="*/ 148 w 2817"/>
                  <a:gd name="T3" fmla="*/ 863 h 1446"/>
                  <a:gd name="T4" fmla="*/ 235 w 2817"/>
                  <a:gd name="T5" fmla="*/ 694 h 1446"/>
                  <a:gd name="T6" fmla="*/ 335 w 2817"/>
                  <a:gd name="T7" fmla="*/ 549 h 1446"/>
                  <a:gd name="T8" fmla="*/ 443 w 2817"/>
                  <a:gd name="T9" fmla="*/ 428 h 1446"/>
                  <a:gd name="T10" fmla="*/ 558 w 2817"/>
                  <a:gd name="T11" fmla="*/ 328 h 1446"/>
                  <a:gd name="T12" fmla="*/ 676 w 2817"/>
                  <a:gd name="T13" fmla="*/ 248 h 1446"/>
                  <a:gd name="T14" fmla="*/ 853 w 2817"/>
                  <a:gd name="T15" fmla="*/ 159 h 1446"/>
                  <a:gd name="T16" fmla="*/ 1076 w 2817"/>
                  <a:gd name="T17" fmla="*/ 90 h 1446"/>
                  <a:gd name="T18" fmla="*/ 1262 w 2817"/>
                  <a:gd name="T19" fmla="*/ 60 h 1446"/>
                  <a:gd name="T20" fmla="*/ 1424 w 2817"/>
                  <a:gd name="T21" fmla="*/ 56 h 1446"/>
                  <a:gd name="T22" fmla="*/ 1483 w 2817"/>
                  <a:gd name="T23" fmla="*/ 56 h 1446"/>
                  <a:gd name="T24" fmla="*/ 1649 w 2817"/>
                  <a:gd name="T25" fmla="*/ 72 h 1446"/>
                  <a:gd name="T26" fmla="*/ 1842 w 2817"/>
                  <a:gd name="T27" fmla="*/ 115 h 1446"/>
                  <a:gd name="T28" fmla="*/ 2066 w 2817"/>
                  <a:gd name="T29" fmla="*/ 202 h 1446"/>
                  <a:gd name="T30" fmla="*/ 2240 w 2817"/>
                  <a:gd name="T31" fmla="*/ 304 h 1446"/>
                  <a:gd name="T32" fmla="*/ 2357 w 2817"/>
                  <a:gd name="T33" fmla="*/ 394 h 1446"/>
                  <a:gd name="T34" fmla="*/ 2468 w 2817"/>
                  <a:gd name="T35" fmla="*/ 503 h 1446"/>
                  <a:gd name="T36" fmla="*/ 2571 w 2817"/>
                  <a:gd name="T37" fmla="*/ 633 h 1446"/>
                  <a:gd name="T38" fmla="*/ 2665 w 2817"/>
                  <a:gd name="T39" fmla="*/ 787 h 1446"/>
                  <a:gd name="T40" fmla="*/ 2748 w 2817"/>
                  <a:gd name="T41" fmla="*/ 964 h 1446"/>
                  <a:gd name="T42" fmla="*/ 2816 w 2817"/>
                  <a:gd name="T43" fmla="*/ 1169 h 1446"/>
                  <a:gd name="T44" fmla="*/ 2788 w 2817"/>
                  <a:gd name="T45" fmla="*/ 1049 h 1446"/>
                  <a:gd name="T46" fmla="*/ 2714 w 2817"/>
                  <a:gd name="T47" fmla="*/ 850 h 1446"/>
                  <a:gd name="T48" fmla="*/ 2627 w 2817"/>
                  <a:gd name="T49" fmla="*/ 679 h 1446"/>
                  <a:gd name="T50" fmla="*/ 2527 w 2817"/>
                  <a:gd name="T51" fmla="*/ 531 h 1446"/>
                  <a:gd name="T52" fmla="*/ 2419 w 2817"/>
                  <a:gd name="T53" fmla="*/ 407 h 1446"/>
                  <a:gd name="T54" fmla="*/ 2305 w 2817"/>
                  <a:gd name="T55" fmla="*/ 304 h 1446"/>
                  <a:gd name="T56" fmla="*/ 2187 w 2817"/>
                  <a:gd name="T57" fmla="*/ 220 h 1446"/>
                  <a:gd name="T58" fmla="*/ 2010 w 2817"/>
                  <a:gd name="T59" fmla="*/ 125 h 1446"/>
                  <a:gd name="T60" fmla="*/ 1789 w 2817"/>
                  <a:gd name="T61" fmla="*/ 47 h 1446"/>
                  <a:gd name="T62" fmla="*/ 1603 w 2817"/>
                  <a:gd name="T63" fmla="*/ 12 h 1446"/>
                  <a:gd name="T64" fmla="*/ 1439 w 2817"/>
                  <a:gd name="T65" fmla="*/ 0 h 1446"/>
                  <a:gd name="T66" fmla="*/ 1378 w 2817"/>
                  <a:gd name="T67" fmla="*/ 1 h 1446"/>
                  <a:gd name="T68" fmla="*/ 1207 w 2817"/>
                  <a:gd name="T69" fmla="*/ 18 h 1446"/>
                  <a:gd name="T70" fmla="*/ 1007 w 2817"/>
                  <a:gd name="T71" fmla="*/ 63 h 1446"/>
                  <a:gd name="T72" fmla="*/ 776 w 2817"/>
                  <a:gd name="T73" fmla="*/ 155 h 1446"/>
                  <a:gd name="T74" fmla="*/ 627 w 2817"/>
                  <a:gd name="T75" fmla="*/ 242 h 1446"/>
                  <a:gd name="T76" fmla="*/ 508 w 2817"/>
                  <a:gd name="T77" fmla="*/ 331 h 1446"/>
                  <a:gd name="T78" fmla="*/ 393 w 2817"/>
                  <a:gd name="T79" fmla="*/ 440 h 1446"/>
                  <a:gd name="T80" fmla="*/ 286 w 2817"/>
                  <a:gd name="T81" fmla="*/ 570 h 1446"/>
                  <a:gd name="T82" fmla="*/ 187 w 2817"/>
                  <a:gd name="T83" fmla="*/ 723 h 1446"/>
                  <a:gd name="T84" fmla="*/ 103 w 2817"/>
                  <a:gd name="T85" fmla="*/ 902 h 1446"/>
                  <a:gd name="T86" fmla="*/ 32 w 2817"/>
                  <a:gd name="T87" fmla="*/ 1107 h 1446"/>
                  <a:gd name="T88" fmla="*/ 7 w 2817"/>
                  <a:gd name="T89" fmla="*/ 1216 h 1446"/>
                  <a:gd name="T90" fmla="*/ 1 w 2817"/>
                  <a:gd name="T91" fmla="*/ 1359 h 1446"/>
                  <a:gd name="T92" fmla="*/ 13 w 2817"/>
                  <a:gd name="T93" fmla="*/ 1446 h 1446"/>
                  <a:gd name="T94" fmla="*/ 18 w 2817"/>
                  <a:gd name="T95" fmla="*/ 1322 h 1446"/>
                  <a:gd name="T96" fmla="*/ 43 w 2817"/>
                  <a:gd name="T97" fmla="*/ 1172 h 1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17" h="1446">
                    <a:moveTo>
                      <a:pt x="43" y="1172"/>
                    </a:moveTo>
                    <a:lnTo>
                      <a:pt x="43" y="1172"/>
                    </a:lnTo>
                    <a:lnTo>
                      <a:pt x="58" y="1116"/>
                    </a:lnTo>
                    <a:lnTo>
                      <a:pt x="74" y="1061"/>
                    </a:lnTo>
                    <a:lnTo>
                      <a:pt x="90" y="1010"/>
                    </a:lnTo>
                    <a:lnTo>
                      <a:pt x="109" y="959"/>
                    </a:lnTo>
                    <a:lnTo>
                      <a:pt x="127" y="911"/>
                    </a:lnTo>
                    <a:lnTo>
                      <a:pt x="148" y="863"/>
                    </a:lnTo>
                    <a:lnTo>
                      <a:pt x="168" y="819"/>
                    </a:lnTo>
                    <a:lnTo>
                      <a:pt x="190" y="775"/>
                    </a:lnTo>
                    <a:lnTo>
                      <a:pt x="213" y="734"/>
                    </a:lnTo>
                    <a:lnTo>
                      <a:pt x="235" y="694"/>
                    </a:lnTo>
                    <a:lnTo>
                      <a:pt x="260" y="655"/>
                    </a:lnTo>
                    <a:lnTo>
                      <a:pt x="283" y="618"/>
                    </a:lnTo>
                    <a:lnTo>
                      <a:pt x="308" y="583"/>
                    </a:lnTo>
                    <a:lnTo>
                      <a:pt x="335" y="549"/>
                    </a:lnTo>
                    <a:lnTo>
                      <a:pt x="362" y="517"/>
                    </a:lnTo>
                    <a:lnTo>
                      <a:pt x="388" y="486"/>
                    </a:lnTo>
                    <a:lnTo>
                      <a:pt x="416" y="456"/>
                    </a:lnTo>
                    <a:lnTo>
                      <a:pt x="443" y="428"/>
                    </a:lnTo>
                    <a:lnTo>
                      <a:pt x="471" y="401"/>
                    </a:lnTo>
                    <a:lnTo>
                      <a:pt x="500" y="375"/>
                    </a:lnTo>
                    <a:lnTo>
                      <a:pt x="528" y="351"/>
                    </a:lnTo>
                    <a:lnTo>
                      <a:pt x="558" y="328"/>
                    </a:lnTo>
                    <a:lnTo>
                      <a:pt x="587" y="305"/>
                    </a:lnTo>
                    <a:lnTo>
                      <a:pt x="617" y="285"/>
                    </a:lnTo>
                    <a:lnTo>
                      <a:pt x="646" y="266"/>
                    </a:lnTo>
                    <a:lnTo>
                      <a:pt x="676" y="248"/>
                    </a:lnTo>
                    <a:lnTo>
                      <a:pt x="705" y="230"/>
                    </a:lnTo>
                    <a:lnTo>
                      <a:pt x="735" y="214"/>
                    </a:lnTo>
                    <a:lnTo>
                      <a:pt x="794" y="184"/>
                    </a:lnTo>
                    <a:lnTo>
                      <a:pt x="853" y="159"/>
                    </a:lnTo>
                    <a:lnTo>
                      <a:pt x="911" y="137"/>
                    </a:lnTo>
                    <a:lnTo>
                      <a:pt x="968" y="118"/>
                    </a:lnTo>
                    <a:lnTo>
                      <a:pt x="1023" y="102"/>
                    </a:lnTo>
                    <a:lnTo>
                      <a:pt x="1076" y="90"/>
                    </a:lnTo>
                    <a:lnTo>
                      <a:pt x="1126" y="78"/>
                    </a:lnTo>
                    <a:lnTo>
                      <a:pt x="1175" y="71"/>
                    </a:lnTo>
                    <a:lnTo>
                      <a:pt x="1219" y="65"/>
                    </a:lnTo>
                    <a:lnTo>
                      <a:pt x="1262" y="60"/>
                    </a:lnTo>
                    <a:lnTo>
                      <a:pt x="1300" y="58"/>
                    </a:lnTo>
                    <a:lnTo>
                      <a:pt x="1334" y="56"/>
                    </a:lnTo>
                    <a:lnTo>
                      <a:pt x="1390" y="55"/>
                    </a:lnTo>
                    <a:lnTo>
                      <a:pt x="1424" y="56"/>
                    </a:lnTo>
                    <a:lnTo>
                      <a:pt x="1437" y="56"/>
                    </a:lnTo>
                    <a:lnTo>
                      <a:pt x="1437" y="56"/>
                    </a:lnTo>
                    <a:lnTo>
                      <a:pt x="1449" y="56"/>
                    </a:lnTo>
                    <a:lnTo>
                      <a:pt x="1483" y="56"/>
                    </a:lnTo>
                    <a:lnTo>
                      <a:pt x="1538" y="59"/>
                    </a:lnTo>
                    <a:lnTo>
                      <a:pt x="1570" y="62"/>
                    </a:lnTo>
                    <a:lnTo>
                      <a:pt x="1609" y="66"/>
                    </a:lnTo>
                    <a:lnTo>
                      <a:pt x="1649" y="72"/>
                    </a:lnTo>
                    <a:lnTo>
                      <a:pt x="1693" y="80"/>
                    </a:lnTo>
                    <a:lnTo>
                      <a:pt x="1740" y="89"/>
                    </a:lnTo>
                    <a:lnTo>
                      <a:pt x="1790" y="100"/>
                    </a:lnTo>
                    <a:lnTo>
                      <a:pt x="1842" y="115"/>
                    </a:lnTo>
                    <a:lnTo>
                      <a:pt x="1896" y="133"/>
                    </a:lnTo>
                    <a:lnTo>
                      <a:pt x="1951" y="152"/>
                    </a:lnTo>
                    <a:lnTo>
                      <a:pt x="2009" y="176"/>
                    </a:lnTo>
                    <a:lnTo>
                      <a:pt x="2066" y="202"/>
                    </a:lnTo>
                    <a:lnTo>
                      <a:pt x="2124" y="232"/>
                    </a:lnTo>
                    <a:lnTo>
                      <a:pt x="2183" y="266"/>
                    </a:lnTo>
                    <a:lnTo>
                      <a:pt x="2212" y="285"/>
                    </a:lnTo>
                    <a:lnTo>
                      <a:pt x="2240" y="304"/>
                    </a:lnTo>
                    <a:lnTo>
                      <a:pt x="2270" y="325"/>
                    </a:lnTo>
                    <a:lnTo>
                      <a:pt x="2299" y="347"/>
                    </a:lnTo>
                    <a:lnTo>
                      <a:pt x="2327" y="370"/>
                    </a:lnTo>
                    <a:lnTo>
                      <a:pt x="2357" y="394"/>
                    </a:lnTo>
                    <a:lnTo>
                      <a:pt x="2385" y="419"/>
                    </a:lnTo>
                    <a:lnTo>
                      <a:pt x="2413" y="446"/>
                    </a:lnTo>
                    <a:lnTo>
                      <a:pt x="2440" y="474"/>
                    </a:lnTo>
                    <a:lnTo>
                      <a:pt x="2468" y="503"/>
                    </a:lnTo>
                    <a:lnTo>
                      <a:pt x="2494" y="534"/>
                    </a:lnTo>
                    <a:lnTo>
                      <a:pt x="2521" y="565"/>
                    </a:lnTo>
                    <a:lnTo>
                      <a:pt x="2546" y="599"/>
                    </a:lnTo>
                    <a:lnTo>
                      <a:pt x="2571" y="633"/>
                    </a:lnTo>
                    <a:lnTo>
                      <a:pt x="2596" y="669"/>
                    </a:lnTo>
                    <a:lnTo>
                      <a:pt x="2620" y="707"/>
                    </a:lnTo>
                    <a:lnTo>
                      <a:pt x="2643" y="745"/>
                    </a:lnTo>
                    <a:lnTo>
                      <a:pt x="2665" y="787"/>
                    </a:lnTo>
                    <a:lnTo>
                      <a:pt x="2688" y="828"/>
                    </a:lnTo>
                    <a:lnTo>
                      <a:pt x="2708" y="872"/>
                    </a:lnTo>
                    <a:lnTo>
                      <a:pt x="2729" y="918"/>
                    </a:lnTo>
                    <a:lnTo>
                      <a:pt x="2748" y="964"/>
                    </a:lnTo>
                    <a:lnTo>
                      <a:pt x="2767" y="1012"/>
                    </a:lnTo>
                    <a:lnTo>
                      <a:pt x="2783" y="1063"/>
                    </a:lnTo>
                    <a:lnTo>
                      <a:pt x="2801" y="1116"/>
                    </a:lnTo>
                    <a:lnTo>
                      <a:pt x="2816" y="1169"/>
                    </a:lnTo>
                    <a:lnTo>
                      <a:pt x="2817" y="1160"/>
                    </a:lnTo>
                    <a:lnTo>
                      <a:pt x="2817" y="1160"/>
                    </a:lnTo>
                    <a:lnTo>
                      <a:pt x="2803" y="1104"/>
                    </a:lnTo>
                    <a:lnTo>
                      <a:pt x="2788" y="1049"/>
                    </a:lnTo>
                    <a:lnTo>
                      <a:pt x="2770" y="996"/>
                    </a:lnTo>
                    <a:lnTo>
                      <a:pt x="2752" y="946"/>
                    </a:lnTo>
                    <a:lnTo>
                      <a:pt x="2733" y="897"/>
                    </a:lnTo>
                    <a:lnTo>
                      <a:pt x="2714" y="850"/>
                    </a:lnTo>
                    <a:lnTo>
                      <a:pt x="2693" y="804"/>
                    </a:lnTo>
                    <a:lnTo>
                      <a:pt x="2671" y="762"/>
                    </a:lnTo>
                    <a:lnTo>
                      <a:pt x="2649" y="719"/>
                    </a:lnTo>
                    <a:lnTo>
                      <a:pt x="2627" y="679"/>
                    </a:lnTo>
                    <a:lnTo>
                      <a:pt x="2602" y="639"/>
                    </a:lnTo>
                    <a:lnTo>
                      <a:pt x="2578" y="602"/>
                    </a:lnTo>
                    <a:lnTo>
                      <a:pt x="2553" y="565"/>
                    </a:lnTo>
                    <a:lnTo>
                      <a:pt x="2527" y="531"/>
                    </a:lnTo>
                    <a:lnTo>
                      <a:pt x="2500" y="497"/>
                    </a:lnTo>
                    <a:lnTo>
                      <a:pt x="2474" y="466"/>
                    </a:lnTo>
                    <a:lnTo>
                      <a:pt x="2447" y="435"/>
                    </a:lnTo>
                    <a:lnTo>
                      <a:pt x="2419" y="407"/>
                    </a:lnTo>
                    <a:lnTo>
                      <a:pt x="2391" y="379"/>
                    </a:lnTo>
                    <a:lnTo>
                      <a:pt x="2363" y="353"/>
                    </a:lnTo>
                    <a:lnTo>
                      <a:pt x="2333" y="328"/>
                    </a:lnTo>
                    <a:lnTo>
                      <a:pt x="2305" y="304"/>
                    </a:lnTo>
                    <a:lnTo>
                      <a:pt x="2276" y="280"/>
                    </a:lnTo>
                    <a:lnTo>
                      <a:pt x="2246" y="260"/>
                    </a:lnTo>
                    <a:lnTo>
                      <a:pt x="2217" y="239"/>
                    </a:lnTo>
                    <a:lnTo>
                      <a:pt x="2187" y="220"/>
                    </a:lnTo>
                    <a:lnTo>
                      <a:pt x="2158" y="201"/>
                    </a:lnTo>
                    <a:lnTo>
                      <a:pt x="2128" y="184"/>
                    </a:lnTo>
                    <a:lnTo>
                      <a:pt x="2069" y="152"/>
                    </a:lnTo>
                    <a:lnTo>
                      <a:pt x="2010" y="125"/>
                    </a:lnTo>
                    <a:lnTo>
                      <a:pt x="1953" y="100"/>
                    </a:lnTo>
                    <a:lnTo>
                      <a:pt x="1896" y="80"/>
                    </a:lnTo>
                    <a:lnTo>
                      <a:pt x="1840" y="62"/>
                    </a:lnTo>
                    <a:lnTo>
                      <a:pt x="1789" y="47"/>
                    </a:lnTo>
                    <a:lnTo>
                      <a:pt x="1737" y="35"/>
                    </a:lnTo>
                    <a:lnTo>
                      <a:pt x="1690" y="25"/>
                    </a:lnTo>
                    <a:lnTo>
                      <a:pt x="1644" y="18"/>
                    </a:lnTo>
                    <a:lnTo>
                      <a:pt x="1603" y="12"/>
                    </a:lnTo>
                    <a:lnTo>
                      <a:pt x="1564" y="7"/>
                    </a:lnTo>
                    <a:lnTo>
                      <a:pt x="1529" y="4"/>
                    </a:lnTo>
                    <a:lnTo>
                      <a:pt x="1474" y="1"/>
                    </a:lnTo>
                    <a:lnTo>
                      <a:pt x="1439" y="0"/>
                    </a:lnTo>
                    <a:lnTo>
                      <a:pt x="1427" y="1"/>
                    </a:lnTo>
                    <a:lnTo>
                      <a:pt x="1427" y="1"/>
                    </a:lnTo>
                    <a:lnTo>
                      <a:pt x="1414" y="0"/>
                    </a:lnTo>
                    <a:lnTo>
                      <a:pt x="1378" y="1"/>
                    </a:lnTo>
                    <a:lnTo>
                      <a:pt x="1322" y="4"/>
                    </a:lnTo>
                    <a:lnTo>
                      <a:pt x="1288" y="7"/>
                    </a:lnTo>
                    <a:lnTo>
                      <a:pt x="1250" y="12"/>
                    </a:lnTo>
                    <a:lnTo>
                      <a:pt x="1207" y="18"/>
                    </a:lnTo>
                    <a:lnTo>
                      <a:pt x="1162" y="27"/>
                    </a:lnTo>
                    <a:lnTo>
                      <a:pt x="1113" y="37"/>
                    </a:lnTo>
                    <a:lnTo>
                      <a:pt x="1061" y="49"/>
                    </a:lnTo>
                    <a:lnTo>
                      <a:pt x="1007" y="63"/>
                    </a:lnTo>
                    <a:lnTo>
                      <a:pt x="952" y="81"/>
                    </a:lnTo>
                    <a:lnTo>
                      <a:pt x="894" y="103"/>
                    </a:lnTo>
                    <a:lnTo>
                      <a:pt x="835" y="127"/>
                    </a:lnTo>
                    <a:lnTo>
                      <a:pt x="776" y="155"/>
                    </a:lnTo>
                    <a:lnTo>
                      <a:pt x="717" y="186"/>
                    </a:lnTo>
                    <a:lnTo>
                      <a:pt x="686" y="204"/>
                    </a:lnTo>
                    <a:lnTo>
                      <a:pt x="657" y="223"/>
                    </a:lnTo>
                    <a:lnTo>
                      <a:pt x="627" y="242"/>
                    </a:lnTo>
                    <a:lnTo>
                      <a:pt x="596" y="263"/>
                    </a:lnTo>
                    <a:lnTo>
                      <a:pt x="567" y="283"/>
                    </a:lnTo>
                    <a:lnTo>
                      <a:pt x="537" y="307"/>
                    </a:lnTo>
                    <a:lnTo>
                      <a:pt x="508" y="331"/>
                    </a:lnTo>
                    <a:lnTo>
                      <a:pt x="478" y="356"/>
                    </a:lnTo>
                    <a:lnTo>
                      <a:pt x="450" y="382"/>
                    </a:lnTo>
                    <a:lnTo>
                      <a:pt x="422" y="410"/>
                    </a:lnTo>
                    <a:lnTo>
                      <a:pt x="393" y="440"/>
                    </a:lnTo>
                    <a:lnTo>
                      <a:pt x="366" y="469"/>
                    </a:lnTo>
                    <a:lnTo>
                      <a:pt x="338" y="502"/>
                    </a:lnTo>
                    <a:lnTo>
                      <a:pt x="311" y="534"/>
                    </a:lnTo>
                    <a:lnTo>
                      <a:pt x="286" y="570"/>
                    </a:lnTo>
                    <a:lnTo>
                      <a:pt x="260" y="605"/>
                    </a:lnTo>
                    <a:lnTo>
                      <a:pt x="236" y="643"/>
                    </a:lnTo>
                    <a:lnTo>
                      <a:pt x="211" y="682"/>
                    </a:lnTo>
                    <a:lnTo>
                      <a:pt x="187" y="723"/>
                    </a:lnTo>
                    <a:lnTo>
                      <a:pt x="165" y="765"/>
                    </a:lnTo>
                    <a:lnTo>
                      <a:pt x="143" y="809"/>
                    </a:lnTo>
                    <a:lnTo>
                      <a:pt x="123" y="855"/>
                    </a:lnTo>
                    <a:lnTo>
                      <a:pt x="103" y="902"/>
                    </a:lnTo>
                    <a:lnTo>
                      <a:pt x="84" y="950"/>
                    </a:lnTo>
                    <a:lnTo>
                      <a:pt x="65" y="1001"/>
                    </a:lnTo>
                    <a:lnTo>
                      <a:pt x="49" y="1054"/>
                    </a:lnTo>
                    <a:lnTo>
                      <a:pt x="32" y="1107"/>
                    </a:lnTo>
                    <a:lnTo>
                      <a:pt x="18" y="1163"/>
                    </a:lnTo>
                    <a:lnTo>
                      <a:pt x="18" y="1163"/>
                    </a:lnTo>
                    <a:lnTo>
                      <a:pt x="12" y="1190"/>
                    </a:lnTo>
                    <a:lnTo>
                      <a:pt x="7" y="1216"/>
                    </a:lnTo>
                    <a:lnTo>
                      <a:pt x="4" y="1243"/>
                    </a:lnTo>
                    <a:lnTo>
                      <a:pt x="1" y="1268"/>
                    </a:lnTo>
                    <a:lnTo>
                      <a:pt x="0" y="1316"/>
                    </a:lnTo>
                    <a:lnTo>
                      <a:pt x="1" y="1359"/>
                    </a:lnTo>
                    <a:lnTo>
                      <a:pt x="6" y="1395"/>
                    </a:lnTo>
                    <a:lnTo>
                      <a:pt x="9" y="1423"/>
                    </a:lnTo>
                    <a:lnTo>
                      <a:pt x="13" y="1446"/>
                    </a:lnTo>
                    <a:lnTo>
                      <a:pt x="13" y="1446"/>
                    </a:lnTo>
                    <a:lnTo>
                      <a:pt x="13" y="1424"/>
                    </a:lnTo>
                    <a:lnTo>
                      <a:pt x="13" y="1398"/>
                    </a:lnTo>
                    <a:lnTo>
                      <a:pt x="15" y="1364"/>
                    </a:lnTo>
                    <a:lnTo>
                      <a:pt x="18" y="1322"/>
                    </a:lnTo>
                    <a:lnTo>
                      <a:pt x="24" y="1277"/>
                    </a:lnTo>
                    <a:lnTo>
                      <a:pt x="31" y="1225"/>
                    </a:lnTo>
                    <a:lnTo>
                      <a:pt x="43" y="1172"/>
                    </a:lnTo>
                    <a:lnTo>
                      <a:pt x="43" y="1172"/>
                    </a:lnTo>
                    <a:close/>
                  </a:path>
                </a:pathLst>
              </a:custGeom>
              <a:gradFill>
                <a:gsLst>
                  <a:gs pos="100000">
                    <a:srgbClr val="00B0F0">
                      <a:alpha val="0"/>
                    </a:srgbClr>
                  </a:gs>
                  <a:gs pos="34000">
                    <a:schemeClr val="bg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" name="Freeform 14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5668286" y="3652752"/>
                <a:ext cx="247271" cy="163293"/>
              </a:xfrm>
              <a:custGeom>
                <a:avLst/>
                <a:gdLst>
                  <a:gd name="T0" fmla="*/ 358 w 634"/>
                  <a:gd name="T1" fmla="*/ 0 h 419"/>
                  <a:gd name="T2" fmla="*/ 358 w 634"/>
                  <a:gd name="T3" fmla="*/ 0 h 419"/>
                  <a:gd name="T4" fmla="*/ 344 w 634"/>
                  <a:gd name="T5" fmla="*/ 8 h 419"/>
                  <a:gd name="T6" fmla="*/ 326 w 634"/>
                  <a:gd name="T7" fmla="*/ 22 h 419"/>
                  <a:gd name="T8" fmla="*/ 302 w 634"/>
                  <a:gd name="T9" fmla="*/ 41 h 419"/>
                  <a:gd name="T10" fmla="*/ 271 w 634"/>
                  <a:gd name="T11" fmla="*/ 66 h 419"/>
                  <a:gd name="T12" fmla="*/ 236 w 634"/>
                  <a:gd name="T13" fmla="*/ 100 h 419"/>
                  <a:gd name="T14" fmla="*/ 195 w 634"/>
                  <a:gd name="T15" fmla="*/ 140 h 419"/>
                  <a:gd name="T16" fmla="*/ 149 w 634"/>
                  <a:gd name="T17" fmla="*/ 189 h 419"/>
                  <a:gd name="T18" fmla="*/ 149 w 634"/>
                  <a:gd name="T19" fmla="*/ 189 h 419"/>
                  <a:gd name="T20" fmla="*/ 121 w 634"/>
                  <a:gd name="T21" fmla="*/ 220 h 419"/>
                  <a:gd name="T22" fmla="*/ 94 w 634"/>
                  <a:gd name="T23" fmla="*/ 252 h 419"/>
                  <a:gd name="T24" fmla="*/ 47 w 634"/>
                  <a:gd name="T25" fmla="*/ 314 h 419"/>
                  <a:gd name="T26" fmla="*/ 13 w 634"/>
                  <a:gd name="T27" fmla="*/ 363 h 419"/>
                  <a:gd name="T28" fmla="*/ 0 w 634"/>
                  <a:gd name="T29" fmla="*/ 380 h 419"/>
                  <a:gd name="T30" fmla="*/ 265 w 634"/>
                  <a:gd name="T31" fmla="*/ 419 h 419"/>
                  <a:gd name="T32" fmla="*/ 265 w 634"/>
                  <a:gd name="T33" fmla="*/ 419 h 419"/>
                  <a:gd name="T34" fmla="*/ 279 w 634"/>
                  <a:gd name="T35" fmla="*/ 398 h 419"/>
                  <a:gd name="T36" fmla="*/ 317 w 634"/>
                  <a:gd name="T37" fmla="*/ 345 h 419"/>
                  <a:gd name="T38" fmla="*/ 342 w 634"/>
                  <a:gd name="T39" fmla="*/ 308 h 419"/>
                  <a:gd name="T40" fmla="*/ 373 w 634"/>
                  <a:gd name="T41" fmla="*/ 270 h 419"/>
                  <a:gd name="T42" fmla="*/ 407 w 634"/>
                  <a:gd name="T43" fmla="*/ 228 h 419"/>
                  <a:gd name="T44" fmla="*/ 444 w 634"/>
                  <a:gd name="T45" fmla="*/ 187 h 419"/>
                  <a:gd name="T46" fmla="*/ 444 w 634"/>
                  <a:gd name="T47" fmla="*/ 187 h 419"/>
                  <a:gd name="T48" fmla="*/ 476 w 634"/>
                  <a:gd name="T49" fmla="*/ 153 h 419"/>
                  <a:gd name="T50" fmla="*/ 510 w 634"/>
                  <a:gd name="T51" fmla="*/ 121 h 419"/>
                  <a:gd name="T52" fmla="*/ 571 w 634"/>
                  <a:gd name="T53" fmla="*/ 65 h 419"/>
                  <a:gd name="T54" fmla="*/ 617 w 634"/>
                  <a:gd name="T55" fmla="*/ 25 h 419"/>
                  <a:gd name="T56" fmla="*/ 634 w 634"/>
                  <a:gd name="T57" fmla="*/ 10 h 419"/>
                  <a:gd name="T58" fmla="*/ 358 w 634"/>
                  <a:gd name="T59" fmla="*/ 0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34" h="419">
                    <a:moveTo>
                      <a:pt x="358" y="0"/>
                    </a:moveTo>
                    <a:lnTo>
                      <a:pt x="358" y="0"/>
                    </a:lnTo>
                    <a:lnTo>
                      <a:pt x="344" y="8"/>
                    </a:lnTo>
                    <a:lnTo>
                      <a:pt x="326" y="22"/>
                    </a:lnTo>
                    <a:lnTo>
                      <a:pt x="302" y="41"/>
                    </a:lnTo>
                    <a:lnTo>
                      <a:pt x="271" y="66"/>
                    </a:lnTo>
                    <a:lnTo>
                      <a:pt x="236" y="100"/>
                    </a:lnTo>
                    <a:lnTo>
                      <a:pt x="195" y="140"/>
                    </a:lnTo>
                    <a:lnTo>
                      <a:pt x="149" y="189"/>
                    </a:lnTo>
                    <a:lnTo>
                      <a:pt x="149" y="189"/>
                    </a:lnTo>
                    <a:lnTo>
                      <a:pt x="121" y="220"/>
                    </a:lnTo>
                    <a:lnTo>
                      <a:pt x="94" y="252"/>
                    </a:lnTo>
                    <a:lnTo>
                      <a:pt x="47" y="314"/>
                    </a:lnTo>
                    <a:lnTo>
                      <a:pt x="13" y="363"/>
                    </a:lnTo>
                    <a:lnTo>
                      <a:pt x="0" y="380"/>
                    </a:lnTo>
                    <a:lnTo>
                      <a:pt x="265" y="419"/>
                    </a:lnTo>
                    <a:lnTo>
                      <a:pt x="265" y="419"/>
                    </a:lnTo>
                    <a:lnTo>
                      <a:pt x="279" y="398"/>
                    </a:lnTo>
                    <a:lnTo>
                      <a:pt x="317" y="345"/>
                    </a:lnTo>
                    <a:lnTo>
                      <a:pt x="342" y="308"/>
                    </a:lnTo>
                    <a:lnTo>
                      <a:pt x="373" y="270"/>
                    </a:lnTo>
                    <a:lnTo>
                      <a:pt x="407" y="228"/>
                    </a:lnTo>
                    <a:lnTo>
                      <a:pt x="444" y="187"/>
                    </a:lnTo>
                    <a:lnTo>
                      <a:pt x="444" y="187"/>
                    </a:lnTo>
                    <a:lnTo>
                      <a:pt x="476" y="153"/>
                    </a:lnTo>
                    <a:lnTo>
                      <a:pt x="510" y="121"/>
                    </a:lnTo>
                    <a:lnTo>
                      <a:pt x="571" y="65"/>
                    </a:lnTo>
                    <a:lnTo>
                      <a:pt x="617" y="25"/>
                    </a:lnTo>
                    <a:lnTo>
                      <a:pt x="634" y="10"/>
                    </a:lnTo>
                    <a:lnTo>
                      <a:pt x="358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0B0F0">
                      <a:alpha val="0"/>
                    </a:srgbClr>
                  </a:gs>
                  <a:gs pos="0">
                    <a:schemeClr val="bg1">
                      <a:alpha val="76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" name="Freeform 15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5602191" y="3841705"/>
                <a:ext cx="227832" cy="586298"/>
              </a:xfrm>
              <a:custGeom>
                <a:avLst/>
                <a:gdLst>
                  <a:gd name="T0" fmla="*/ 386 w 586"/>
                  <a:gd name="T1" fmla="*/ 27 h 1509"/>
                  <a:gd name="T2" fmla="*/ 378 w 586"/>
                  <a:gd name="T3" fmla="*/ 44 h 1509"/>
                  <a:gd name="T4" fmla="*/ 349 w 586"/>
                  <a:gd name="T5" fmla="*/ 126 h 1509"/>
                  <a:gd name="T6" fmla="*/ 324 w 586"/>
                  <a:gd name="T7" fmla="*/ 208 h 1509"/>
                  <a:gd name="T8" fmla="*/ 297 w 586"/>
                  <a:gd name="T9" fmla="*/ 310 h 1509"/>
                  <a:gd name="T10" fmla="*/ 275 w 586"/>
                  <a:gd name="T11" fmla="*/ 424 h 1509"/>
                  <a:gd name="T12" fmla="*/ 263 w 586"/>
                  <a:gd name="T13" fmla="*/ 545 h 1509"/>
                  <a:gd name="T14" fmla="*/ 262 w 586"/>
                  <a:gd name="T15" fmla="*/ 607 h 1509"/>
                  <a:gd name="T16" fmla="*/ 265 w 586"/>
                  <a:gd name="T17" fmla="*/ 670 h 1509"/>
                  <a:gd name="T18" fmla="*/ 271 w 586"/>
                  <a:gd name="T19" fmla="*/ 731 h 1509"/>
                  <a:gd name="T20" fmla="*/ 278 w 586"/>
                  <a:gd name="T21" fmla="*/ 772 h 1509"/>
                  <a:gd name="T22" fmla="*/ 294 w 586"/>
                  <a:gd name="T23" fmla="*/ 852 h 1509"/>
                  <a:gd name="T24" fmla="*/ 313 w 586"/>
                  <a:gd name="T25" fmla="*/ 929 h 1509"/>
                  <a:gd name="T26" fmla="*/ 349 w 586"/>
                  <a:gd name="T27" fmla="*/ 1036 h 1509"/>
                  <a:gd name="T28" fmla="*/ 400 w 586"/>
                  <a:gd name="T29" fmla="*/ 1166 h 1509"/>
                  <a:gd name="T30" fmla="*/ 454 w 586"/>
                  <a:gd name="T31" fmla="*/ 1278 h 1509"/>
                  <a:gd name="T32" fmla="*/ 504 w 586"/>
                  <a:gd name="T33" fmla="*/ 1368 h 1509"/>
                  <a:gd name="T34" fmla="*/ 547 w 586"/>
                  <a:gd name="T35" fmla="*/ 1436 h 1509"/>
                  <a:gd name="T36" fmla="*/ 586 w 586"/>
                  <a:gd name="T37" fmla="*/ 1492 h 1509"/>
                  <a:gd name="T38" fmla="*/ 383 w 586"/>
                  <a:gd name="T39" fmla="*/ 1509 h 1509"/>
                  <a:gd name="T40" fmla="*/ 331 w 586"/>
                  <a:gd name="T41" fmla="*/ 1445 h 1509"/>
                  <a:gd name="T42" fmla="*/ 276 w 586"/>
                  <a:gd name="T43" fmla="*/ 1371 h 1509"/>
                  <a:gd name="T44" fmla="*/ 213 w 586"/>
                  <a:gd name="T45" fmla="*/ 1274 h 1509"/>
                  <a:gd name="T46" fmla="*/ 148 w 586"/>
                  <a:gd name="T47" fmla="*/ 1157 h 1509"/>
                  <a:gd name="T48" fmla="*/ 101 w 586"/>
                  <a:gd name="T49" fmla="*/ 1060 h 1509"/>
                  <a:gd name="T50" fmla="*/ 73 w 586"/>
                  <a:gd name="T51" fmla="*/ 991 h 1509"/>
                  <a:gd name="T52" fmla="*/ 49 w 586"/>
                  <a:gd name="T53" fmla="*/ 920 h 1509"/>
                  <a:gd name="T54" fmla="*/ 29 w 586"/>
                  <a:gd name="T55" fmla="*/ 844 h 1509"/>
                  <a:gd name="T56" fmla="*/ 14 w 586"/>
                  <a:gd name="T57" fmla="*/ 769 h 1509"/>
                  <a:gd name="T58" fmla="*/ 9 w 586"/>
                  <a:gd name="T59" fmla="*/ 731 h 1509"/>
                  <a:gd name="T60" fmla="*/ 2 w 586"/>
                  <a:gd name="T61" fmla="*/ 656 h 1509"/>
                  <a:gd name="T62" fmla="*/ 0 w 586"/>
                  <a:gd name="T63" fmla="*/ 582 h 1509"/>
                  <a:gd name="T64" fmla="*/ 2 w 586"/>
                  <a:gd name="T65" fmla="*/ 512 h 1509"/>
                  <a:gd name="T66" fmla="*/ 15 w 586"/>
                  <a:gd name="T67" fmla="*/ 381 h 1509"/>
                  <a:gd name="T68" fmla="*/ 36 w 586"/>
                  <a:gd name="T69" fmla="*/ 264 h 1509"/>
                  <a:gd name="T70" fmla="*/ 61 w 586"/>
                  <a:gd name="T71" fmla="*/ 166 h 1509"/>
                  <a:gd name="T72" fmla="*/ 86 w 586"/>
                  <a:gd name="T73" fmla="*/ 87 h 1509"/>
                  <a:gd name="T74" fmla="*/ 116 w 586"/>
                  <a:gd name="T75" fmla="*/ 15 h 1509"/>
                  <a:gd name="T76" fmla="*/ 123 w 586"/>
                  <a:gd name="T77" fmla="*/ 0 h 1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6" h="1509">
                    <a:moveTo>
                      <a:pt x="123" y="0"/>
                    </a:moveTo>
                    <a:lnTo>
                      <a:pt x="386" y="27"/>
                    </a:lnTo>
                    <a:lnTo>
                      <a:pt x="386" y="27"/>
                    </a:lnTo>
                    <a:lnTo>
                      <a:pt x="378" y="44"/>
                    </a:lnTo>
                    <a:lnTo>
                      <a:pt x="361" y="92"/>
                    </a:lnTo>
                    <a:lnTo>
                      <a:pt x="349" y="126"/>
                    </a:lnTo>
                    <a:lnTo>
                      <a:pt x="337" y="164"/>
                    </a:lnTo>
                    <a:lnTo>
                      <a:pt x="324" y="208"/>
                    </a:lnTo>
                    <a:lnTo>
                      <a:pt x="310" y="257"/>
                    </a:lnTo>
                    <a:lnTo>
                      <a:pt x="297" y="310"/>
                    </a:lnTo>
                    <a:lnTo>
                      <a:pt x="285" y="365"/>
                    </a:lnTo>
                    <a:lnTo>
                      <a:pt x="275" y="424"/>
                    </a:lnTo>
                    <a:lnTo>
                      <a:pt x="268" y="484"/>
                    </a:lnTo>
                    <a:lnTo>
                      <a:pt x="263" y="545"/>
                    </a:lnTo>
                    <a:lnTo>
                      <a:pt x="262" y="576"/>
                    </a:lnTo>
                    <a:lnTo>
                      <a:pt x="262" y="607"/>
                    </a:lnTo>
                    <a:lnTo>
                      <a:pt x="262" y="639"/>
                    </a:lnTo>
                    <a:lnTo>
                      <a:pt x="265" y="670"/>
                    </a:lnTo>
                    <a:lnTo>
                      <a:pt x="266" y="701"/>
                    </a:lnTo>
                    <a:lnTo>
                      <a:pt x="271" y="731"/>
                    </a:lnTo>
                    <a:lnTo>
                      <a:pt x="271" y="731"/>
                    </a:lnTo>
                    <a:lnTo>
                      <a:pt x="278" y="772"/>
                    </a:lnTo>
                    <a:lnTo>
                      <a:pt x="285" y="813"/>
                    </a:lnTo>
                    <a:lnTo>
                      <a:pt x="294" y="852"/>
                    </a:lnTo>
                    <a:lnTo>
                      <a:pt x="303" y="892"/>
                    </a:lnTo>
                    <a:lnTo>
                      <a:pt x="313" y="929"/>
                    </a:lnTo>
                    <a:lnTo>
                      <a:pt x="325" y="965"/>
                    </a:lnTo>
                    <a:lnTo>
                      <a:pt x="349" y="1036"/>
                    </a:lnTo>
                    <a:lnTo>
                      <a:pt x="374" y="1104"/>
                    </a:lnTo>
                    <a:lnTo>
                      <a:pt x="400" y="1166"/>
                    </a:lnTo>
                    <a:lnTo>
                      <a:pt x="427" y="1225"/>
                    </a:lnTo>
                    <a:lnTo>
                      <a:pt x="454" y="1278"/>
                    </a:lnTo>
                    <a:lnTo>
                      <a:pt x="480" y="1326"/>
                    </a:lnTo>
                    <a:lnTo>
                      <a:pt x="504" y="1368"/>
                    </a:lnTo>
                    <a:lnTo>
                      <a:pt x="527" y="1405"/>
                    </a:lnTo>
                    <a:lnTo>
                      <a:pt x="547" y="1436"/>
                    </a:lnTo>
                    <a:lnTo>
                      <a:pt x="576" y="1478"/>
                    </a:lnTo>
                    <a:lnTo>
                      <a:pt x="586" y="1492"/>
                    </a:lnTo>
                    <a:lnTo>
                      <a:pt x="383" y="1509"/>
                    </a:lnTo>
                    <a:lnTo>
                      <a:pt x="383" y="1509"/>
                    </a:lnTo>
                    <a:lnTo>
                      <a:pt x="369" y="1492"/>
                    </a:lnTo>
                    <a:lnTo>
                      <a:pt x="331" y="1445"/>
                    </a:lnTo>
                    <a:lnTo>
                      <a:pt x="306" y="1411"/>
                    </a:lnTo>
                    <a:lnTo>
                      <a:pt x="276" y="1371"/>
                    </a:lnTo>
                    <a:lnTo>
                      <a:pt x="245" y="1326"/>
                    </a:lnTo>
                    <a:lnTo>
                      <a:pt x="213" y="1274"/>
                    </a:lnTo>
                    <a:lnTo>
                      <a:pt x="181" y="1218"/>
                    </a:lnTo>
                    <a:lnTo>
                      <a:pt x="148" y="1157"/>
                    </a:lnTo>
                    <a:lnTo>
                      <a:pt x="116" y="1094"/>
                    </a:lnTo>
                    <a:lnTo>
                      <a:pt x="101" y="1060"/>
                    </a:lnTo>
                    <a:lnTo>
                      <a:pt x="86" y="1026"/>
                    </a:lnTo>
                    <a:lnTo>
                      <a:pt x="73" y="991"/>
                    </a:lnTo>
                    <a:lnTo>
                      <a:pt x="61" y="955"/>
                    </a:lnTo>
                    <a:lnTo>
                      <a:pt x="49" y="920"/>
                    </a:lnTo>
                    <a:lnTo>
                      <a:pt x="37" y="883"/>
                    </a:lnTo>
                    <a:lnTo>
                      <a:pt x="29" y="844"/>
                    </a:lnTo>
                    <a:lnTo>
                      <a:pt x="21" y="808"/>
                    </a:lnTo>
                    <a:lnTo>
                      <a:pt x="14" y="769"/>
                    </a:lnTo>
                    <a:lnTo>
                      <a:pt x="9" y="731"/>
                    </a:lnTo>
                    <a:lnTo>
                      <a:pt x="9" y="731"/>
                    </a:lnTo>
                    <a:lnTo>
                      <a:pt x="5" y="694"/>
                    </a:lnTo>
                    <a:lnTo>
                      <a:pt x="2" y="656"/>
                    </a:lnTo>
                    <a:lnTo>
                      <a:pt x="0" y="619"/>
                    </a:lnTo>
                    <a:lnTo>
                      <a:pt x="0" y="582"/>
                    </a:lnTo>
                    <a:lnTo>
                      <a:pt x="0" y="546"/>
                    </a:lnTo>
                    <a:lnTo>
                      <a:pt x="2" y="512"/>
                    </a:lnTo>
                    <a:lnTo>
                      <a:pt x="8" y="444"/>
                    </a:lnTo>
                    <a:lnTo>
                      <a:pt x="15" y="381"/>
                    </a:lnTo>
                    <a:lnTo>
                      <a:pt x="24" y="320"/>
                    </a:lnTo>
                    <a:lnTo>
                      <a:pt x="36" y="264"/>
                    </a:lnTo>
                    <a:lnTo>
                      <a:pt x="49" y="213"/>
                    </a:lnTo>
                    <a:lnTo>
                      <a:pt x="61" y="166"/>
                    </a:lnTo>
                    <a:lnTo>
                      <a:pt x="74" y="124"/>
                    </a:lnTo>
                    <a:lnTo>
                      <a:pt x="86" y="87"/>
                    </a:lnTo>
                    <a:lnTo>
                      <a:pt x="98" y="56"/>
                    </a:lnTo>
                    <a:lnTo>
                      <a:pt x="116" y="15"/>
                    </a:ln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alpha val="0"/>
                    </a:srgb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" name="Freeform 16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6368888" y="4102973"/>
                <a:ext cx="255825" cy="599517"/>
              </a:xfrm>
              <a:custGeom>
                <a:avLst/>
                <a:gdLst>
                  <a:gd name="T0" fmla="*/ 654 w 658"/>
                  <a:gd name="T1" fmla="*/ 0 h 1542"/>
                  <a:gd name="T2" fmla="*/ 656 w 658"/>
                  <a:gd name="T3" fmla="*/ 28 h 1542"/>
                  <a:gd name="T4" fmla="*/ 658 w 658"/>
                  <a:gd name="T5" fmla="*/ 75 h 1542"/>
                  <a:gd name="T6" fmla="*/ 655 w 658"/>
                  <a:gd name="T7" fmla="*/ 144 h 1542"/>
                  <a:gd name="T8" fmla="*/ 640 w 658"/>
                  <a:gd name="T9" fmla="*/ 233 h 1542"/>
                  <a:gd name="T10" fmla="*/ 612 w 658"/>
                  <a:gd name="T11" fmla="*/ 339 h 1542"/>
                  <a:gd name="T12" fmla="*/ 578 w 658"/>
                  <a:gd name="T13" fmla="*/ 431 h 1542"/>
                  <a:gd name="T14" fmla="*/ 550 w 658"/>
                  <a:gd name="T15" fmla="*/ 496 h 1542"/>
                  <a:gd name="T16" fmla="*/ 515 w 658"/>
                  <a:gd name="T17" fmla="*/ 565 h 1542"/>
                  <a:gd name="T18" fmla="*/ 473 w 658"/>
                  <a:gd name="T19" fmla="*/ 637 h 1542"/>
                  <a:gd name="T20" fmla="*/ 450 w 658"/>
                  <a:gd name="T21" fmla="*/ 676 h 1542"/>
                  <a:gd name="T22" fmla="*/ 332 w 658"/>
                  <a:gd name="T23" fmla="*/ 866 h 1542"/>
                  <a:gd name="T24" fmla="*/ 234 w 658"/>
                  <a:gd name="T25" fmla="*/ 1036 h 1542"/>
                  <a:gd name="T26" fmla="*/ 156 w 658"/>
                  <a:gd name="T27" fmla="*/ 1183 h 1542"/>
                  <a:gd name="T28" fmla="*/ 96 w 658"/>
                  <a:gd name="T29" fmla="*/ 1309 h 1542"/>
                  <a:gd name="T30" fmla="*/ 51 w 658"/>
                  <a:gd name="T31" fmla="*/ 1408 h 1542"/>
                  <a:gd name="T32" fmla="*/ 6 w 658"/>
                  <a:gd name="T33" fmla="*/ 1526 h 1542"/>
                  <a:gd name="T34" fmla="*/ 0 w 658"/>
                  <a:gd name="T35" fmla="*/ 1542 h 1542"/>
                  <a:gd name="T36" fmla="*/ 9 w 658"/>
                  <a:gd name="T37" fmla="*/ 1496 h 1542"/>
                  <a:gd name="T38" fmla="*/ 31 w 658"/>
                  <a:gd name="T39" fmla="*/ 1406 h 1542"/>
                  <a:gd name="T40" fmla="*/ 59 w 658"/>
                  <a:gd name="T41" fmla="*/ 1322 h 1542"/>
                  <a:gd name="T42" fmla="*/ 97 w 658"/>
                  <a:gd name="T43" fmla="*/ 1220 h 1542"/>
                  <a:gd name="T44" fmla="*/ 150 w 658"/>
                  <a:gd name="T45" fmla="*/ 1104 h 1542"/>
                  <a:gd name="T46" fmla="*/ 220 w 658"/>
                  <a:gd name="T47" fmla="*/ 972 h 1542"/>
                  <a:gd name="T48" fmla="*/ 261 w 658"/>
                  <a:gd name="T49" fmla="*/ 902 h 1542"/>
                  <a:gd name="T50" fmla="*/ 420 w 658"/>
                  <a:gd name="T51" fmla="*/ 639 h 1542"/>
                  <a:gd name="T52" fmla="*/ 482 w 658"/>
                  <a:gd name="T53" fmla="*/ 534 h 1542"/>
                  <a:gd name="T54" fmla="*/ 534 w 658"/>
                  <a:gd name="T55" fmla="*/ 437 h 1542"/>
                  <a:gd name="T56" fmla="*/ 575 w 658"/>
                  <a:gd name="T57" fmla="*/ 342 h 1542"/>
                  <a:gd name="T58" fmla="*/ 609 w 658"/>
                  <a:gd name="T59" fmla="*/ 242 h 1542"/>
                  <a:gd name="T60" fmla="*/ 634 w 658"/>
                  <a:gd name="T61" fmla="*/ 130 h 1542"/>
                  <a:gd name="T62" fmla="*/ 654 w 658"/>
                  <a:gd name="T63" fmla="*/ 0 h 1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58" h="1542">
                    <a:moveTo>
                      <a:pt x="654" y="0"/>
                    </a:moveTo>
                    <a:lnTo>
                      <a:pt x="654" y="0"/>
                    </a:lnTo>
                    <a:lnTo>
                      <a:pt x="655" y="13"/>
                    </a:lnTo>
                    <a:lnTo>
                      <a:pt x="656" y="28"/>
                    </a:lnTo>
                    <a:lnTo>
                      <a:pt x="658" y="48"/>
                    </a:lnTo>
                    <a:lnTo>
                      <a:pt x="658" y="75"/>
                    </a:lnTo>
                    <a:lnTo>
                      <a:pt x="658" y="107"/>
                    </a:lnTo>
                    <a:lnTo>
                      <a:pt x="655" y="144"/>
                    </a:lnTo>
                    <a:lnTo>
                      <a:pt x="649" y="186"/>
                    </a:lnTo>
                    <a:lnTo>
                      <a:pt x="640" y="233"/>
                    </a:lnTo>
                    <a:lnTo>
                      <a:pt x="628" y="283"/>
                    </a:lnTo>
                    <a:lnTo>
                      <a:pt x="612" y="339"/>
                    </a:lnTo>
                    <a:lnTo>
                      <a:pt x="592" y="400"/>
                    </a:lnTo>
                    <a:lnTo>
                      <a:pt x="578" y="431"/>
                    </a:lnTo>
                    <a:lnTo>
                      <a:pt x="565" y="463"/>
                    </a:lnTo>
                    <a:lnTo>
                      <a:pt x="550" y="496"/>
                    </a:lnTo>
                    <a:lnTo>
                      <a:pt x="532" y="530"/>
                    </a:lnTo>
                    <a:lnTo>
                      <a:pt x="515" y="565"/>
                    </a:lnTo>
                    <a:lnTo>
                      <a:pt x="494" y="600"/>
                    </a:lnTo>
                    <a:lnTo>
                      <a:pt x="473" y="637"/>
                    </a:lnTo>
                    <a:lnTo>
                      <a:pt x="450" y="676"/>
                    </a:lnTo>
                    <a:lnTo>
                      <a:pt x="450" y="676"/>
                    </a:lnTo>
                    <a:lnTo>
                      <a:pt x="388" y="773"/>
                    </a:lnTo>
                    <a:lnTo>
                      <a:pt x="332" y="866"/>
                    </a:lnTo>
                    <a:lnTo>
                      <a:pt x="280" y="953"/>
                    </a:lnTo>
                    <a:lnTo>
                      <a:pt x="234" y="1036"/>
                    </a:lnTo>
                    <a:lnTo>
                      <a:pt x="193" y="1113"/>
                    </a:lnTo>
                    <a:lnTo>
                      <a:pt x="156" y="1183"/>
                    </a:lnTo>
                    <a:lnTo>
                      <a:pt x="124" y="1250"/>
                    </a:lnTo>
                    <a:lnTo>
                      <a:pt x="96" y="1309"/>
                    </a:lnTo>
                    <a:lnTo>
                      <a:pt x="72" y="1362"/>
                    </a:lnTo>
                    <a:lnTo>
                      <a:pt x="51" y="1408"/>
                    </a:lnTo>
                    <a:lnTo>
                      <a:pt x="22" y="1482"/>
                    </a:lnTo>
                    <a:lnTo>
                      <a:pt x="6" y="1526"/>
                    </a:lnTo>
                    <a:lnTo>
                      <a:pt x="0" y="1542"/>
                    </a:lnTo>
                    <a:lnTo>
                      <a:pt x="0" y="1542"/>
                    </a:lnTo>
                    <a:lnTo>
                      <a:pt x="1" y="1530"/>
                    </a:lnTo>
                    <a:lnTo>
                      <a:pt x="9" y="1496"/>
                    </a:lnTo>
                    <a:lnTo>
                      <a:pt x="22" y="1440"/>
                    </a:lnTo>
                    <a:lnTo>
                      <a:pt x="31" y="1406"/>
                    </a:lnTo>
                    <a:lnTo>
                      <a:pt x="44" y="1366"/>
                    </a:lnTo>
                    <a:lnTo>
                      <a:pt x="59" y="1322"/>
                    </a:lnTo>
                    <a:lnTo>
                      <a:pt x="76" y="1273"/>
                    </a:lnTo>
                    <a:lnTo>
                      <a:pt x="97" y="1220"/>
                    </a:lnTo>
                    <a:lnTo>
                      <a:pt x="122" y="1164"/>
                    </a:lnTo>
                    <a:lnTo>
                      <a:pt x="150" y="1104"/>
                    </a:lnTo>
                    <a:lnTo>
                      <a:pt x="183" y="1040"/>
                    </a:lnTo>
                    <a:lnTo>
                      <a:pt x="220" y="972"/>
                    </a:lnTo>
                    <a:lnTo>
                      <a:pt x="261" y="902"/>
                    </a:lnTo>
                    <a:lnTo>
                      <a:pt x="261" y="902"/>
                    </a:lnTo>
                    <a:lnTo>
                      <a:pt x="347" y="760"/>
                    </a:lnTo>
                    <a:lnTo>
                      <a:pt x="420" y="639"/>
                    </a:lnTo>
                    <a:lnTo>
                      <a:pt x="453" y="586"/>
                    </a:lnTo>
                    <a:lnTo>
                      <a:pt x="482" y="534"/>
                    </a:lnTo>
                    <a:lnTo>
                      <a:pt x="509" y="485"/>
                    </a:lnTo>
                    <a:lnTo>
                      <a:pt x="534" y="437"/>
                    </a:lnTo>
                    <a:lnTo>
                      <a:pt x="556" y="389"/>
                    </a:lnTo>
                    <a:lnTo>
                      <a:pt x="575" y="342"/>
                    </a:lnTo>
                    <a:lnTo>
                      <a:pt x="593" y="293"/>
                    </a:lnTo>
                    <a:lnTo>
                      <a:pt x="609" y="242"/>
                    </a:lnTo>
                    <a:lnTo>
                      <a:pt x="623" y="187"/>
                    </a:lnTo>
                    <a:lnTo>
                      <a:pt x="634" y="130"/>
                    </a:lnTo>
                    <a:lnTo>
                      <a:pt x="645" y="68"/>
                    </a:lnTo>
                    <a:lnTo>
                      <a:pt x="654" y="0"/>
                    </a:lnTo>
                    <a:lnTo>
                      <a:pt x="654" y="0"/>
                    </a:lnTo>
                    <a:close/>
                  </a:path>
                </a:pathLst>
              </a:custGeom>
              <a:gradFill>
                <a:gsLst>
                  <a:gs pos="100000">
                    <a:srgbClr val="00B0F0">
                      <a:alpha val="0"/>
                    </a:srgbClr>
                  </a:gs>
                  <a:gs pos="0">
                    <a:srgbClr val="00B0F0">
                      <a:alpha val="0"/>
                    </a:srgbClr>
                  </a:gs>
                  <a:gs pos="49000">
                    <a:schemeClr val="bg1"/>
                  </a:gs>
                </a:gsLst>
                <a:lin ang="16200000" scaled="1"/>
              </a:gra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33" name="Oval 32"/>
            <p:cNvSpPr/>
            <p:nvPr/>
          </p:nvSpPr>
          <p:spPr>
            <a:xfrm>
              <a:off x="5640184" y="5944135"/>
              <a:ext cx="794130" cy="7200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2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162648" y="5196704"/>
            <a:ext cx="770669" cy="393559"/>
            <a:chOff x="3615573" y="5061345"/>
            <a:chExt cx="1879757" cy="959943"/>
          </a:xfrm>
        </p:grpSpPr>
        <p:sp>
          <p:nvSpPr>
            <p:cNvPr id="28" name="Freeform 7"/>
            <p:cNvSpPr>
              <a:spLocks/>
            </p:cNvSpPr>
            <p:nvPr/>
          </p:nvSpPr>
          <p:spPr bwMode="auto">
            <a:xfrm rot="11772186">
              <a:off x="3660167" y="5061345"/>
              <a:ext cx="1806452" cy="959943"/>
            </a:xfrm>
            <a:custGeom>
              <a:avLst/>
              <a:gdLst>
                <a:gd name="T0" fmla="*/ 0 w 2341"/>
                <a:gd name="T1" fmla="*/ 1140 h 1244"/>
                <a:gd name="T2" fmla="*/ 12 w 2341"/>
                <a:gd name="T3" fmla="*/ 1112 h 1244"/>
                <a:gd name="T4" fmla="*/ 34 w 2341"/>
                <a:gd name="T5" fmla="*/ 1068 h 1244"/>
                <a:gd name="T6" fmla="*/ 68 w 2341"/>
                <a:gd name="T7" fmla="*/ 1013 h 1244"/>
                <a:gd name="T8" fmla="*/ 104 w 2341"/>
                <a:gd name="T9" fmla="*/ 967 h 1244"/>
                <a:gd name="T10" fmla="*/ 133 w 2341"/>
                <a:gd name="T11" fmla="*/ 936 h 1244"/>
                <a:gd name="T12" fmla="*/ 165 w 2341"/>
                <a:gd name="T13" fmla="*/ 904 h 1244"/>
                <a:gd name="T14" fmla="*/ 202 w 2341"/>
                <a:gd name="T15" fmla="*/ 875 h 1244"/>
                <a:gd name="T16" fmla="*/ 244 w 2341"/>
                <a:gd name="T17" fmla="*/ 849 h 1244"/>
                <a:gd name="T18" fmla="*/ 291 w 2341"/>
                <a:gd name="T19" fmla="*/ 824 h 1244"/>
                <a:gd name="T20" fmla="*/ 342 w 2341"/>
                <a:gd name="T21" fmla="*/ 802 h 1244"/>
                <a:gd name="T22" fmla="*/ 399 w 2341"/>
                <a:gd name="T23" fmla="*/ 786 h 1244"/>
                <a:gd name="T24" fmla="*/ 429 w 2341"/>
                <a:gd name="T25" fmla="*/ 780 h 1244"/>
                <a:gd name="T26" fmla="*/ 501 w 2341"/>
                <a:gd name="T27" fmla="*/ 770 h 1244"/>
                <a:gd name="T28" fmla="*/ 576 w 2341"/>
                <a:gd name="T29" fmla="*/ 764 h 1244"/>
                <a:gd name="T30" fmla="*/ 654 w 2341"/>
                <a:gd name="T31" fmla="*/ 760 h 1244"/>
                <a:gd name="T32" fmla="*/ 732 w 2341"/>
                <a:gd name="T33" fmla="*/ 760 h 1244"/>
                <a:gd name="T34" fmla="*/ 889 w 2341"/>
                <a:gd name="T35" fmla="*/ 767 h 1244"/>
                <a:gd name="T36" fmla="*/ 1037 w 2341"/>
                <a:gd name="T37" fmla="*/ 780 h 1244"/>
                <a:gd name="T38" fmla="*/ 1169 w 2341"/>
                <a:gd name="T39" fmla="*/ 796 h 1244"/>
                <a:gd name="T40" fmla="*/ 1273 w 2341"/>
                <a:gd name="T41" fmla="*/ 812 h 1244"/>
                <a:gd name="T42" fmla="*/ 1367 w 2341"/>
                <a:gd name="T43" fmla="*/ 829 h 1244"/>
                <a:gd name="T44" fmla="*/ 2341 w 2341"/>
                <a:gd name="T45" fmla="*/ 630 h 1244"/>
                <a:gd name="T46" fmla="*/ 1353 w 2341"/>
                <a:gd name="T47" fmla="*/ 407 h 1244"/>
                <a:gd name="T48" fmla="*/ 1327 w 2341"/>
                <a:gd name="T49" fmla="*/ 406 h 1244"/>
                <a:gd name="T50" fmla="*/ 1203 w 2341"/>
                <a:gd name="T51" fmla="*/ 403 h 1244"/>
                <a:gd name="T52" fmla="*/ 1080 w 2341"/>
                <a:gd name="T53" fmla="*/ 403 h 1244"/>
                <a:gd name="T54" fmla="*/ 939 w 2341"/>
                <a:gd name="T55" fmla="*/ 409 h 1244"/>
                <a:gd name="T56" fmla="*/ 789 w 2341"/>
                <a:gd name="T57" fmla="*/ 422 h 1244"/>
                <a:gd name="T58" fmla="*/ 715 w 2341"/>
                <a:gd name="T59" fmla="*/ 433 h 1244"/>
                <a:gd name="T60" fmla="*/ 643 w 2341"/>
                <a:gd name="T61" fmla="*/ 446 h 1244"/>
                <a:gd name="T62" fmla="*/ 574 w 2341"/>
                <a:gd name="T63" fmla="*/ 462 h 1244"/>
                <a:gd name="T64" fmla="*/ 511 w 2341"/>
                <a:gd name="T65" fmla="*/ 481 h 1244"/>
                <a:gd name="T66" fmla="*/ 454 w 2341"/>
                <a:gd name="T67" fmla="*/ 505 h 1244"/>
                <a:gd name="T68" fmla="*/ 411 w 2341"/>
                <a:gd name="T69" fmla="*/ 526 h 1244"/>
                <a:gd name="T70" fmla="*/ 334 w 2341"/>
                <a:gd name="T71" fmla="*/ 572 h 1244"/>
                <a:gd name="T72" fmla="*/ 266 w 2341"/>
                <a:gd name="T73" fmla="*/ 622 h 1244"/>
                <a:gd name="T74" fmla="*/ 209 w 2341"/>
                <a:gd name="T75" fmla="*/ 672 h 1244"/>
                <a:gd name="T76" fmla="*/ 160 w 2341"/>
                <a:gd name="T77" fmla="*/ 725 h 1244"/>
                <a:gd name="T78" fmla="*/ 120 w 2341"/>
                <a:gd name="T79" fmla="*/ 779 h 1244"/>
                <a:gd name="T80" fmla="*/ 87 w 2341"/>
                <a:gd name="T81" fmla="*/ 830 h 1244"/>
                <a:gd name="T82" fmla="*/ 61 w 2341"/>
                <a:gd name="T83" fmla="*/ 882 h 1244"/>
                <a:gd name="T84" fmla="*/ 40 w 2341"/>
                <a:gd name="T85" fmla="*/ 930 h 1244"/>
                <a:gd name="T86" fmla="*/ 25 w 2341"/>
                <a:gd name="T87" fmla="*/ 976 h 1244"/>
                <a:gd name="T88" fmla="*/ 14 w 2341"/>
                <a:gd name="T89" fmla="*/ 1018 h 1244"/>
                <a:gd name="T90" fmla="*/ 5 w 2341"/>
                <a:gd name="T91" fmla="*/ 1072 h 1244"/>
                <a:gd name="T92" fmla="*/ 0 w 2341"/>
                <a:gd name="T93" fmla="*/ 1121 h 1244"/>
                <a:gd name="T94" fmla="*/ 0 w 2341"/>
                <a:gd name="T95" fmla="*/ 1140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41" h="1244">
                  <a:moveTo>
                    <a:pt x="0" y="1140"/>
                  </a:moveTo>
                  <a:lnTo>
                    <a:pt x="0" y="1140"/>
                  </a:lnTo>
                  <a:lnTo>
                    <a:pt x="6" y="1127"/>
                  </a:lnTo>
                  <a:lnTo>
                    <a:pt x="12" y="1112"/>
                  </a:lnTo>
                  <a:lnTo>
                    <a:pt x="21" y="1091"/>
                  </a:lnTo>
                  <a:lnTo>
                    <a:pt x="34" y="1068"/>
                  </a:lnTo>
                  <a:lnTo>
                    <a:pt x="49" y="1041"/>
                  </a:lnTo>
                  <a:lnTo>
                    <a:pt x="68" y="1013"/>
                  </a:lnTo>
                  <a:lnTo>
                    <a:pt x="91" y="982"/>
                  </a:lnTo>
                  <a:lnTo>
                    <a:pt x="104" y="967"/>
                  </a:lnTo>
                  <a:lnTo>
                    <a:pt x="118" y="951"/>
                  </a:lnTo>
                  <a:lnTo>
                    <a:pt x="133" y="936"/>
                  </a:lnTo>
                  <a:lnTo>
                    <a:pt x="149" y="919"/>
                  </a:lnTo>
                  <a:lnTo>
                    <a:pt x="165" y="904"/>
                  </a:lnTo>
                  <a:lnTo>
                    <a:pt x="183" y="889"/>
                  </a:lnTo>
                  <a:lnTo>
                    <a:pt x="202" y="875"/>
                  </a:lnTo>
                  <a:lnTo>
                    <a:pt x="223" y="861"/>
                  </a:lnTo>
                  <a:lnTo>
                    <a:pt x="244" y="849"/>
                  </a:lnTo>
                  <a:lnTo>
                    <a:pt x="267" y="836"/>
                  </a:lnTo>
                  <a:lnTo>
                    <a:pt x="291" y="824"/>
                  </a:lnTo>
                  <a:lnTo>
                    <a:pt x="316" y="813"/>
                  </a:lnTo>
                  <a:lnTo>
                    <a:pt x="342" y="802"/>
                  </a:lnTo>
                  <a:lnTo>
                    <a:pt x="370" y="794"/>
                  </a:lnTo>
                  <a:lnTo>
                    <a:pt x="399" y="786"/>
                  </a:lnTo>
                  <a:lnTo>
                    <a:pt x="429" y="780"/>
                  </a:lnTo>
                  <a:lnTo>
                    <a:pt x="429" y="780"/>
                  </a:lnTo>
                  <a:lnTo>
                    <a:pt x="465" y="774"/>
                  </a:lnTo>
                  <a:lnTo>
                    <a:pt x="501" y="770"/>
                  </a:lnTo>
                  <a:lnTo>
                    <a:pt x="538" y="766"/>
                  </a:lnTo>
                  <a:lnTo>
                    <a:pt x="576" y="764"/>
                  </a:lnTo>
                  <a:lnTo>
                    <a:pt x="614" y="761"/>
                  </a:lnTo>
                  <a:lnTo>
                    <a:pt x="654" y="760"/>
                  </a:lnTo>
                  <a:lnTo>
                    <a:pt x="692" y="759"/>
                  </a:lnTo>
                  <a:lnTo>
                    <a:pt x="732" y="760"/>
                  </a:lnTo>
                  <a:lnTo>
                    <a:pt x="811" y="763"/>
                  </a:lnTo>
                  <a:lnTo>
                    <a:pt x="889" y="767"/>
                  </a:lnTo>
                  <a:lnTo>
                    <a:pt x="964" y="772"/>
                  </a:lnTo>
                  <a:lnTo>
                    <a:pt x="1037" y="780"/>
                  </a:lnTo>
                  <a:lnTo>
                    <a:pt x="1105" y="787"/>
                  </a:lnTo>
                  <a:lnTo>
                    <a:pt x="1169" y="796"/>
                  </a:lnTo>
                  <a:lnTo>
                    <a:pt x="1224" y="804"/>
                  </a:lnTo>
                  <a:lnTo>
                    <a:pt x="1273" y="812"/>
                  </a:lnTo>
                  <a:lnTo>
                    <a:pt x="1343" y="824"/>
                  </a:lnTo>
                  <a:lnTo>
                    <a:pt x="1367" y="829"/>
                  </a:lnTo>
                  <a:lnTo>
                    <a:pt x="1224" y="1244"/>
                  </a:lnTo>
                  <a:lnTo>
                    <a:pt x="2341" y="630"/>
                  </a:lnTo>
                  <a:lnTo>
                    <a:pt x="1235" y="0"/>
                  </a:lnTo>
                  <a:lnTo>
                    <a:pt x="1353" y="407"/>
                  </a:lnTo>
                  <a:lnTo>
                    <a:pt x="1353" y="407"/>
                  </a:lnTo>
                  <a:lnTo>
                    <a:pt x="1327" y="406"/>
                  </a:lnTo>
                  <a:lnTo>
                    <a:pt x="1253" y="404"/>
                  </a:lnTo>
                  <a:lnTo>
                    <a:pt x="1203" y="403"/>
                  </a:lnTo>
                  <a:lnTo>
                    <a:pt x="1145" y="403"/>
                  </a:lnTo>
                  <a:lnTo>
                    <a:pt x="1080" y="403"/>
                  </a:lnTo>
                  <a:lnTo>
                    <a:pt x="1011" y="405"/>
                  </a:lnTo>
                  <a:lnTo>
                    <a:pt x="939" y="409"/>
                  </a:lnTo>
                  <a:lnTo>
                    <a:pt x="864" y="414"/>
                  </a:lnTo>
                  <a:lnTo>
                    <a:pt x="789" y="422"/>
                  </a:lnTo>
                  <a:lnTo>
                    <a:pt x="752" y="426"/>
                  </a:lnTo>
                  <a:lnTo>
                    <a:pt x="715" y="433"/>
                  </a:lnTo>
                  <a:lnTo>
                    <a:pt x="678" y="438"/>
                  </a:lnTo>
                  <a:lnTo>
                    <a:pt x="643" y="446"/>
                  </a:lnTo>
                  <a:lnTo>
                    <a:pt x="609" y="453"/>
                  </a:lnTo>
                  <a:lnTo>
                    <a:pt x="574" y="462"/>
                  </a:lnTo>
                  <a:lnTo>
                    <a:pt x="542" y="471"/>
                  </a:lnTo>
                  <a:lnTo>
                    <a:pt x="511" y="481"/>
                  </a:lnTo>
                  <a:lnTo>
                    <a:pt x="482" y="493"/>
                  </a:lnTo>
                  <a:lnTo>
                    <a:pt x="454" y="505"/>
                  </a:lnTo>
                  <a:lnTo>
                    <a:pt x="454" y="505"/>
                  </a:lnTo>
                  <a:lnTo>
                    <a:pt x="411" y="526"/>
                  </a:lnTo>
                  <a:lnTo>
                    <a:pt x="371" y="549"/>
                  </a:lnTo>
                  <a:lnTo>
                    <a:pt x="334" y="572"/>
                  </a:lnTo>
                  <a:lnTo>
                    <a:pt x="299" y="597"/>
                  </a:lnTo>
                  <a:lnTo>
                    <a:pt x="266" y="622"/>
                  </a:lnTo>
                  <a:lnTo>
                    <a:pt x="237" y="647"/>
                  </a:lnTo>
                  <a:lnTo>
                    <a:pt x="209" y="672"/>
                  </a:lnTo>
                  <a:lnTo>
                    <a:pt x="183" y="699"/>
                  </a:lnTo>
                  <a:lnTo>
                    <a:pt x="160" y="725"/>
                  </a:lnTo>
                  <a:lnTo>
                    <a:pt x="139" y="752"/>
                  </a:lnTo>
                  <a:lnTo>
                    <a:pt x="120" y="779"/>
                  </a:lnTo>
                  <a:lnTo>
                    <a:pt x="102" y="804"/>
                  </a:lnTo>
                  <a:lnTo>
                    <a:pt x="87" y="830"/>
                  </a:lnTo>
                  <a:lnTo>
                    <a:pt x="73" y="856"/>
                  </a:lnTo>
                  <a:lnTo>
                    <a:pt x="61" y="882"/>
                  </a:lnTo>
                  <a:lnTo>
                    <a:pt x="50" y="907"/>
                  </a:lnTo>
                  <a:lnTo>
                    <a:pt x="40" y="930"/>
                  </a:lnTo>
                  <a:lnTo>
                    <a:pt x="33" y="954"/>
                  </a:lnTo>
                  <a:lnTo>
                    <a:pt x="25" y="976"/>
                  </a:lnTo>
                  <a:lnTo>
                    <a:pt x="20" y="998"/>
                  </a:lnTo>
                  <a:lnTo>
                    <a:pt x="14" y="1018"/>
                  </a:lnTo>
                  <a:lnTo>
                    <a:pt x="10" y="1038"/>
                  </a:lnTo>
                  <a:lnTo>
                    <a:pt x="5" y="1072"/>
                  </a:lnTo>
                  <a:lnTo>
                    <a:pt x="1" y="1100"/>
                  </a:lnTo>
                  <a:lnTo>
                    <a:pt x="0" y="1121"/>
                  </a:lnTo>
                  <a:lnTo>
                    <a:pt x="0" y="1140"/>
                  </a:lnTo>
                  <a:lnTo>
                    <a:pt x="0" y="1140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 rot="11772186">
              <a:off x="3615573" y="5374618"/>
              <a:ext cx="853454" cy="504664"/>
            </a:xfrm>
            <a:custGeom>
              <a:avLst/>
              <a:gdLst>
                <a:gd name="T0" fmla="*/ 0 w 1106"/>
                <a:gd name="T1" fmla="*/ 0 h 654"/>
                <a:gd name="T2" fmla="*/ 20 w 1106"/>
                <a:gd name="T3" fmla="*/ 67 h 654"/>
                <a:gd name="T4" fmla="*/ 1063 w 1106"/>
                <a:gd name="T5" fmla="*/ 654 h 654"/>
                <a:gd name="T6" fmla="*/ 1106 w 1106"/>
                <a:gd name="T7" fmla="*/ 630 h 654"/>
                <a:gd name="T8" fmla="*/ 0 w 1106"/>
                <a:gd name="T9" fmla="*/ 0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6" h="654">
                  <a:moveTo>
                    <a:pt x="0" y="0"/>
                  </a:moveTo>
                  <a:lnTo>
                    <a:pt x="20" y="67"/>
                  </a:lnTo>
                  <a:lnTo>
                    <a:pt x="1063" y="654"/>
                  </a:lnTo>
                  <a:lnTo>
                    <a:pt x="1106" y="63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 rot="11772186">
              <a:off x="4416066" y="5365508"/>
              <a:ext cx="1026306" cy="502350"/>
            </a:xfrm>
            <a:custGeom>
              <a:avLst/>
              <a:gdLst>
                <a:gd name="T0" fmla="*/ 431 w 1330"/>
                <a:gd name="T1" fmla="*/ 170 h 651"/>
                <a:gd name="T2" fmla="*/ 488 w 1330"/>
                <a:gd name="T3" fmla="*/ 146 h 651"/>
                <a:gd name="T4" fmla="*/ 551 w 1330"/>
                <a:gd name="T5" fmla="*/ 127 h 651"/>
                <a:gd name="T6" fmla="*/ 620 w 1330"/>
                <a:gd name="T7" fmla="*/ 111 h 651"/>
                <a:gd name="T8" fmla="*/ 692 w 1330"/>
                <a:gd name="T9" fmla="*/ 98 h 651"/>
                <a:gd name="T10" fmla="*/ 766 w 1330"/>
                <a:gd name="T11" fmla="*/ 87 h 651"/>
                <a:gd name="T12" fmla="*/ 916 w 1330"/>
                <a:gd name="T13" fmla="*/ 74 h 651"/>
                <a:gd name="T14" fmla="*/ 1057 w 1330"/>
                <a:gd name="T15" fmla="*/ 68 h 651"/>
                <a:gd name="T16" fmla="*/ 1180 w 1330"/>
                <a:gd name="T17" fmla="*/ 68 h 651"/>
                <a:gd name="T18" fmla="*/ 1304 w 1330"/>
                <a:gd name="T19" fmla="*/ 71 h 651"/>
                <a:gd name="T20" fmla="*/ 1311 w 1330"/>
                <a:gd name="T21" fmla="*/ 6 h 651"/>
                <a:gd name="T22" fmla="*/ 1269 w 1330"/>
                <a:gd name="T23" fmla="*/ 4 h 651"/>
                <a:gd name="T24" fmla="*/ 1099 w 1330"/>
                <a:gd name="T25" fmla="*/ 0 h 651"/>
                <a:gd name="T26" fmla="*/ 986 w 1330"/>
                <a:gd name="T27" fmla="*/ 2 h 651"/>
                <a:gd name="T28" fmla="*/ 864 w 1330"/>
                <a:gd name="T29" fmla="*/ 7 h 651"/>
                <a:gd name="T30" fmla="*/ 739 w 1330"/>
                <a:gd name="T31" fmla="*/ 18 h 651"/>
                <a:gd name="T32" fmla="*/ 619 w 1330"/>
                <a:gd name="T33" fmla="*/ 37 h 651"/>
                <a:gd name="T34" fmla="*/ 563 w 1330"/>
                <a:gd name="T35" fmla="*/ 49 h 651"/>
                <a:gd name="T36" fmla="*/ 510 w 1330"/>
                <a:gd name="T37" fmla="*/ 64 h 651"/>
                <a:gd name="T38" fmla="*/ 473 w 1330"/>
                <a:gd name="T39" fmla="*/ 77 h 651"/>
                <a:gd name="T40" fmla="*/ 403 w 1330"/>
                <a:gd name="T41" fmla="*/ 106 h 651"/>
                <a:gd name="T42" fmla="*/ 341 w 1330"/>
                <a:gd name="T43" fmla="*/ 138 h 651"/>
                <a:gd name="T44" fmla="*/ 285 w 1330"/>
                <a:gd name="T45" fmla="*/ 173 h 651"/>
                <a:gd name="T46" fmla="*/ 235 w 1330"/>
                <a:gd name="T47" fmla="*/ 210 h 651"/>
                <a:gd name="T48" fmla="*/ 192 w 1330"/>
                <a:gd name="T49" fmla="*/ 250 h 651"/>
                <a:gd name="T50" fmla="*/ 154 w 1330"/>
                <a:gd name="T51" fmla="*/ 291 h 651"/>
                <a:gd name="T52" fmla="*/ 121 w 1330"/>
                <a:gd name="T53" fmla="*/ 333 h 651"/>
                <a:gd name="T54" fmla="*/ 93 w 1330"/>
                <a:gd name="T55" fmla="*/ 375 h 651"/>
                <a:gd name="T56" fmla="*/ 70 w 1330"/>
                <a:gd name="T57" fmla="*/ 417 h 651"/>
                <a:gd name="T58" fmla="*/ 50 w 1330"/>
                <a:gd name="T59" fmla="*/ 458 h 651"/>
                <a:gd name="T60" fmla="*/ 35 w 1330"/>
                <a:gd name="T61" fmla="*/ 498 h 651"/>
                <a:gd name="T62" fmla="*/ 17 w 1330"/>
                <a:gd name="T63" fmla="*/ 555 h 651"/>
                <a:gd name="T64" fmla="*/ 3 w 1330"/>
                <a:gd name="T65" fmla="*/ 623 h 651"/>
                <a:gd name="T66" fmla="*/ 0 w 1330"/>
                <a:gd name="T67" fmla="*/ 651 h 651"/>
                <a:gd name="T68" fmla="*/ 17 w 1330"/>
                <a:gd name="T69" fmla="*/ 596 h 651"/>
                <a:gd name="T70" fmla="*/ 43 w 1330"/>
                <a:gd name="T71" fmla="*/ 536 h 651"/>
                <a:gd name="T72" fmla="*/ 77 w 1330"/>
                <a:gd name="T73" fmla="*/ 474 h 651"/>
                <a:gd name="T74" fmla="*/ 121 w 1330"/>
                <a:gd name="T75" fmla="*/ 409 h 651"/>
                <a:gd name="T76" fmla="*/ 163 w 1330"/>
                <a:gd name="T77" fmla="*/ 361 h 651"/>
                <a:gd name="T78" fmla="*/ 194 w 1330"/>
                <a:gd name="T79" fmla="*/ 330 h 651"/>
                <a:gd name="T80" fmla="*/ 229 w 1330"/>
                <a:gd name="T81" fmla="*/ 299 h 651"/>
                <a:gd name="T82" fmla="*/ 268 w 1330"/>
                <a:gd name="T83" fmla="*/ 269 h 651"/>
                <a:gd name="T84" fmla="*/ 309 w 1330"/>
                <a:gd name="T85" fmla="*/ 238 h 651"/>
                <a:gd name="T86" fmla="*/ 355 w 1330"/>
                <a:gd name="T87" fmla="*/ 210 h 651"/>
                <a:gd name="T88" fmla="*/ 404 w 1330"/>
                <a:gd name="T89" fmla="*/ 183 h 651"/>
                <a:gd name="T90" fmla="*/ 431 w 1330"/>
                <a:gd name="T91" fmla="*/ 170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0" h="651">
                  <a:moveTo>
                    <a:pt x="431" y="170"/>
                  </a:moveTo>
                  <a:lnTo>
                    <a:pt x="431" y="170"/>
                  </a:lnTo>
                  <a:lnTo>
                    <a:pt x="459" y="158"/>
                  </a:lnTo>
                  <a:lnTo>
                    <a:pt x="488" y="146"/>
                  </a:lnTo>
                  <a:lnTo>
                    <a:pt x="519" y="136"/>
                  </a:lnTo>
                  <a:lnTo>
                    <a:pt x="551" y="127"/>
                  </a:lnTo>
                  <a:lnTo>
                    <a:pt x="586" y="118"/>
                  </a:lnTo>
                  <a:lnTo>
                    <a:pt x="620" y="111"/>
                  </a:lnTo>
                  <a:lnTo>
                    <a:pt x="655" y="103"/>
                  </a:lnTo>
                  <a:lnTo>
                    <a:pt x="692" y="98"/>
                  </a:lnTo>
                  <a:lnTo>
                    <a:pt x="729" y="91"/>
                  </a:lnTo>
                  <a:lnTo>
                    <a:pt x="766" y="87"/>
                  </a:lnTo>
                  <a:lnTo>
                    <a:pt x="841" y="79"/>
                  </a:lnTo>
                  <a:lnTo>
                    <a:pt x="916" y="74"/>
                  </a:lnTo>
                  <a:lnTo>
                    <a:pt x="988" y="70"/>
                  </a:lnTo>
                  <a:lnTo>
                    <a:pt x="1057" y="68"/>
                  </a:lnTo>
                  <a:lnTo>
                    <a:pt x="1122" y="68"/>
                  </a:lnTo>
                  <a:lnTo>
                    <a:pt x="1180" y="68"/>
                  </a:lnTo>
                  <a:lnTo>
                    <a:pt x="1230" y="69"/>
                  </a:lnTo>
                  <a:lnTo>
                    <a:pt x="1304" y="71"/>
                  </a:lnTo>
                  <a:lnTo>
                    <a:pt x="1330" y="72"/>
                  </a:lnTo>
                  <a:lnTo>
                    <a:pt x="1311" y="6"/>
                  </a:lnTo>
                  <a:lnTo>
                    <a:pt x="1311" y="6"/>
                  </a:lnTo>
                  <a:lnTo>
                    <a:pt x="1269" y="4"/>
                  </a:lnTo>
                  <a:lnTo>
                    <a:pt x="1196" y="1"/>
                  </a:lnTo>
                  <a:lnTo>
                    <a:pt x="1099" y="0"/>
                  </a:lnTo>
                  <a:lnTo>
                    <a:pt x="1045" y="1"/>
                  </a:lnTo>
                  <a:lnTo>
                    <a:pt x="986" y="2"/>
                  </a:lnTo>
                  <a:lnTo>
                    <a:pt x="926" y="4"/>
                  </a:lnTo>
                  <a:lnTo>
                    <a:pt x="864" y="7"/>
                  </a:lnTo>
                  <a:lnTo>
                    <a:pt x="802" y="12"/>
                  </a:lnTo>
                  <a:lnTo>
                    <a:pt x="739" y="18"/>
                  </a:lnTo>
                  <a:lnTo>
                    <a:pt x="678" y="27"/>
                  </a:lnTo>
                  <a:lnTo>
                    <a:pt x="619" y="37"/>
                  </a:lnTo>
                  <a:lnTo>
                    <a:pt x="591" y="43"/>
                  </a:lnTo>
                  <a:lnTo>
                    <a:pt x="563" y="49"/>
                  </a:lnTo>
                  <a:lnTo>
                    <a:pt x="536" y="57"/>
                  </a:lnTo>
                  <a:lnTo>
                    <a:pt x="510" y="64"/>
                  </a:lnTo>
                  <a:lnTo>
                    <a:pt x="510" y="64"/>
                  </a:lnTo>
                  <a:lnTo>
                    <a:pt x="473" y="77"/>
                  </a:lnTo>
                  <a:lnTo>
                    <a:pt x="437" y="91"/>
                  </a:lnTo>
                  <a:lnTo>
                    <a:pt x="403" y="106"/>
                  </a:lnTo>
                  <a:lnTo>
                    <a:pt x="371" y="121"/>
                  </a:lnTo>
                  <a:lnTo>
                    <a:pt x="341" y="138"/>
                  </a:lnTo>
                  <a:lnTo>
                    <a:pt x="312" y="156"/>
                  </a:lnTo>
                  <a:lnTo>
                    <a:pt x="285" y="173"/>
                  </a:lnTo>
                  <a:lnTo>
                    <a:pt x="259" y="192"/>
                  </a:lnTo>
                  <a:lnTo>
                    <a:pt x="235" y="210"/>
                  </a:lnTo>
                  <a:lnTo>
                    <a:pt x="213" y="230"/>
                  </a:lnTo>
                  <a:lnTo>
                    <a:pt x="192" y="250"/>
                  </a:lnTo>
                  <a:lnTo>
                    <a:pt x="172" y="271"/>
                  </a:lnTo>
                  <a:lnTo>
                    <a:pt x="154" y="291"/>
                  </a:lnTo>
                  <a:lnTo>
                    <a:pt x="137" y="312"/>
                  </a:lnTo>
                  <a:lnTo>
                    <a:pt x="121" y="333"/>
                  </a:lnTo>
                  <a:lnTo>
                    <a:pt x="106" y="353"/>
                  </a:lnTo>
                  <a:lnTo>
                    <a:pt x="93" y="375"/>
                  </a:lnTo>
                  <a:lnTo>
                    <a:pt x="82" y="396"/>
                  </a:lnTo>
                  <a:lnTo>
                    <a:pt x="70" y="417"/>
                  </a:lnTo>
                  <a:lnTo>
                    <a:pt x="60" y="437"/>
                  </a:lnTo>
                  <a:lnTo>
                    <a:pt x="50" y="458"/>
                  </a:lnTo>
                  <a:lnTo>
                    <a:pt x="42" y="478"/>
                  </a:lnTo>
                  <a:lnTo>
                    <a:pt x="35" y="498"/>
                  </a:lnTo>
                  <a:lnTo>
                    <a:pt x="28" y="518"/>
                  </a:lnTo>
                  <a:lnTo>
                    <a:pt x="17" y="555"/>
                  </a:lnTo>
                  <a:lnTo>
                    <a:pt x="10" y="591"/>
                  </a:lnTo>
                  <a:lnTo>
                    <a:pt x="3" y="623"/>
                  </a:lnTo>
                  <a:lnTo>
                    <a:pt x="0" y="651"/>
                  </a:lnTo>
                  <a:lnTo>
                    <a:pt x="0" y="651"/>
                  </a:lnTo>
                  <a:lnTo>
                    <a:pt x="7" y="624"/>
                  </a:lnTo>
                  <a:lnTo>
                    <a:pt x="17" y="596"/>
                  </a:lnTo>
                  <a:lnTo>
                    <a:pt x="29" y="567"/>
                  </a:lnTo>
                  <a:lnTo>
                    <a:pt x="43" y="536"/>
                  </a:lnTo>
                  <a:lnTo>
                    <a:pt x="59" y="505"/>
                  </a:lnTo>
                  <a:lnTo>
                    <a:pt x="77" y="474"/>
                  </a:lnTo>
                  <a:lnTo>
                    <a:pt x="98" y="442"/>
                  </a:lnTo>
                  <a:lnTo>
                    <a:pt x="121" y="409"/>
                  </a:lnTo>
                  <a:lnTo>
                    <a:pt x="148" y="377"/>
                  </a:lnTo>
                  <a:lnTo>
                    <a:pt x="163" y="361"/>
                  </a:lnTo>
                  <a:lnTo>
                    <a:pt x="178" y="346"/>
                  </a:lnTo>
                  <a:lnTo>
                    <a:pt x="194" y="330"/>
                  </a:lnTo>
                  <a:lnTo>
                    <a:pt x="211" y="314"/>
                  </a:lnTo>
                  <a:lnTo>
                    <a:pt x="229" y="299"/>
                  </a:lnTo>
                  <a:lnTo>
                    <a:pt x="247" y="284"/>
                  </a:lnTo>
                  <a:lnTo>
                    <a:pt x="268" y="269"/>
                  </a:lnTo>
                  <a:lnTo>
                    <a:pt x="288" y="253"/>
                  </a:lnTo>
                  <a:lnTo>
                    <a:pt x="309" y="238"/>
                  </a:lnTo>
                  <a:lnTo>
                    <a:pt x="331" y="224"/>
                  </a:lnTo>
                  <a:lnTo>
                    <a:pt x="355" y="210"/>
                  </a:lnTo>
                  <a:lnTo>
                    <a:pt x="379" y="197"/>
                  </a:lnTo>
                  <a:lnTo>
                    <a:pt x="404" y="183"/>
                  </a:lnTo>
                  <a:lnTo>
                    <a:pt x="431" y="170"/>
                  </a:lnTo>
                  <a:lnTo>
                    <a:pt x="431" y="170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 rot="11772186">
              <a:off x="4461308" y="5298972"/>
              <a:ext cx="1034022" cy="247702"/>
            </a:xfrm>
            <a:custGeom>
              <a:avLst/>
              <a:gdLst>
                <a:gd name="T0" fmla="*/ 1340 w 1340"/>
                <a:gd name="T1" fmla="*/ 70 h 321"/>
                <a:gd name="T2" fmla="*/ 1246 w 1340"/>
                <a:gd name="T3" fmla="*/ 53 h 321"/>
                <a:gd name="T4" fmla="*/ 1142 w 1340"/>
                <a:gd name="T5" fmla="*/ 37 h 321"/>
                <a:gd name="T6" fmla="*/ 1010 w 1340"/>
                <a:gd name="T7" fmla="*/ 21 h 321"/>
                <a:gd name="T8" fmla="*/ 862 w 1340"/>
                <a:gd name="T9" fmla="*/ 8 h 321"/>
                <a:gd name="T10" fmla="*/ 705 w 1340"/>
                <a:gd name="T11" fmla="*/ 1 h 321"/>
                <a:gd name="T12" fmla="*/ 627 w 1340"/>
                <a:gd name="T13" fmla="*/ 1 h 321"/>
                <a:gd name="T14" fmla="*/ 549 w 1340"/>
                <a:gd name="T15" fmla="*/ 5 h 321"/>
                <a:gd name="T16" fmla="*/ 474 w 1340"/>
                <a:gd name="T17" fmla="*/ 11 h 321"/>
                <a:gd name="T18" fmla="*/ 402 w 1340"/>
                <a:gd name="T19" fmla="*/ 21 h 321"/>
                <a:gd name="T20" fmla="*/ 381 w 1340"/>
                <a:gd name="T21" fmla="*/ 26 h 321"/>
                <a:gd name="T22" fmla="*/ 339 w 1340"/>
                <a:gd name="T23" fmla="*/ 36 h 321"/>
                <a:gd name="T24" fmla="*/ 300 w 1340"/>
                <a:gd name="T25" fmla="*/ 50 h 321"/>
                <a:gd name="T26" fmla="*/ 264 w 1340"/>
                <a:gd name="T27" fmla="*/ 65 h 321"/>
                <a:gd name="T28" fmla="*/ 229 w 1340"/>
                <a:gd name="T29" fmla="*/ 82 h 321"/>
                <a:gd name="T30" fmla="*/ 183 w 1340"/>
                <a:gd name="T31" fmla="*/ 111 h 321"/>
                <a:gd name="T32" fmla="*/ 130 w 1340"/>
                <a:gd name="T33" fmla="*/ 153 h 321"/>
                <a:gd name="T34" fmla="*/ 86 w 1340"/>
                <a:gd name="T35" fmla="*/ 197 h 321"/>
                <a:gd name="T36" fmla="*/ 50 w 1340"/>
                <a:gd name="T37" fmla="*/ 241 h 321"/>
                <a:gd name="T38" fmla="*/ 22 w 1340"/>
                <a:gd name="T39" fmla="*/ 283 h 321"/>
                <a:gd name="T40" fmla="*/ 0 w 1340"/>
                <a:gd name="T41" fmla="*/ 321 h 321"/>
                <a:gd name="T42" fmla="*/ 23 w 1340"/>
                <a:gd name="T43" fmla="*/ 296 h 321"/>
                <a:gd name="T44" fmla="*/ 74 w 1340"/>
                <a:gd name="T45" fmla="*/ 245 h 321"/>
                <a:gd name="T46" fmla="*/ 120 w 1340"/>
                <a:gd name="T47" fmla="*/ 206 h 321"/>
                <a:gd name="T48" fmla="*/ 171 w 1340"/>
                <a:gd name="T49" fmla="*/ 167 h 321"/>
                <a:gd name="T50" fmla="*/ 230 w 1340"/>
                <a:gd name="T51" fmla="*/ 130 h 321"/>
                <a:gd name="T52" fmla="*/ 295 w 1340"/>
                <a:gd name="T53" fmla="*/ 100 h 321"/>
                <a:gd name="T54" fmla="*/ 329 w 1340"/>
                <a:gd name="T55" fmla="*/ 88 h 321"/>
                <a:gd name="T56" fmla="*/ 365 w 1340"/>
                <a:gd name="T57" fmla="*/ 79 h 321"/>
                <a:gd name="T58" fmla="*/ 400 w 1340"/>
                <a:gd name="T59" fmla="*/ 72 h 321"/>
                <a:gd name="T60" fmla="*/ 443 w 1340"/>
                <a:gd name="T61" fmla="*/ 66 h 321"/>
                <a:gd name="T62" fmla="*/ 528 w 1340"/>
                <a:gd name="T63" fmla="*/ 57 h 321"/>
                <a:gd name="T64" fmla="*/ 610 w 1340"/>
                <a:gd name="T65" fmla="*/ 52 h 321"/>
                <a:gd name="T66" fmla="*/ 727 w 1340"/>
                <a:gd name="T67" fmla="*/ 49 h 321"/>
                <a:gd name="T68" fmla="*/ 871 w 1340"/>
                <a:gd name="T69" fmla="*/ 53 h 321"/>
                <a:gd name="T70" fmla="*/ 1000 w 1340"/>
                <a:gd name="T71" fmla="*/ 63 h 321"/>
                <a:gd name="T72" fmla="*/ 1110 w 1340"/>
                <a:gd name="T73" fmla="*/ 78 h 321"/>
                <a:gd name="T74" fmla="*/ 1203 w 1340"/>
                <a:gd name="T75" fmla="*/ 94 h 321"/>
                <a:gd name="T76" fmla="*/ 1275 w 1340"/>
                <a:gd name="T77" fmla="*/ 110 h 321"/>
                <a:gd name="T78" fmla="*/ 1340 w 1340"/>
                <a:gd name="T79" fmla="*/ 7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40" h="321">
                  <a:moveTo>
                    <a:pt x="1340" y="70"/>
                  </a:moveTo>
                  <a:lnTo>
                    <a:pt x="1340" y="70"/>
                  </a:lnTo>
                  <a:lnTo>
                    <a:pt x="1316" y="65"/>
                  </a:lnTo>
                  <a:lnTo>
                    <a:pt x="1246" y="53"/>
                  </a:lnTo>
                  <a:lnTo>
                    <a:pt x="1197" y="45"/>
                  </a:lnTo>
                  <a:lnTo>
                    <a:pt x="1142" y="37"/>
                  </a:lnTo>
                  <a:lnTo>
                    <a:pt x="1078" y="28"/>
                  </a:lnTo>
                  <a:lnTo>
                    <a:pt x="1010" y="21"/>
                  </a:lnTo>
                  <a:lnTo>
                    <a:pt x="937" y="13"/>
                  </a:lnTo>
                  <a:lnTo>
                    <a:pt x="862" y="8"/>
                  </a:lnTo>
                  <a:lnTo>
                    <a:pt x="784" y="4"/>
                  </a:lnTo>
                  <a:lnTo>
                    <a:pt x="705" y="1"/>
                  </a:lnTo>
                  <a:lnTo>
                    <a:pt x="665" y="0"/>
                  </a:lnTo>
                  <a:lnTo>
                    <a:pt x="627" y="1"/>
                  </a:lnTo>
                  <a:lnTo>
                    <a:pt x="587" y="2"/>
                  </a:lnTo>
                  <a:lnTo>
                    <a:pt x="549" y="5"/>
                  </a:lnTo>
                  <a:lnTo>
                    <a:pt x="511" y="7"/>
                  </a:lnTo>
                  <a:lnTo>
                    <a:pt x="474" y="11"/>
                  </a:lnTo>
                  <a:lnTo>
                    <a:pt x="438" y="15"/>
                  </a:lnTo>
                  <a:lnTo>
                    <a:pt x="402" y="21"/>
                  </a:lnTo>
                  <a:lnTo>
                    <a:pt x="402" y="21"/>
                  </a:lnTo>
                  <a:lnTo>
                    <a:pt x="381" y="26"/>
                  </a:lnTo>
                  <a:lnTo>
                    <a:pt x="359" y="30"/>
                  </a:lnTo>
                  <a:lnTo>
                    <a:pt x="339" y="36"/>
                  </a:lnTo>
                  <a:lnTo>
                    <a:pt x="319" y="42"/>
                  </a:lnTo>
                  <a:lnTo>
                    <a:pt x="300" y="50"/>
                  </a:lnTo>
                  <a:lnTo>
                    <a:pt x="281" y="57"/>
                  </a:lnTo>
                  <a:lnTo>
                    <a:pt x="264" y="65"/>
                  </a:lnTo>
                  <a:lnTo>
                    <a:pt x="246" y="73"/>
                  </a:lnTo>
                  <a:lnTo>
                    <a:pt x="229" y="82"/>
                  </a:lnTo>
                  <a:lnTo>
                    <a:pt x="213" y="92"/>
                  </a:lnTo>
                  <a:lnTo>
                    <a:pt x="183" y="111"/>
                  </a:lnTo>
                  <a:lnTo>
                    <a:pt x="156" y="131"/>
                  </a:lnTo>
                  <a:lnTo>
                    <a:pt x="130" y="153"/>
                  </a:lnTo>
                  <a:lnTo>
                    <a:pt x="107" y="174"/>
                  </a:lnTo>
                  <a:lnTo>
                    <a:pt x="86" y="197"/>
                  </a:lnTo>
                  <a:lnTo>
                    <a:pt x="67" y="220"/>
                  </a:lnTo>
                  <a:lnTo>
                    <a:pt x="50" y="241"/>
                  </a:lnTo>
                  <a:lnTo>
                    <a:pt x="35" y="263"/>
                  </a:lnTo>
                  <a:lnTo>
                    <a:pt x="22" y="283"/>
                  </a:lnTo>
                  <a:lnTo>
                    <a:pt x="10" y="302"/>
                  </a:lnTo>
                  <a:lnTo>
                    <a:pt x="0" y="321"/>
                  </a:lnTo>
                  <a:lnTo>
                    <a:pt x="0" y="321"/>
                  </a:lnTo>
                  <a:lnTo>
                    <a:pt x="23" y="296"/>
                  </a:lnTo>
                  <a:lnTo>
                    <a:pt x="55" y="264"/>
                  </a:lnTo>
                  <a:lnTo>
                    <a:pt x="74" y="245"/>
                  </a:lnTo>
                  <a:lnTo>
                    <a:pt x="96" y="226"/>
                  </a:lnTo>
                  <a:lnTo>
                    <a:pt x="120" y="206"/>
                  </a:lnTo>
                  <a:lnTo>
                    <a:pt x="144" y="186"/>
                  </a:lnTo>
                  <a:lnTo>
                    <a:pt x="171" y="167"/>
                  </a:lnTo>
                  <a:lnTo>
                    <a:pt x="200" y="149"/>
                  </a:lnTo>
                  <a:lnTo>
                    <a:pt x="230" y="130"/>
                  </a:lnTo>
                  <a:lnTo>
                    <a:pt x="262" y="114"/>
                  </a:lnTo>
                  <a:lnTo>
                    <a:pt x="295" y="100"/>
                  </a:lnTo>
                  <a:lnTo>
                    <a:pt x="312" y="94"/>
                  </a:lnTo>
                  <a:lnTo>
                    <a:pt x="329" y="88"/>
                  </a:lnTo>
                  <a:lnTo>
                    <a:pt x="346" y="83"/>
                  </a:lnTo>
                  <a:lnTo>
                    <a:pt x="365" y="79"/>
                  </a:lnTo>
                  <a:lnTo>
                    <a:pt x="382" y="74"/>
                  </a:lnTo>
                  <a:lnTo>
                    <a:pt x="400" y="72"/>
                  </a:lnTo>
                  <a:lnTo>
                    <a:pt x="400" y="72"/>
                  </a:lnTo>
                  <a:lnTo>
                    <a:pt x="443" y="66"/>
                  </a:lnTo>
                  <a:lnTo>
                    <a:pt x="486" y="62"/>
                  </a:lnTo>
                  <a:lnTo>
                    <a:pt x="528" y="57"/>
                  </a:lnTo>
                  <a:lnTo>
                    <a:pt x="569" y="55"/>
                  </a:lnTo>
                  <a:lnTo>
                    <a:pt x="610" y="52"/>
                  </a:lnTo>
                  <a:lnTo>
                    <a:pt x="649" y="51"/>
                  </a:lnTo>
                  <a:lnTo>
                    <a:pt x="727" y="49"/>
                  </a:lnTo>
                  <a:lnTo>
                    <a:pt x="801" y="50"/>
                  </a:lnTo>
                  <a:lnTo>
                    <a:pt x="871" y="53"/>
                  </a:lnTo>
                  <a:lnTo>
                    <a:pt x="937" y="57"/>
                  </a:lnTo>
                  <a:lnTo>
                    <a:pt x="1000" y="63"/>
                  </a:lnTo>
                  <a:lnTo>
                    <a:pt x="1058" y="70"/>
                  </a:lnTo>
                  <a:lnTo>
                    <a:pt x="1110" y="78"/>
                  </a:lnTo>
                  <a:lnTo>
                    <a:pt x="1160" y="86"/>
                  </a:lnTo>
                  <a:lnTo>
                    <a:pt x="1203" y="94"/>
                  </a:lnTo>
                  <a:lnTo>
                    <a:pt x="1241" y="102"/>
                  </a:lnTo>
                  <a:lnTo>
                    <a:pt x="1275" y="110"/>
                  </a:lnTo>
                  <a:lnTo>
                    <a:pt x="1323" y="122"/>
                  </a:lnTo>
                  <a:lnTo>
                    <a:pt x="1340" y="70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197216" y="3019623"/>
            <a:ext cx="508400" cy="607739"/>
            <a:chOff x="6133575" y="2199714"/>
            <a:chExt cx="1240054" cy="1482354"/>
          </a:xfrm>
        </p:grpSpPr>
        <p:sp>
          <p:nvSpPr>
            <p:cNvPr id="24" name="Freeform 11"/>
            <p:cNvSpPr>
              <a:spLocks/>
            </p:cNvSpPr>
            <p:nvPr/>
          </p:nvSpPr>
          <p:spPr bwMode="auto">
            <a:xfrm flipH="1">
              <a:off x="6133575" y="2199714"/>
              <a:ext cx="1240054" cy="1482354"/>
            </a:xfrm>
            <a:custGeom>
              <a:avLst/>
              <a:gdLst>
                <a:gd name="T0" fmla="*/ 0 w 1607"/>
                <a:gd name="T1" fmla="*/ 580 h 1921"/>
                <a:gd name="T2" fmla="*/ 266 w 1607"/>
                <a:gd name="T3" fmla="*/ 870 h 1921"/>
                <a:gd name="T4" fmla="*/ 300 w 1607"/>
                <a:gd name="T5" fmla="*/ 799 h 1921"/>
                <a:gd name="T6" fmla="*/ 340 w 1607"/>
                <a:gd name="T7" fmla="*/ 723 h 1921"/>
                <a:gd name="T8" fmla="*/ 393 w 1607"/>
                <a:gd name="T9" fmla="*/ 630 h 1921"/>
                <a:gd name="T10" fmla="*/ 455 w 1607"/>
                <a:gd name="T11" fmla="*/ 526 h 1921"/>
                <a:gd name="T12" fmla="*/ 527 w 1607"/>
                <a:gd name="T13" fmla="*/ 422 h 1921"/>
                <a:gd name="T14" fmla="*/ 585 w 1607"/>
                <a:gd name="T15" fmla="*/ 348 h 1921"/>
                <a:gd name="T16" fmla="*/ 626 w 1607"/>
                <a:gd name="T17" fmla="*/ 302 h 1921"/>
                <a:gd name="T18" fmla="*/ 667 w 1607"/>
                <a:gd name="T19" fmla="*/ 260 h 1921"/>
                <a:gd name="T20" fmla="*/ 688 w 1607"/>
                <a:gd name="T21" fmla="*/ 241 h 1921"/>
                <a:gd name="T22" fmla="*/ 738 w 1607"/>
                <a:gd name="T23" fmla="*/ 200 h 1921"/>
                <a:gd name="T24" fmla="*/ 786 w 1607"/>
                <a:gd name="T25" fmla="*/ 163 h 1921"/>
                <a:gd name="T26" fmla="*/ 833 w 1607"/>
                <a:gd name="T27" fmla="*/ 131 h 1921"/>
                <a:gd name="T28" fmla="*/ 880 w 1607"/>
                <a:gd name="T29" fmla="*/ 103 h 1921"/>
                <a:gd name="T30" fmla="*/ 925 w 1607"/>
                <a:gd name="T31" fmla="*/ 78 h 1921"/>
                <a:gd name="T32" fmla="*/ 970 w 1607"/>
                <a:gd name="T33" fmla="*/ 58 h 1921"/>
                <a:gd name="T34" fmla="*/ 1013 w 1607"/>
                <a:gd name="T35" fmla="*/ 41 h 1921"/>
                <a:gd name="T36" fmla="*/ 1055 w 1607"/>
                <a:gd name="T37" fmla="*/ 27 h 1921"/>
                <a:gd name="T38" fmla="*/ 1097 w 1607"/>
                <a:gd name="T39" fmla="*/ 16 h 1921"/>
                <a:gd name="T40" fmla="*/ 1174 w 1607"/>
                <a:gd name="T41" fmla="*/ 3 h 1921"/>
                <a:gd name="T42" fmla="*/ 1247 w 1607"/>
                <a:gd name="T43" fmla="*/ 0 h 1921"/>
                <a:gd name="T44" fmla="*/ 1315 w 1607"/>
                <a:gd name="T45" fmla="*/ 4 h 1921"/>
                <a:gd name="T46" fmla="*/ 1376 w 1607"/>
                <a:gd name="T47" fmla="*/ 15 h 1921"/>
                <a:gd name="T48" fmla="*/ 1431 w 1607"/>
                <a:gd name="T49" fmla="*/ 30 h 1921"/>
                <a:gd name="T50" fmla="*/ 1479 w 1607"/>
                <a:gd name="T51" fmla="*/ 48 h 1921"/>
                <a:gd name="T52" fmla="*/ 1520 w 1607"/>
                <a:gd name="T53" fmla="*/ 68 h 1921"/>
                <a:gd name="T54" fmla="*/ 1567 w 1607"/>
                <a:gd name="T55" fmla="*/ 95 h 1921"/>
                <a:gd name="T56" fmla="*/ 1603 w 1607"/>
                <a:gd name="T57" fmla="*/ 121 h 1921"/>
                <a:gd name="T58" fmla="*/ 1607 w 1607"/>
                <a:gd name="T59" fmla="*/ 124 h 1921"/>
                <a:gd name="T60" fmla="*/ 1576 w 1607"/>
                <a:gd name="T61" fmla="*/ 118 h 1921"/>
                <a:gd name="T62" fmla="*/ 1539 w 1607"/>
                <a:gd name="T63" fmla="*/ 115 h 1921"/>
                <a:gd name="T64" fmla="*/ 1508 w 1607"/>
                <a:gd name="T65" fmla="*/ 115 h 1921"/>
                <a:gd name="T66" fmla="*/ 1473 w 1607"/>
                <a:gd name="T67" fmla="*/ 119 h 1921"/>
                <a:gd name="T68" fmla="*/ 1432 w 1607"/>
                <a:gd name="T69" fmla="*/ 128 h 1921"/>
                <a:gd name="T70" fmla="*/ 1388 w 1607"/>
                <a:gd name="T71" fmla="*/ 142 h 1921"/>
                <a:gd name="T72" fmla="*/ 1341 w 1607"/>
                <a:gd name="T73" fmla="*/ 163 h 1921"/>
                <a:gd name="T74" fmla="*/ 1290 w 1607"/>
                <a:gd name="T75" fmla="*/ 192 h 1921"/>
                <a:gd name="T76" fmla="*/ 1236 w 1607"/>
                <a:gd name="T77" fmla="*/ 231 h 1921"/>
                <a:gd name="T78" fmla="*/ 1181 w 1607"/>
                <a:gd name="T79" fmla="*/ 279 h 1921"/>
                <a:gd name="T80" fmla="*/ 1125 w 1607"/>
                <a:gd name="T81" fmla="*/ 339 h 1921"/>
                <a:gd name="T82" fmla="*/ 1066 w 1607"/>
                <a:gd name="T83" fmla="*/ 412 h 1921"/>
                <a:gd name="T84" fmla="*/ 1007 w 1607"/>
                <a:gd name="T85" fmla="*/ 498 h 1921"/>
                <a:gd name="T86" fmla="*/ 977 w 1607"/>
                <a:gd name="T87" fmla="*/ 547 h 1921"/>
                <a:gd name="T88" fmla="*/ 945 w 1607"/>
                <a:gd name="T89" fmla="*/ 606 h 1921"/>
                <a:gd name="T90" fmla="*/ 887 w 1607"/>
                <a:gd name="T91" fmla="*/ 722 h 1921"/>
                <a:gd name="T92" fmla="*/ 842 w 1607"/>
                <a:gd name="T93" fmla="*/ 830 h 1921"/>
                <a:gd name="T94" fmla="*/ 806 w 1607"/>
                <a:gd name="T95" fmla="*/ 930 h 1921"/>
                <a:gd name="T96" fmla="*/ 781 w 1607"/>
                <a:gd name="T97" fmla="*/ 1017 h 1921"/>
                <a:gd name="T98" fmla="*/ 762 w 1607"/>
                <a:gd name="T99" fmla="*/ 1087 h 1921"/>
                <a:gd name="T100" fmla="*/ 748 w 1607"/>
                <a:gd name="T101" fmla="*/ 1154 h 1921"/>
                <a:gd name="T102" fmla="*/ 1111 w 1607"/>
                <a:gd name="T103" fmla="*/ 1217 h 1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07" h="1921">
                  <a:moveTo>
                    <a:pt x="0" y="1921"/>
                  </a:moveTo>
                  <a:lnTo>
                    <a:pt x="0" y="580"/>
                  </a:lnTo>
                  <a:lnTo>
                    <a:pt x="266" y="870"/>
                  </a:lnTo>
                  <a:lnTo>
                    <a:pt x="266" y="870"/>
                  </a:lnTo>
                  <a:lnTo>
                    <a:pt x="274" y="851"/>
                  </a:lnTo>
                  <a:lnTo>
                    <a:pt x="300" y="799"/>
                  </a:lnTo>
                  <a:lnTo>
                    <a:pt x="319" y="764"/>
                  </a:lnTo>
                  <a:lnTo>
                    <a:pt x="340" y="723"/>
                  </a:lnTo>
                  <a:lnTo>
                    <a:pt x="365" y="678"/>
                  </a:lnTo>
                  <a:lnTo>
                    <a:pt x="393" y="630"/>
                  </a:lnTo>
                  <a:lnTo>
                    <a:pt x="423" y="579"/>
                  </a:lnTo>
                  <a:lnTo>
                    <a:pt x="455" y="526"/>
                  </a:lnTo>
                  <a:lnTo>
                    <a:pt x="490" y="474"/>
                  </a:lnTo>
                  <a:lnTo>
                    <a:pt x="527" y="422"/>
                  </a:lnTo>
                  <a:lnTo>
                    <a:pt x="566" y="372"/>
                  </a:lnTo>
                  <a:lnTo>
                    <a:pt x="585" y="348"/>
                  </a:lnTo>
                  <a:lnTo>
                    <a:pt x="605" y="324"/>
                  </a:lnTo>
                  <a:lnTo>
                    <a:pt x="626" y="302"/>
                  </a:lnTo>
                  <a:lnTo>
                    <a:pt x="646" y="280"/>
                  </a:lnTo>
                  <a:lnTo>
                    <a:pt x="667" y="260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713" y="219"/>
                  </a:lnTo>
                  <a:lnTo>
                    <a:pt x="738" y="200"/>
                  </a:lnTo>
                  <a:lnTo>
                    <a:pt x="761" y="180"/>
                  </a:lnTo>
                  <a:lnTo>
                    <a:pt x="786" y="163"/>
                  </a:lnTo>
                  <a:lnTo>
                    <a:pt x="810" y="146"/>
                  </a:lnTo>
                  <a:lnTo>
                    <a:pt x="833" y="131"/>
                  </a:lnTo>
                  <a:lnTo>
                    <a:pt x="857" y="116"/>
                  </a:lnTo>
                  <a:lnTo>
                    <a:pt x="880" y="103"/>
                  </a:lnTo>
                  <a:lnTo>
                    <a:pt x="902" y="90"/>
                  </a:lnTo>
                  <a:lnTo>
                    <a:pt x="925" y="78"/>
                  </a:lnTo>
                  <a:lnTo>
                    <a:pt x="947" y="68"/>
                  </a:lnTo>
                  <a:lnTo>
                    <a:pt x="970" y="58"/>
                  </a:lnTo>
                  <a:lnTo>
                    <a:pt x="991" y="49"/>
                  </a:lnTo>
                  <a:lnTo>
                    <a:pt x="1013" y="41"/>
                  </a:lnTo>
                  <a:lnTo>
                    <a:pt x="1034" y="33"/>
                  </a:lnTo>
                  <a:lnTo>
                    <a:pt x="1055" y="27"/>
                  </a:lnTo>
                  <a:lnTo>
                    <a:pt x="1076" y="21"/>
                  </a:lnTo>
                  <a:lnTo>
                    <a:pt x="1097" y="16"/>
                  </a:lnTo>
                  <a:lnTo>
                    <a:pt x="1136" y="8"/>
                  </a:lnTo>
                  <a:lnTo>
                    <a:pt x="1174" y="3"/>
                  </a:lnTo>
                  <a:lnTo>
                    <a:pt x="1212" y="0"/>
                  </a:lnTo>
                  <a:lnTo>
                    <a:pt x="1247" y="0"/>
                  </a:lnTo>
                  <a:lnTo>
                    <a:pt x="1281" y="1"/>
                  </a:lnTo>
                  <a:lnTo>
                    <a:pt x="1315" y="4"/>
                  </a:lnTo>
                  <a:lnTo>
                    <a:pt x="1346" y="8"/>
                  </a:lnTo>
                  <a:lnTo>
                    <a:pt x="1376" y="15"/>
                  </a:lnTo>
                  <a:lnTo>
                    <a:pt x="1404" y="22"/>
                  </a:lnTo>
                  <a:lnTo>
                    <a:pt x="1431" y="30"/>
                  </a:lnTo>
                  <a:lnTo>
                    <a:pt x="1456" y="40"/>
                  </a:lnTo>
                  <a:lnTo>
                    <a:pt x="1479" y="48"/>
                  </a:lnTo>
                  <a:lnTo>
                    <a:pt x="1501" y="58"/>
                  </a:lnTo>
                  <a:lnTo>
                    <a:pt x="1520" y="68"/>
                  </a:lnTo>
                  <a:lnTo>
                    <a:pt x="1538" y="77"/>
                  </a:lnTo>
                  <a:lnTo>
                    <a:pt x="1567" y="95"/>
                  </a:lnTo>
                  <a:lnTo>
                    <a:pt x="1589" y="110"/>
                  </a:lnTo>
                  <a:lnTo>
                    <a:pt x="1603" y="121"/>
                  </a:lnTo>
                  <a:lnTo>
                    <a:pt x="1607" y="124"/>
                  </a:lnTo>
                  <a:lnTo>
                    <a:pt x="1607" y="124"/>
                  </a:lnTo>
                  <a:lnTo>
                    <a:pt x="1593" y="121"/>
                  </a:lnTo>
                  <a:lnTo>
                    <a:pt x="1576" y="118"/>
                  </a:lnTo>
                  <a:lnTo>
                    <a:pt x="1553" y="115"/>
                  </a:lnTo>
                  <a:lnTo>
                    <a:pt x="1539" y="115"/>
                  </a:lnTo>
                  <a:lnTo>
                    <a:pt x="1524" y="115"/>
                  </a:lnTo>
                  <a:lnTo>
                    <a:pt x="1508" y="115"/>
                  </a:lnTo>
                  <a:lnTo>
                    <a:pt x="1491" y="117"/>
                  </a:lnTo>
                  <a:lnTo>
                    <a:pt x="1473" y="119"/>
                  </a:lnTo>
                  <a:lnTo>
                    <a:pt x="1453" y="122"/>
                  </a:lnTo>
                  <a:lnTo>
                    <a:pt x="1432" y="128"/>
                  </a:lnTo>
                  <a:lnTo>
                    <a:pt x="1410" y="134"/>
                  </a:lnTo>
                  <a:lnTo>
                    <a:pt x="1388" y="142"/>
                  </a:lnTo>
                  <a:lnTo>
                    <a:pt x="1364" y="151"/>
                  </a:lnTo>
                  <a:lnTo>
                    <a:pt x="1341" y="163"/>
                  </a:lnTo>
                  <a:lnTo>
                    <a:pt x="1316" y="177"/>
                  </a:lnTo>
                  <a:lnTo>
                    <a:pt x="1290" y="192"/>
                  </a:lnTo>
                  <a:lnTo>
                    <a:pt x="1263" y="210"/>
                  </a:lnTo>
                  <a:lnTo>
                    <a:pt x="1236" y="231"/>
                  </a:lnTo>
                  <a:lnTo>
                    <a:pt x="1209" y="254"/>
                  </a:lnTo>
                  <a:lnTo>
                    <a:pt x="1181" y="279"/>
                  </a:lnTo>
                  <a:lnTo>
                    <a:pt x="1152" y="308"/>
                  </a:lnTo>
                  <a:lnTo>
                    <a:pt x="1125" y="339"/>
                  </a:lnTo>
                  <a:lnTo>
                    <a:pt x="1096" y="375"/>
                  </a:lnTo>
                  <a:lnTo>
                    <a:pt x="1066" y="412"/>
                  </a:lnTo>
                  <a:lnTo>
                    <a:pt x="1036" y="453"/>
                  </a:lnTo>
                  <a:lnTo>
                    <a:pt x="1007" y="498"/>
                  </a:lnTo>
                  <a:lnTo>
                    <a:pt x="977" y="547"/>
                  </a:lnTo>
                  <a:lnTo>
                    <a:pt x="977" y="547"/>
                  </a:lnTo>
                  <a:lnTo>
                    <a:pt x="961" y="577"/>
                  </a:lnTo>
                  <a:lnTo>
                    <a:pt x="945" y="606"/>
                  </a:lnTo>
                  <a:lnTo>
                    <a:pt x="915" y="664"/>
                  </a:lnTo>
                  <a:lnTo>
                    <a:pt x="887" y="722"/>
                  </a:lnTo>
                  <a:lnTo>
                    <a:pt x="863" y="778"/>
                  </a:lnTo>
                  <a:lnTo>
                    <a:pt x="842" y="830"/>
                  </a:lnTo>
                  <a:lnTo>
                    <a:pt x="823" y="882"/>
                  </a:lnTo>
                  <a:lnTo>
                    <a:pt x="806" y="930"/>
                  </a:lnTo>
                  <a:lnTo>
                    <a:pt x="792" y="976"/>
                  </a:lnTo>
                  <a:lnTo>
                    <a:pt x="781" y="1017"/>
                  </a:lnTo>
                  <a:lnTo>
                    <a:pt x="770" y="1055"/>
                  </a:lnTo>
                  <a:lnTo>
                    <a:pt x="762" y="1087"/>
                  </a:lnTo>
                  <a:lnTo>
                    <a:pt x="756" y="1115"/>
                  </a:lnTo>
                  <a:lnTo>
                    <a:pt x="748" y="1154"/>
                  </a:lnTo>
                  <a:lnTo>
                    <a:pt x="746" y="1168"/>
                  </a:lnTo>
                  <a:lnTo>
                    <a:pt x="1111" y="1217"/>
                  </a:lnTo>
                  <a:lnTo>
                    <a:pt x="0" y="1921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 flipH="1">
              <a:off x="7331959" y="2647276"/>
              <a:ext cx="41670" cy="1034792"/>
            </a:xfrm>
            <a:custGeom>
              <a:avLst/>
              <a:gdLst>
                <a:gd name="T0" fmla="*/ 47 w 54"/>
                <a:gd name="T1" fmla="*/ 50 h 1341"/>
                <a:gd name="T2" fmla="*/ 0 w 54"/>
                <a:gd name="T3" fmla="*/ 0 h 1341"/>
                <a:gd name="T4" fmla="*/ 0 w 54"/>
                <a:gd name="T5" fmla="*/ 1341 h 1341"/>
                <a:gd name="T6" fmla="*/ 54 w 54"/>
                <a:gd name="T7" fmla="*/ 1307 h 1341"/>
                <a:gd name="T8" fmla="*/ 47 w 54"/>
                <a:gd name="T9" fmla="*/ 50 h 1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1341">
                  <a:moveTo>
                    <a:pt x="47" y="50"/>
                  </a:moveTo>
                  <a:lnTo>
                    <a:pt x="0" y="0"/>
                  </a:lnTo>
                  <a:lnTo>
                    <a:pt x="0" y="1341"/>
                  </a:lnTo>
                  <a:lnTo>
                    <a:pt x="54" y="1307"/>
                  </a:lnTo>
                  <a:lnTo>
                    <a:pt x="47" y="50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 flipH="1">
              <a:off x="6133575" y="2276880"/>
              <a:ext cx="666712" cy="824130"/>
            </a:xfrm>
            <a:custGeom>
              <a:avLst/>
              <a:gdLst>
                <a:gd name="T0" fmla="*/ 864 w 864"/>
                <a:gd name="T1" fmla="*/ 24 h 1068"/>
                <a:gd name="T2" fmla="*/ 859 w 864"/>
                <a:gd name="T3" fmla="*/ 20 h 1068"/>
                <a:gd name="T4" fmla="*/ 834 w 864"/>
                <a:gd name="T5" fmla="*/ 12 h 1068"/>
                <a:gd name="T6" fmla="*/ 800 w 864"/>
                <a:gd name="T7" fmla="*/ 4 h 1068"/>
                <a:gd name="T8" fmla="*/ 757 w 864"/>
                <a:gd name="T9" fmla="*/ 0 h 1068"/>
                <a:gd name="T10" fmla="*/ 706 w 864"/>
                <a:gd name="T11" fmla="*/ 1 h 1068"/>
                <a:gd name="T12" fmla="*/ 647 w 864"/>
                <a:gd name="T13" fmla="*/ 12 h 1068"/>
                <a:gd name="T14" fmla="*/ 599 w 864"/>
                <a:gd name="T15" fmla="*/ 26 h 1068"/>
                <a:gd name="T16" fmla="*/ 564 w 864"/>
                <a:gd name="T17" fmla="*/ 40 h 1068"/>
                <a:gd name="T18" fmla="*/ 529 w 864"/>
                <a:gd name="T19" fmla="*/ 57 h 1068"/>
                <a:gd name="T20" fmla="*/ 491 w 864"/>
                <a:gd name="T21" fmla="*/ 78 h 1068"/>
                <a:gd name="T22" fmla="*/ 452 w 864"/>
                <a:gd name="T23" fmla="*/ 103 h 1068"/>
                <a:gd name="T24" fmla="*/ 433 w 864"/>
                <a:gd name="T25" fmla="*/ 118 h 1068"/>
                <a:gd name="T26" fmla="*/ 385 w 864"/>
                <a:gd name="T27" fmla="*/ 159 h 1068"/>
                <a:gd name="T28" fmla="*/ 333 w 864"/>
                <a:gd name="T29" fmla="*/ 213 h 1068"/>
                <a:gd name="T30" fmla="*/ 279 w 864"/>
                <a:gd name="T31" fmla="*/ 278 h 1068"/>
                <a:gd name="T32" fmla="*/ 225 w 864"/>
                <a:gd name="T33" fmla="*/ 354 h 1068"/>
                <a:gd name="T34" fmla="*/ 172 w 864"/>
                <a:gd name="T35" fmla="*/ 440 h 1068"/>
                <a:gd name="T36" fmla="*/ 123 w 864"/>
                <a:gd name="T37" fmla="*/ 535 h 1068"/>
                <a:gd name="T38" fmla="*/ 78 w 864"/>
                <a:gd name="T39" fmla="*/ 637 h 1068"/>
                <a:gd name="T40" fmla="*/ 41 w 864"/>
                <a:gd name="T41" fmla="*/ 746 h 1068"/>
                <a:gd name="T42" fmla="*/ 31 w 864"/>
                <a:gd name="T43" fmla="*/ 781 h 1068"/>
                <a:gd name="T44" fmla="*/ 16 w 864"/>
                <a:gd name="T45" fmla="*/ 847 h 1068"/>
                <a:gd name="T46" fmla="*/ 6 w 864"/>
                <a:gd name="T47" fmla="*/ 906 h 1068"/>
                <a:gd name="T48" fmla="*/ 1 w 864"/>
                <a:gd name="T49" fmla="*/ 956 h 1068"/>
                <a:gd name="T50" fmla="*/ 0 w 864"/>
                <a:gd name="T51" fmla="*/ 1016 h 1068"/>
                <a:gd name="T52" fmla="*/ 2 w 864"/>
                <a:gd name="T53" fmla="*/ 1061 h 1068"/>
                <a:gd name="T54" fmla="*/ 3 w 864"/>
                <a:gd name="T55" fmla="*/ 1068 h 1068"/>
                <a:gd name="T56" fmla="*/ 13 w 864"/>
                <a:gd name="T57" fmla="*/ 1015 h 1068"/>
                <a:gd name="T58" fmla="*/ 27 w 864"/>
                <a:gd name="T59" fmla="*/ 955 h 1068"/>
                <a:gd name="T60" fmla="*/ 49 w 864"/>
                <a:gd name="T61" fmla="*/ 876 h 1068"/>
                <a:gd name="T62" fmla="*/ 80 w 864"/>
                <a:gd name="T63" fmla="*/ 782 h 1068"/>
                <a:gd name="T64" fmla="*/ 120 w 864"/>
                <a:gd name="T65" fmla="*/ 678 h 1068"/>
                <a:gd name="T66" fmla="*/ 172 w 864"/>
                <a:gd name="T67" fmla="*/ 564 h 1068"/>
                <a:gd name="T68" fmla="*/ 218 w 864"/>
                <a:gd name="T69" fmla="*/ 477 h 1068"/>
                <a:gd name="T70" fmla="*/ 234 w 864"/>
                <a:gd name="T71" fmla="*/ 447 h 1068"/>
                <a:gd name="T72" fmla="*/ 293 w 864"/>
                <a:gd name="T73" fmla="*/ 353 h 1068"/>
                <a:gd name="T74" fmla="*/ 353 w 864"/>
                <a:gd name="T75" fmla="*/ 275 h 1068"/>
                <a:gd name="T76" fmla="*/ 409 w 864"/>
                <a:gd name="T77" fmla="*/ 208 h 1068"/>
                <a:gd name="T78" fmla="*/ 466 w 864"/>
                <a:gd name="T79" fmla="*/ 154 h 1068"/>
                <a:gd name="T80" fmla="*/ 520 w 864"/>
                <a:gd name="T81" fmla="*/ 110 h 1068"/>
                <a:gd name="T82" fmla="*/ 573 w 864"/>
                <a:gd name="T83" fmla="*/ 77 h 1068"/>
                <a:gd name="T84" fmla="*/ 621 w 864"/>
                <a:gd name="T85" fmla="*/ 51 h 1068"/>
                <a:gd name="T86" fmla="*/ 667 w 864"/>
                <a:gd name="T87" fmla="*/ 34 h 1068"/>
                <a:gd name="T88" fmla="*/ 710 w 864"/>
                <a:gd name="T89" fmla="*/ 22 h 1068"/>
                <a:gd name="T90" fmla="*/ 748 w 864"/>
                <a:gd name="T91" fmla="*/ 17 h 1068"/>
                <a:gd name="T92" fmla="*/ 781 w 864"/>
                <a:gd name="T93" fmla="*/ 15 h 1068"/>
                <a:gd name="T94" fmla="*/ 810 w 864"/>
                <a:gd name="T95" fmla="*/ 15 h 1068"/>
                <a:gd name="T96" fmla="*/ 850 w 864"/>
                <a:gd name="T97" fmla="*/ 21 h 1068"/>
                <a:gd name="T98" fmla="*/ 864 w 864"/>
                <a:gd name="T99" fmla="*/ 24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64" h="1068">
                  <a:moveTo>
                    <a:pt x="864" y="24"/>
                  </a:moveTo>
                  <a:lnTo>
                    <a:pt x="864" y="24"/>
                  </a:lnTo>
                  <a:lnTo>
                    <a:pt x="859" y="20"/>
                  </a:lnTo>
                  <a:lnTo>
                    <a:pt x="859" y="20"/>
                  </a:lnTo>
                  <a:lnTo>
                    <a:pt x="848" y="16"/>
                  </a:lnTo>
                  <a:lnTo>
                    <a:pt x="834" y="12"/>
                  </a:lnTo>
                  <a:lnTo>
                    <a:pt x="818" y="8"/>
                  </a:lnTo>
                  <a:lnTo>
                    <a:pt x="800" y="4"/>
                  </a:lnTo>
                  <a:lnTo>
                    <a:pt x="779" y="2"/>
                  </a:lnTo>
                  <a:lnTo>
                    <a:pt x="757" y="0"/>
                  </a:lnTo>
                  <a:lnTo>
                    <a:pt x="732" y="0"/>
                  </a:lnTo>
                  <a:lnTo>
                    <a:pt x="706" y="1"/>
                  </a:lnTo>
                  <a:lnTo>
                    <a:pt x="677" y="5"/>
                  </a:lnTo>
                  <a:lnTo>
                    <a:pt x="647" y="12"/>
                  </a:lnTo>
                  <a:lnTo>
                    <a:pt x="615" y="20"/>
                  </a:lnTo>
                  <a:lnTo>
                    <a:pt x="599" y="26"/>
                  </a:lnTo>
                  <a:lnTo>
                    <a:pt x="581" y="32"/>
                  </a:lnTo>
                  <a:lnTo>
                    <a:pt x="564" y="40"/>
                  </a:lnTo>
                  <a:lnTo>
                    <a:pt x="546" y="48"/>
                  </a:lnTo>
                  <a:lnTo>
                    <a:pt x="529" y="57"/>
                  </a:lnTo>
                  <a:lnTo>
                    <a:pt x="509" y="66"/>
                  </a:lnTo>
                  <a:lnTo>
                    <a:pt x="491" y="78"/>
                  </a:lnTo>
                  <a:lnTo>
                    <a:pt x="472" y="90"/>
                  </a:lnTo>
                  <a:lnTo>
                    <a:pt x="452" y="103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09" y="136"/>
                  </a:lnTo>
                  <a:lnTo>
                    <a:pt x="385" y="159"/>
                  </a:lnTo>
                  <a:lnTo>
                    <a:pt x="360" y="184"/>
                  </a:lnTo>
                  <a:lnTo>
                    <a:pt x="333" y="213"/>
                  </a:lnTo>
                  <a:lnTo>
                    <a:pt x="306" y="244"/>
                  </a:lnTo>
                  <a:lnTo>
                    <a:pt x="279" y="278"/>
                  </a:lnTo>
                  <a:lnTo>
                    <a:pt x="253" y="315"/>
                  </a:lnTo>
                  <a:lnTo>
                    <a:pt x="225" y="354"/>
                  </a:lnTo>
                  <a:lnTo>
                    <a:pt x="199" y="396"/>
                  </a:lnTo>
                  <a:lnTo>
                    <a:pt x="172" y="440"/>
                  </a:lnTo>
                  <a:lnTo>
                    <a:pt x="147" y="487"/>
                  </a:lnTo>
                  <a:lnTo>
                    <a:pt x="123" y="535"/>
                  </a:lnTo>
                  <a:lnTo>
                    <a:pt x="100" y="585"/>
                  </a:lnTo>
                  <a:lnTo>
                    <a:pt x="78" y="637"/>
                  </a:lnTo>
                  <a:lnTo>
                    <a:pt x="58" y="691"/>
                  </a:lnTo>
                  <a:lnTo>
                    <a:pt x="41" y="746"/>
                  </a:lnTo>
                  <a:lnTo>
                    <a:pt x="41" y="746"/>
                  </a:lnTo>
                  <a:lnTo>
                    <a:pt x="31" y="781"/>
                  </a:lnTo>
                  <a:lnTo>
                    <a:pt x="23" y="814"/>
                  </a:lnTo>
                  <a:lnTo>
                    <a:pt x="16" y="847"/>
                  </a:lnTo>
                  <a:lnTo>
                    <a:pt x="11" y="877"/>
                  </a:lnTo>
                  <a:lnTo>
                    <a:pt x="6" y="906"/>
                  </a:lnTo>
                  <a:lnTo>
                    <a:pt x="3" y="931"/>
                  </a:lnTo>
                  <a:lnTo>
                    <a:pt x="1" y="956"/>
                  </a:lnTo>
                  <a:lnTo>
                    <a:pt x="0" y="979"/>
                  </a:lnTo>
                  <a:lnTo>
                    <a:pt x="0" y="1016"/>
                  </a:lnTo>
                  <a:lnTo>
                    <a:pt x="1" y="1044"/>
                  </a:lnTo>
                  <a:lnTo>
                    <a:pt x="2" y="1061"/>
                  </a:lnTo>
                  <a:lnTo>
                    <a:pt x="3" y="1068"/>
                  </a:lnTo>
                  <a:lnTo>
                    <a:pt x="3" y="1068"/>
                  </a:lnTo>
                  <a:lnTo>
                    <a:pt x="5" y="1054"/>
                  </a:lnTo>
                  <a:lnTo>
                    <a:pt x="13" y="1015"/>
                  </a:lnTo>
                  <a:lnTo>
                    <a:pt x="19" y="987"/>
                  </a:lnTo>
                  <a:lnTo>
                    <a:pt x="27" y="955"/>
                  </a:lnTo>
                  <a:lnTo>
                    <a:pt x="38" y="917"/>
                  </a:lnTo>
                  <a:lnTo>
                    <a:pt x="49" y="876"/>
                  </a:lnTo>
                  <a:lnTo>
                    <a:pt x="63" y="830"/>
                  </a:lnTo>
                  <a:lnTo>
                    <a:pt x="80" y="782"/>
                  </a:lnTo>
                  <a:lnTo>
                    <a:pt x="99" y="730"/>
                  </a:lnTo>
                  <a:lnTo>
                    <a:pt x="120" y="678"/>
                  </a:lnTo>
                  <a:lnTo>
                    <a:pt x="144" y="622"/>
                  </a:lnTo>
                  <a:lnTo>
                    <a:pt x="172" y="564"/>
                  </a:lnTo>
                  <a:lnTo>
                    <a:pt x="202" y="506"/>
                  </a:lnTo>
                  <a:lnTo>
                    <a:pt x="218" y="477"/>
                  </a:lnTo>
                  <a:lnTo>
                    <a:pt x="234" y="447"/>
                  </a:lnTo>
                  <a:lnTo>
                    <a:pt x="234" y="447"/>
                  </a:lnTo>
                  <a:lnTo>
                    <a:pt x="264" y="398"/>
                  </a:lnTo>
                  <a:lnTo>
                    <a:pt x="293" y="353"/>
                  </a:lnTo>
                  <a:lnTo>
                    <a:pt x="323" y="312"/>
                  </a:lnTo>
                  <a:lnTo>
                    <a:pt x="353" y="275"/>
                  </a:lnTo>
                  <a:lnTo>
                    <a:pt x="382" y="239"/>
                  </a:lnTo>
                  <a:lnTo>
                    <a:pt x="409" y="208"/>
                  </a:lnTo>
                  <a:lnTo>
                    <a:pt x="438" y="179"/>
                  </a:lnTo>
                  <a:lnTo>
                    <a:pt x="466" y="154"/>
                  </a:lnTo>
                  <a:lnTo>
                    <a:pt x="493" y="131"/>
                  </a:lnTo>
                  <a:lnTo>
                    <a:pt x="520" y="110"/>
                  </a:lnTo>
                  <a:lnTo>
                    <a:pt x="547" y="92"/>
                  </a:lnTo>
                  <a:lnTo>
                    <a:pt x="573" y="77"/>
                  </a:lnTo>
                  <a:lnTo>
                    <a:pt x="598" y="63"/>
                  </a:lnTo>
                  <a:lnTo>
                    <a:pt x="621" y="51"/>
                  </a:lnTo>
                  <a:lnTo>
                    <a:pt x="645" y="42"/>
                  </a:lnTo>
                  <a:lnTo>
                    <a:pt x="667" y="34"/>
                  </a:lnTo>
                  <a:lnTo>
                    <a:pt x="689" y="28"/>
                  </a:lnTo>
                  <a:lnTo>
                    <a:pt x="710" y="22"/>
                  </a:lnTo>
                  <a:lnTo>
                    <a:pt x="730" y="19"/>
                  </a:lnTo>
                  <a:lnTo>
                    <a:pt x="748" y="17"/>
                  </a:lnTo>
                  <a:lnTo>
                    <a:pt x="765" y="15"/>
                  </a:lnTo>
                  <a:lnTo>
                    <a:pt x="781" y="15"/>
                  </a:lnTo>
                  <a:lnTo>
                    <a:pt x="796" y="15"/>
                  </a:lnTo>
                  <a:lnTo>
                    <a:pt x="810" y="15"/>
                  </a:lnTo>
                  <a:lnTo>
                    <a:pt x="833" y="18"/>
                  </a:lnTo>
                  <a:lnTo>
                    <a:pt x="850" y="21"/>
                  </a:lnTo>
                  <a:lnTo>
                    <a:pt x="864" y="24"/>
                  </a:lnTo>
                  <a:lnTo>
                    <a:pt x="864" y="24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 flipH="1">
              <a:off x="6413686" y="2199714"/>
              <a:ext cx="754682" cy="713012"/>
            </a:xfrm>
            <a:custGeom>
              <a:avLst/>
              <a:gdLst>
                <a:gd name="T0" fmla="*/ 422 w 978"/>
                <a:gd name="T1" fmla="*/ 241 h 924"/>
                <a:gd name="T2" fmla="*/ 380 w 978"/>
                <a:gd name="T3" fmla="*/ 280 h 924"/>
                <a:gd name="T4" fmla="*/ 339 w 978"/>
                <a:gd name="T5" fmla="*/ 323 h 924"/>
                <a:gd name="T6" fmla="*/ 300 w 978"/>
                <a:gd name="T7" fmla="*/ 371 h 924"/>
                <a:gd name="T8" fmla="*/ 226 w 978"/>
                <a:gd name="T9" fmla="*/ 473 h 924"/>
                <a:gd name="T10" fmla="*/ 158 w 978"/>
                <a:gd name="T11" fmla="*/ 576 h 924"/>
                <a:gd name="T12" fmla="*/ 100 w 978"/>
                <a:gd name="T13" fmla="*/ 675 h 924"/>
                <a:gd name="T14" fmla="*/ 54 w 978"/>
                <a:gd name="T15" fmla="*/ 761 h 924"/>
                <a:gd name="T16" fmla="*/ 10 w 978"/>
                <a:gd name="T17" fmla="*/ 849 h 924"/>
                <a:gd name="T18" fmla="*/ 24 w 978"/>
                <a:gd name="T19" fmla="*/ 924 h 924"/>
                <a:gd name="T20" fmla="*/ 32 w 978"/>
                <a:gd name="T21" fmla="*/ 905 h 924"/>
                <a:gd name="T22" fmla="*/ 76 w 978"/>
                <a:gd name="T23" fmla="*/ 815 h 924"/>
                <a:gd name="T24" fmla="*/ 125 w 978"/>
                <a:gd name="T25" fmla="*/ 727 h 924"/>
                <a:gd name="T26" fmla="*/ 186 w 978"/>
                <a:gd name="T27" fmla="*/ 624 h 924"/>
                <a:gd name="T28" fmla="*/ 258 w 978"/>
                <a:gd name="T29" fmla="*/ 515 h 924"/>
                <a:gd name="T30" fmla="*/ 319 w 978"/>
                <a:gd name="T31" fmla="*/ 432 h 924"/>
                <a:gd name="T32" fmla="*/ 363 w 978"/>
                <a:gd name="T33" fmla="*/ 379 h 924"/>
                <a:gd name="T34" fmla="*/ 408 w 978"/>
                <a:gd name="T35" fmla="*/ 329 h 924"/>
                <a:gd name="T36" fmla="*/ 456 w 978"/>
                <a:gd name="T37" fmla="*/ 281 h 924"/>
                <a:gd name="T38" fmla="*/ 480 w 978"/>
                <a:gd name="T39" fmla="*/ 260 h 924"/>
                <a:gd name="T40" fmla="*/ 547 w 978"/>
                <a:gd name="T41" fmla="*/ 206 h 924"/>
                <a:gd name="T42" fmla="*/ 614 w 978"/>
                <a:gd name="T43" fmla="*/ 159 h 924"/>
                <a:gd name="T44" fmla="*/ 680 w 978"/>
                <a:gd name="T45" fmla="*/ 119 h 924"/>
                <a:gd name="T46" fmla="*/ 746 w 978"/>
                <a:gd name="T47" fmla="*/ 85 h 924"/>
                <a:gd name="T48" fmla="*/ 808 w 978"/>
                <a:gd name="T49" fmla="*/ 57 h 924"/>
                <a:gd name="T50" fmla="*/ 868 w 978"/>
                <a:gd name="T51" fmla="*/ 33 h 924"/>
                <a:gd name="T52" fmla="*/ 925 w 978"/>
                <a:gd name="T53" fmla="*/ 15 h 924"/>
                <a:gd name="T54" fmla="*/ 978 w 978"/>
                <a:gd name="T55" fmla="*/ 0 h 924"/>
                <a:gd name="T56" fmla="*/ 919 w 978"/>
                <a:gd name="T57" fmla="*/ 2 h 924"/>
                <a:gd name="T58" fmla="*/ 857 w 978"/>
                <a:gd name="T59" fmla="*/ 11 h 924"/>
                <a:gd name="T60" fmla="*/ 792 w 978"/>
                <a:gd name="T61" fmla="*/ 27 h 924"/>
                <a:gd name="T62" fmla="*/ 723 w 978"/>
                <a:gd name="T63" fmla="*/ 49 h 924"/>
                <a:gd name="T64" fmla="*/ 652 w 978"/>
                <a:gd name="T65" fmla="*/ 83 h 924"/>
                <a:gd name="T66" fmla="*/ 578 w 978"/>
                <a:gd name="T67" fmla="*/ 124 h 924"/>
                <a:gd name="T68" fmla="*/ 501 w 978"/>
                <a:gd name="T69" fmla="*/ 177 h 924"/>
                <a:gd name="T70" fmla="*/ 422 w 978"/>
                <a:gd name="T71" fmla="*/ 241 h 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8" h="924">
                  <a:moveTo>
                    <a:pt x="422" y="241"/>
                  </a:moveTo>
                  <a:lnTo>
                    <a:pt x="422" y="241"/>
                  </a:lnTo>
                  <a:lnTo>
                    <a:pt x="401" y="260"/>
                  </a:lnTo>
                  <a:lnTo>
                    <a:pt x="380" y="280"/>
                  </a:lnTo>
                  <a:lnTo>
                    <a:pt x="360" y="302"/>
                  </a:lnTo>
                  <a:lnTo>
                    <a:pt x="339" y="323"/>
                  </a:lnTo>
                  <a:lnTo>
                    <a:pt x="320" y="347"/>
                  </a:lnTo>
                  <a:lnTo>
                    <a:pt x="300" y="371"/>
                  </a:lnTo>
                  <a:lnTo>
                    <a:pt x="262" y="421"/>
                  </a:lnTo>
                  <a:lnTo>
                    <a:pt x="226" y="473"/>
                  </a:lnTo>
                  <a:lnTo>
                    <a:pt x="190" y="524"/>
                  </a:lnTo>
                  <a:lnTo>
                    <a:pt x="158" y="576"/>
                  </a:lnTo>
                  <a:lnTo>
                    <a:pt x="128" y="626"/>
                  </a:lnTo>
                  <a:lnTo>
                    <a:pt x="100" y="675"/>
                  </a:lnTo>
                  <a:lnTo>
                    <a:pt x="75" y="720"/>
                  </a:lnTo>
                  <a:lnTo>
                    <a:pt x="54" y="761"/>
                  </a:lnTo>
                  <a:lnTo>
                    <a:pt x="35" y="796"/>
                  </a:lnTo>
                  <a:lnTo>
                    <a:pt x="10" y="849"/>
                  </a:lnTo>
                  <a:lnTo>
                    <a:pt x="0" y="869"/>
                  </a:lnTo>
                  <a:lnTo>
                    <a:pt x="24" y="924"/>
                  </a:lnTo>
                  <a:lnTo>
                    <a:pt x="24" y="924"/>
                  </a:lnTo>
                  <a:lnTo>
                    <a:pt x="32" y="905"/>
                  </a:lnTo>
                  <a:lnTo>
                    <a:pt x="58" y="852"/>
                  </a:lnTo>
                  <a:lnTo>
                    <a:pt x="76" y="815"/>
                  </a:lnTo>
                  <a:lnTo>
                    <a:pt x="99" y="774"/>
                  </a:lnTo>
                  <a:lnTo>
                    <a:pt x="125" y="727"/>
                  </a:lnTo>
                  <a:lnTo>
                    <a:pt x="154" y="677"/>
                  </a:lnTo>
                  <a:lnTo>
                    <a:pt x="186" y="624"/>
                  </a:lnTo>
                  <a:lnTo>
                    <a:pt x="220" y="569"/>
                  </a:lnTo>
                  <a:lnTo>
                    <a:pt x="258" y="515"/>
                  </a:lnTo>
                  <a:lnTo>
                    <a:pt x="299" y="460"/>
                  </a:lnTo>
                  <a:lnTo>
                    <a:pt x="319" y="432"/>
                  </a:lnTo>
                  <a:lnTo>
                    <a:pt x="341" y="405"/>
                  </a:lnTo>
                  <a:lnTo>
                    <a:pt x="363" y="379"/>
                  </a:lnTo>
                  <a:lnTo>
                    <a:pt x="386" y="353"/>
                  </a:lnTo>
                  <a:lnTo>
                    <a:pt x="408" y="329"/>
                  </a:lnTo>
                  <a:lnTo>
                    <a:pt x="432" y="304"/>
                  </a:lnTo>
                  <a:lnTo>
                    <a:pt x="456" y="281"/>
                  </a:lnTo>
                  <a:lnTo>
                    <a:pt x="480" y="260"/>
                  </a:lnTo>
                  <a:lnTo>
                    <a:pt x="480" y="260"/>
                  </a:lnTo>
                  <a:lnTo>
                    <a:pt x="514" y="232"/>
                  </a:lnTo>
                  <a:lnTo>
                    <a:pt x="547" y="206"/>
                  </a:lnTo>
                  <a:lnTo>
                    <a:pt x="580" y="181"/>
                  </a:lnTo>
                  <a:lnTo>
                    <a:pt x="614" y="159"/>
                  </a:lnTo>
                  <a:lnTo>
                    <a:pt x="647" y="138"/>
                  </a:lnTo>
                  <a:lnTo>
                    <a:pt x="680" y="119"/>
                  </a:lnTo>
                  <a:lnTo>
                    <a:pt x="713" y="101"/>
                  </a:lnTo>
                  <a:lnTo>
                    <a:pt x="746" y="85"/>
                  </a:lnTo>
                  <a:lnTo>
                    <a:pt x="777" y="70"/>
                  </a:lnTo>
                  <a:lnTo>
                    <a:pt x="808" y="57"/>
                  </a:lnTo>
                  <a:lnTo>
                    <a:pt x="839" y="44"/>
                  </a:lnTo>
                  <a:lnTo>
                    <a:pt x="868" y="33"/>
                  </a:lnTo>
                  <a:lnTo>
                    <a:pt x="897" y="23"/>
                  </a:lnTo>
                  <a:lnTo>
                    <a:pt x="925" y="15"/>
                  </a:lnTo>
                  <a:lnTo>
                    <a:pt x="978" y="0"/>
                  </a:lnTo>
                  <a:lnTo>
                    <a:pt x="978" y="0"/>
                  </a:lnTo>
                  <a:lnTo>
                    <a:pt x="949" y="0"/>
                  </a:lnTo>
                  <a:lnTo>
                    <a:pt x="919" y="2"/>
                  </a:lnTo>
                  <a:lnTo>
                    <a:pt x="889" y="5"/>
                  </a:lnTo>
                  <a:lnTo>
                    <a:pt x="857" y="11"/>
                  </a:lnTo>
                  <a:lnTo>
                    <a:pt x="824" y="18"/>
                  </a:lnTo>
                  <a:lnTo>
                    <a:pt x="792" y="27"/>
                  </a:lnTo>
                  <a:lnTo>
                    <a:pt x="758" y="37"/>
                  </a:lnTo>
                  <a:lnTo>
                    <a:pt x="723" y="49"/>
                  </a:lnTo>
                  <a:lnTo>
                    <a:pt x="688" y="64"/>
                  </a:lnTo>
                  <a:lnTo>
                    <a:pt x="652" y="83"/>
                  </a:lnTo>
                  <a:lnTo>
                    <a:pt x="615" y="102"/>
                  </a:lnTo>
                  <a:lnTo>
                    <a:pt x="578" y="124"/>
                  </a:lnTo>
                  <a:lnTo>
                    <a:pt x="539" y="149"/>
                  </a:lnTo>
                  <a:lnTo>
                    <a:pt x="501" y="177"/>
                  </a:lnTo>
                  <a:lnTo>
                    <a:pt x="462" y="207"/>
                  </a:lnTo>
                  <a:lnTo>
                    <a:pt x="422" y="241"/>
                  </a:lnTo>
                  <a:lnTo>
                    <a:pt x="422" y="241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436004" y="3060338"/>
            <a:ext cx="573713" cy="568824"/>
            <a:chOff x="1623078" y="2363109"/>
            <a:chExt cx="1399362" cy="1387440"/>
          </a:xfrm>
        </p:grpSpPr>
        <p:sp>
          <p:nvSpPr>
            <p:cNvPr id="20" name="Freeform 15"/>
            <p:cNvSpPr>
              <a:spLocks/>
            </p:cNvSpPr>
            <p:nvPr/>
          </p:nvSpPr>
          <p:spPr bwMode="auto">
            <a:xfrm rot="5753749" flipH="1">
              <a:off x="1632688" y="2383172"/>
              <a:ext cx="1387440" cy="1347313"/>
            </a:xfrm>
            <a:custGeom>
              <a:avLst/>
              <a:gdLst>
                <a:gd name="T0" fmla="*/ 0 w 1798"/>
                <a:gd name="T1" fmla="*/ 1612 h 1746"/>
                <a:gd name="T2" fmla="*/ 52 w 1798"/>
                <a:gd name="T3" fmla="*/ 1614 h 1746"/>
                <a:gd name="T4" fmla="*/ 107 w 1798"/>
                <a:gd name="T5" fmla="*/ 1613 h 1746"/>
                <a:gd name="T6" fmla="*/ 178 w 1798"/>
                <a:gd name="T7" fmla="*/ 1605 h 1746"/>
                <a:gd name="T8" fmla="*/ 258 w 1798"/>
                <a:gd name="T9" fmla="*/ 1589 h 1746"/>
                <a:gd name="T10" fmla="*/ 300 w 1798"/>
                <a:gd name="T11" fmla="*/ 1578 h 1746"/>
                <a:gd name="T12" fmla="*/ 343 w 1798"/>
                <a:gd name="T13" fmla="*/ 1561 h 1746"/>
                <a:gd name="T14" fmla="*/ 385 w 1798"/>
                <a:gd name="T15" fmla="*/ 1543 h 1746"/>
                <a:gd name="T16" fmla="*/ 427 w 1798"/>
                <a:gd name="T17" fmla="*/ 1520 h 1746"/>
                <a:gd name="T18" fmla="*/ 467 w 1798"/>
                <a:gd name="T19" fmla="*/ 1493 h 1746"/>
                <a:gd name="T20" fmla="*/ 506 w 1798"/>
                <a:gd name="T21" fmla="*/ 1460 h 1746"/>
                <a:gd name="T22" fmla="*/ 533 w 1798"/>
                <a:gd name="T23" fmla="*/ 1435 h 1746"/>
                <a:gd name="T24" fmla="*/ 585 w 1798"/>
                <a:gd name="T25" fmla="*/ 1380 h 1746"/>
                <a:gd name="T26" fmla="*/ 634 w 1798"/>
                <a:gd name="T27" fmla="*/ 1322 h 1746"/>
                <a:gd name="T28" fmla="*/ 680 w 1798"/>
                <a:gd name="T29" fmla="*/ 1262 h 1746"/>
                <a:gd name="T30" fmla="*/ 725 w 1798"/>
                <a:gd name="T31" fmla="*/ 1199 h 1746"/>
                <a:gd name="T32" fmla="*/ 787 w 1798"/>
                <a:gd name="T33" fmla="*/ 1107 h 1746"/>
                <a:gd name="T34" fmla="*/ 858 w 1798"/>
                <a:gd name="T35" fmla="*/ 988 h 1746"/>
                <a:gd name="T36" fmla="*/ 915 w 1798"/>
                <a:gd name="T37" fmla="*/ 880 h 1746"/>
                <a:gd name="T38" fmla="*/ 958 w 1798"/>
                <a:gd name="T39" fmla="*/ 793 h 1746"/>
                <a:gd name="T40" fmla="*/ 994 w 1798"/>
                <a:gd name="T41" fmla="*/ 715 h 1746"/>
                <a:gd name="T42" fmla="*/ 1798 w 1798"/>
                <a:gd name="T43" fmla="*/ 0 h 1746"/>
                <a:gd name="T44" fmla="*/ 1439 w 1798"/>
                <a:gd name="T45" fmla="*/ 991 h 1746"/>
                <a:gd name="T46" fmla="*/ 1419 w 1798"/>
                <a:gd name="T47" fmla="*/ 1018 h 1746"/>
                <a:gd name="T48" fmla="*/ 1322 w 1798"/>
                <a:gd name="T49" fmla="*/ 1135 h 1746"/>
                <a:gd name="T50" fmla="*/ 1224 w 1798"/>
                <a:gd name="T51" fmla="*/ 1245 h 1746"/>
                <a:gd name="T52" fmla="*/ 1110 w 1798"/>
                <a:gd name="T53" fmla="*/ 1368 h 1746"/>
                <a:gd name="T54" fmla="*/ 1018 w 1798"/>
                <a:gd name="T55" fmla="*/ 1460 h 1746"/>
                <a:gd name="T56" fmla="*/ 954 w 1798"/>
                <a:gd name="T57" fmla="*/ 1517 h 1746"/>
                <a:gd name="T58" fmla="*/ 891 w 1798"/>
                <a:gd name="T59" fmla="*/ 1571 h 1746"/>
                <a:gd name="T60" fmla="*/ 827 w 1798"/>
                <a:gd name="T61" fmla="*/ 1618 h 1746"/>
                <a:gd name="T62" fmla="*/ 767 w 1798"/>
                <a:gd name="T63" fmla="*/ 1657 h 1746"/>
                <a:gd name="T64" fmla="*/ 709 w 1798"/>
                <a:gd name="T65" fmla="*/ 1687 h 1746"/>
                <a:gd name="T66" fmla="*/ 681 w 1798"/>
                <a:gd name="T67" fmla="*/ 1698 h 1746"/>
                <a:gd name="T68" fmla="*/ 604 w 1798"/>
                <a:gd name="T69" fmla="*/ 1722 h 1746"/>
                <a:gd name="T70" fmla="*/ 531 w 1798"/>
                <a:gd name="T71" fmla="*/ 1737 h 1746"/>
                <a:gd name="T72" fmla="*/ 462 w 1798"/>
                <a:gd name="T73" fmla="*/ 1745 h 1746"/>
                <a:gd name="T74" fmla="*/ 397 w 1798"/>
                <a:gd name="T75" fmla="*/ 1746 h 1746"/>
                <a:gd name="T76" fmla="*/ 336 w 1798"/>
                <a:gd name="T77" fmla="*/ 1743 h 1746"/>
                <a:gd name="T78" fmla="*/ 280 w 1798"/>
                <a:gd name="T79" fmla="*/ 1736 h 1746"/>
                <a:gd name="T80" fmla="*/ 229 w 1798"/>
                <a:gd name="T81" fmla="*/ 1724 h 1746"/>
                <a:gd name="T82" fmla="*/ 183 w 1798"/>
                <a:gd name="T83" fmla="*/ 1710 h 1746"/>
                <a:gd name="T84" fmla="*/ 141 w 1798"/>
                <a:gd name="T85" fmla="*/ 1695 h 1746"/>
                <a:gd name="T86" fmla="*/ 104 w 1798"/>
                <a:gd name="T87" fmla="*/ 1677 h 1746"/>
                <a:gd name="T88" fmla="*/ 47 w 1798"/>
                <a:gd name="T89" fmla="*/ 1646 h 1746"/>
                <a:gd name="T90" fmla="*/ 12 w 1798"/>
                <a:gd name="T91" fmla="*/ 1622 h 1746"/>
                <a:gd name="T92" fmla="*/ 0 w 1798"/>
                <a:gd name="T93" fmla="*/ 1612 h 1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98" h="1746">
                  <a:moveTo>
                    <a:pt x="0" y="1612"/>
                  </a:moveTo>
                  <a:lnTo>
                    <a:pt x="0" y="1612"/>
                  </a:lnTo>
                  <a:lnTo>
                    <a:pt x="14" y="1613"/>
                  </a:lnTo>
                  <a:lnTo>
                    <a:pt x="52" y="1614"/>
                  </a:lnTo>
                  <a:lnTo>
                    <a:pt x="77" y="1614"/>
                  </a:lnTo>
                  <a:lnTo>
                    <a:pt x="107" y="1613"/>
                  </a:lnTo>
                  <a:lnTo>
                    <a:pt x="142" y="1610"/>
                  </a:lnTo>
                  <a:lnTo>
                    <a:pt x="178" y="1605"/>
                  </a:lnTo>
                  <a:lnTo>
                    <a:pt x="217" y="1599"/>
                  </a:lnTo>
                  <a:lnTo>
                    <a:pt x="258" y="1589"/>
                  </a:lnTo>
                  <a:lnTo>
                    <a:pt x="279" y="1584"/>
                  </a:lnTo>
                  <a:lnTo>
                    <a:pt x="300" y="1578"/>
                  </a:lnTo>
                  <a:lnTo>
                    <a:pt x="321" y="1570"/>
                  </a:lnTo>
                  <a:lnTo>
                    <a:pt x="343" y="1561"/>
                  </a:lnTo>
                  <a:lnTo>
                    <a:pt x="364" y="1553"/>
                  </a:lnTo>
                  <a:lnTo>
                    <a:pt x="385" y="1543"/>
                  </a:lnTo>
                  <a:lnTo>
                    <a:pt x="406" y="1531"/>
                  </a:lnTo>
                  <a:lnTo>
                    <a:pt x="427" y="1520"/>
                  </a:lnTo>
                  <a:lnTo>
                    <a:pt x="447" y="1507"/>
                  </a:lnTo>
                  <a:lnTo>
                    <a:pt x="467" y="1493"/>
                  </a:lnTo>
                  <a:lnTo>
                    <a:pt x="487" y="1477"/>
                  </a:lnTo>
                  <a:lnTo>
                    <a:pt x="506" y="1460"/>
                  </a:lnTo>
                  <a:lnTo>
                    <a:pt x="506" y="1460"/>
                  </a:lnTo>
                  <a:lnTo>
                    <a:pt x="533" y="1435"/>
                  </a:lnTo>
                  <a:lnTo>
                    <a:pt x="559" y="1408"/>
                  </a:lnTo>
                  <a:lnTo>
                    <a:pt x="585" y="1380"/>
                  </a:lnTo>
                  <a:lnTo>
                    <a:pt x="609" y="1351"/>
                  </a:lnTo>
                  <a:lnTo>
                    <a:pt x="634" y="1322"/>
                  </a:lnTo>
                  <a:lnTo>
                    <a:pt x="658" y="1292"/>
                  </a:lnTo>
                  <a:lnTo>
                    <a:pt x="680" y="1262"/>
                  </a:lnTo>
                  <a:lnTo>
                    <a:pt x="703" y="1230"/>
                  </a:lnTo>
                  <a:lnTo>
                    <a:pt x="725" y="1199"/>
                  </a:lnTo>
                  <a:lnTo>
                    <a:pt x="746" y="1169"/>
                  </a:lnTo>
                  <a:lnTo>
                    <a:pt x="787" y="1107"/>
                  </a:lnTo>
                  <a:lnTo>
                    <a:pt x="823" y="1046"/>
                  </a:lnTo>
                  <a:lnTo>
                    <a:pt x="858" y="988"/>
                  </a:lnTo>
                  <a:lnTo>
                    <a:pt x="888" y="932"/>
                  </a:lnTo>
                  <a:lnTo>
                    <a:pt x="915" y="880"/>
                  </a:lnTo>
                  <a:lnTo>
                    <a:pt x="938" y="834"/>
                  </a:lnTo>
                  <a:lnTo>
                    <a:pt x="958" y="793"/>
                  </a:lnTo>
                  <a:lnTo>
                    <a:pt x="984" y="736"/>
                  </a:lnTo>
                  <a:lnTo>
                    <a:pt x="994" y="715"/>
                  </a:lnTo>
                  <a:lnTo>
                    <a:pt x="624" y="564"/>
                  </a:lnTo>
                  <a:lnTo>
                    <a:pt x="1798" y="0"/>
                  </a:lnTo>
                  <a:lnTo>
                    <a:pt x="1669" y="1245"/>
                  </a:lnTo>
                  <a:lnTo>
                    <a:pt x="1439" y="991"/>
                  </a:lnTo>
                  <a:lnTo>
                    <a:pt x="1439" y="991"/>
                  </a:lnTo>
                  <a:lnTo>
                    <a:pt x="1419" y="1018"/>
                  </a:lnTo>
                  <a:lnTo>
                    <a:pt x="1362" y="1088"/>
                  </a:lnTo>
                  <a:lnTo>
                    <a:pt x="1322" y="1135"/>
                  </a:lnTo>
                  <a:lnTo>
                    <a:pt x="1276" y="1189"/>
                  </a:lnTo>
                  <a:lnTo>
                    <a:pt x="1224" y="1245"/>
                  </a:lnTo>
                  <a:lnTo>
                    <a:pt x="1169" y="1307"/>
                  </a:lnTo>
                  <a:lnTo>
                    <a:pt x="1110" y="1368"/>
                  </a:lnTo>
                  <a:lnTo>
                    <a:pt x="1049" y="1430"/>
                  </a:lnTo>
                  <a:lnTo>
                    <a:pt x="1018" y="1460"/>
                  </a:lnTo>
                  <a:lnTo>
                    <a:pt x="985" y="1489"/>
                  </a:lnTo>
                  <a:lnTo>
                    <a:pt x="954" y="1517"/>
                  </a:lnTo>
                  <a:lnTo>
                    <a:pt x="922" y="1545"/>
                  </a:lnTo>
                  <a:lnTo>
                    <a:pt x="891" y="1571"/>
                  </a:lnTo>
                  <a:lnTo>
                    <a:pt x="859" y="1596"/>
                  </a:lnTo>
                  <a:lnTo>
                    <a:pt x="827" y="1618"/>
                  </a:lnTo>
                  <a:lnTo>
                    <a:pt x="797" y="1639"/>
                  </a:lnTo>
                  <a:lnTo>
                    <a:pt x="767" y="1657"/>
                  </a:lnTo>
                  <a:lnTo>
                    <a:pt x="737" y="1673"/>
                  </a:lnTo>
                  <a:lnTo>
                    <a:pt x="709" y="1687"/>
                  </a:lnTo>
                  <a:lnTo>
                    <a:pt x="681" y="1698"/>
                  </a:lnTo>
                  <a:lnTo>
                    <a:pt x="681" y="1698"/>
                  </a:lnTo>
                  <a:lnTo>
                    <a:pt x="643" y="1711"/>
                  </a:lnTo>
                  <a:lnTo>
                    <a:pt x="604" y="1722"/>
                  </a:lnTo>
                  <a:lnTo>
                    <a:pt x="567" y="1730"/>
                  </a:lnTo>
                  <a:lnTo>
                    <a:pt x="531" y="1737"/>
                  </a:lnTo>
                  <a:lnTo>
                    <a:pt x="496" y="1742"/>
                  </a:lnTo>
                  <a:lnTo>
                    <a:pt x="462" y="1745"/>
                  </a:lnTo>
                  <a:lnTo>
                    <a:pt x="429" y="1746"/>
                  </a:lnTo>
                  <a:lnTo>
                    <a:pt x="397" y="1746"/>
                  </a:lnTo>
                  <a:lnTo>
                    <a:pt x="366" y="1745"/>
                  </a:lnTo>
                  <a:lnTo>
                    <a:pt x="336" y="1743"/>
                  </a:lnTo>
                  <a:lnTo>
                    <a:pt x="308" y="1740"/>
                  </a:lnTo>
                  <a:lnTo>
                    <a:pt x="280" y="1736"/>
                  </a:lnTo>
                  <a:lnTo>
                    <a:pt x="255" y="1730"/>
                  </a:lnTo>
                  <a:lnTo>
                    <a:pt x="229" y="1724"/>
                  </a:lnTo>
                  <a:lnTo>
                    <a:pt x="205" y="1717"/>
                  </a:lnTo>
                  <a:lnTo>
                    <a:pt x="183" y="1710"/>
                  </a:lnTo>
                  <a:lnTo>
                    <a:pt x="161" y="1702"/>
                  </a:lnTo>
                  <a:lnTo>
                    <a:pt x="141" y="1695"/>
                  </a:lnTo>
                  <a:lnTo>
                    <a:pt x="123" y="1686"/>
                  </a:lnTo>
                  <a:lnTo>
                    <a:pt x="104" y="1677"/>
                  </a:lnTo>
                  <a:lnTo>
                    <a:pt x="73" y="1661"/>
                  </a:lnTo>
                  <a:lnTo>
                    <a:pt x="47" y="1646"/>
                  </a:lnTo>
                  <a:lnTo>
                    <a:pt x="27" y="1632"/>
                  </a:lnTo>
                  <a:lnTo>
                    <a:pt x="12" y="1622"/>
                  </a:lnTo>
                  <a:lnTo>
                    <a:pt x="0" y="1612"/>
                  </a:lnTo>
                  <a:lnTo>
                    <a:pt x="0" y="1612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 rot="5753749" flipH="1">
              <a:off x="2341067" y="2634670"/>
              <a:ext cx="905926" cy="456821"/>
            </a:xfrm>
            <a:custGeom>
              <a:avLst/>
              <a:gdLst>
                <a:gd name="T0" fmla="*/ 70 w 1174"/>
                <a:gd name="T1" fmla="*/ 592 h 592"/>
                <a:gd name="T2" fmla="*/ 1169 w 1174"/>
                <a:gd name="T3" fmla="*/ 47 h 592"/>
                <a:gd name="T4" fmla="*/ 1174 w 1174"/>
                <a:gd name="T5" fmla="*/ 0 h 592"/>
                <a:gd name="T6" fmla="*/ 0 w 1174"/>
                <a:gd name="T7" fmla="*/ 564 h 592"/>
                <a:gd name="T8" fmla="*/ 70 w 1174"/>
                <a:gd name="T9" fmla="*/ 592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4" h="592">
                  <a:moveTo>
                    <a:pt x="70" y="592"/>
                  </a:moveTo>
                  <a:lnTo>
                    <a:pt x="1169" y="47"/>
                  </a:lnTo>
                  <a:lnTo>
                    <a:pt x="1174" y="0"/>
                  </a:lnTo>
                  <a:lnTo>
                    <a:pt x="0" y="564"/>
                  </a:lnTo>
                  <a:lnTo>
                    <a:pt x="70" y="592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 rot="5753749" flipH="1">
              <a:off x="1409715" y="2812588"/>
              <a:ext cx="1030934" cy="604208"/>
            </a:xfrm>
            <a:custGeom>
              <a:avLst/>
              <a:gdLst>
                <a:gd name="T0" fmla="*/ 578 w 1336"/>
                <a:gd name="T1" fmla="*/ 707 h 783"/>
                <a:gd name="T2" fmla="*/ 530 w 1336"/>
                <a:gd name="T3" fmla="*/ 723 h 783"/>
                <a:gd name="T4" fmla="*/ 484 w 1336"/>
                <a:gd name="T5" fmla="*/ 735 h 783"/>
                <a:gd name="T6" fmla="*/ 396 w 1336"/>
                <a:gd name="T7" fmla="*/ 750 h 783"/>
                <a:gd name="T8" fmla="*/ 313 w 1336"/>
                <a:gd name="T9" fmla="*/ 755 h 783"/>
                <a:gd name="T10" fmla="*/ 238 w 1336"/>
                <a:gd name="T11" fmla="*/ 753 h 783"/>
                <a:gd name="T12" fmla="*/ 169 w 1336"/>
                <a:gd name="T13" fmla="*/ 742 h 783"/>
                <a:gd name="T14" fmla="*/ 108 w 1336"/>
                <a:gd name="T15" fmla="*/ 727 h 783"/>
                <a:gd name="T16" fmla="*/ 53 w 1336"/>
                <a:gd name="T17" fmla="*/ 709 h 783"/>
                <a:gd name="T18" fmla="*/ 7 w 1336"/>
                <a:gd name="T19" fmla="*/ 689 h 783"/>
                <a:gd name="T20" fmla="*/ 0 w 1336"/>
                <a:gd name="T21" fmla="*/ 690 h 783"/>
                <a:gd name="T22" fmla="*/ 42 w 1336"/>
                <a:gd name="T23" fmla="*/ 712 h 783"/>
                <a:gd name="T24" fmla="*/ 110 w 1336"/>
                <a:gd name="T25" fmla="*/ 740 h 783"/>
                <a:gd name="T26" fmla="*/ 155 w 1336"/>
                <a:gd name="T27" fmla="*/ 754 h 783"/>
                <a:gd name="T28" fmla="*/ 207 w 1336"/>
                <a:gd name="T29" fmla="*/ 767 h 783"/>
                <a:gd name="T30" fmla="*/ 263 w 1336"/>
                <a:gd name="T31" fmla="*/ 777 h 783"/>
                <a:gd name="T32" fmla="*/ 325 w 1336"/>
                <a:gd name="T33" fmla="*/ 782 h 783"/>
                <a:gd name="T34" fmla="*/ 391 w 1336"/>
                <a:gd name="T35" fmla="*/ 782 h 783"/>
                <a:gd name="T36" fmla="*/ 462 w 1336"/>
                <a:gd name="T37" fmla="*/ 775 h 783"/>
                <a:gd name="T38" fmla="*/ 536 w 1336"/>
                <a:gd name="T39" fmla="*/ 758 h 783"/>
                <a:gd name="T40" fmla="*/ 614 w 1336"/>
                <a:gd name="T41" fmla="*/ 734 h 783"/>
                <a:gd name="T42" fmla="*/ 693 w 1336"/>
                <a:gd name="T43" fmla="*/ 697 h 783"/>
                <a:gd name="T44" fmla="*/ 733 w 1336"/>
                <a:gd name="T45" fmla="*/ 675 h 783"/>
                <a:gd name="T46" fmla="*/ 774 w 1336"/>
                <a:gd name="T47" fmla="*/ 648 h 783"/>
                <a:gd name="T48" fmla="*/ 815 w 1336"/>
                <a:gd name="T49" fmla="*/ 619 h 783"/>
                <a:gd name="T50" fmla="*/ 857 w 1336"/>
                <a:gd name="T51" fmla="*/ 587 h 783"/>
                <a:gd name="T52" fmla="*/ 880 w 1336"/>
                <a:gd name="T53" fmla="*/ 565 h 783"/>
                <a:gd name="T54" fmla="*/ 929 w 1336"/>
                <a:gd name="T55" fmla="*/ 521 h 783"/>
                <a:gd name="T56" fmla="*/ 997 w 1336"/>
                <a:gd name="T57" fmla="*/ 451 h 783"/>
                <a:gd name="T58" fmla="*/ 1083 w 1336"/>
                <a:gd name="T59" fmla="*/ 353 h 783"/>
                <a:gd name="T60" fmla="*/ 1160 w 1336"/>
                <a:gd name="T61" fmla="*/ 257 h 783"/>
                <a:gd name="T62" fmla="*/ 1225 w 1336"/>
                <a:gd name="T63" fmla="*/ 167 h 783"/>
                <a:gd name="T64" fmla="*/ 1297 w 1336"/>
                <a:gd name="T65" fmla="*/ 61 h 783"/>
                <a:gd name="T66" fmla="*/ 1336 w 1336"/>
                <a:gd name="T67" fmla="*/ 0 h 783"/>
                <a:gd name="T68" fmla="*/ 1316 w 1336"/>
                <a:gd name="T69" fmla="*/ 27 h 783"/>
                <a:gd name="T70" fmla="*/ 1219 w 1336"/>
                <a:gd name="T71" fmla="*/ 144 h 783"/>
                <a:gd name="T72" fmla="*/ 1121 w 1336"/>
                <a:gd name="T73" fmla="*/ 254 h 783"/>
                <a:gd name="T74" fmla="*/ 1007 w 1336"/>
                <a:gd name="T75" fmla="*/ 377 h 783"/>
                <a:gd name="T76" fmla="*/ 915 w 1336"/>
                <a:gd name="T77" fmla="*/ 469 h 783"/>
                <a:gd name="T78" fmla="*/ 851 w 1336"/>
                <a:gd name="T79" fmla="*/ 526 h 783"/>
                <a:gd name="T80" fmla="*/ 788 w 1336"/>
                <a:gd name="T81" fmla="*/ 580 h 783"/>
                <a:gd name="T82" fmla="*/ 724 w 1336"/>
                <a:gd name="T83" fmla="*/ 627 h 783"/>
                <a:gd name="T84" fmla="*/ 664 w 1336"/>
                <a:gd name="T85" fmla="*/ 666 h 783"/>
                <a:gd name="T86" fmla="*/ 606 w 1336"/>
                <a:gd name="T87" fmla="*/ 696 h 783"/>
                <a:gd name="T88" fmla="*/ 578 w 1336"/>
                <a:gd name="T89" fmla="*/ 707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36" h="783">
                  <a:moveTo>
                    <a:pt x="578" y="707"/>
                  </a:moveTo>
                  <a:lnTo>
                    <a:pt x="578" y="707"/>
                  </a:lnTo>
                  <a:lnTo>
                    <a:pt x="554" y="716"/>
                  </a:lnTo>
                  <a:lnTo>
                    <a:pt x="530" y="723"/>
                  </a:lnTo>
                  <a:lnTo>
                    <a:pt x="506" y="729"/>
                  </a:lnTo>
                  <a:lnTo>
                    <a:pt x="484" y="735"/>
                  </a:lnTo>
                  <a:lnTo>
                    <a:pt x="439" y="743"/>
                  </a:lnTo>
                  <a:lnTo>
                    <a:pt x="396" y="750"/>
                  </a:lnTo>
                  <a:lnTo>
                    <a:pt x="354" y="754"/>
                  </a:lnTo>
                  <a:lnTo>
                    <a:pt x="313" y="755"/>
                  </a:lnTo>
                  <a:lnTo>
                    <a:pt x="274" y="755"/>
                  </a:lnTo>
                  <a:lnTo>
                    <a:pt x="238" y="753"/>
                  </a:lnTo>
                  <a:lnTo>
                    <a:pt x="202" y="749"/>
                  </a:lnTo>
                  <a:lnTo>
                    <a:pt x="169" y="742"/>
                  </a:lnTo>
                  <a:lnTo>
                    <a:pt x="137" y="736"/>
                  </a:lnTo>
                  <a:lnTo>
                    <a:pt x="108" y="727"/>
                  </a:lnTo>
                  <a:lnTo>
                    <a:pt x="79" y="719"/>
                  </a:lnTo>
                  <a:lnTo>
                    <a:pt x="53" y="709"/>
                  </a:lnTo>
                  <a:lnTo>
                    <a:pt x="29" y="699"/>
                  </a:lnTo>
                  <a:lnTo>
                    <a:pt x="7" y="689"/>
                  </a:lnTo>
                  <a:lnTo>
                    <a:pt x="0" y="690"/>
                  </a:lnTo>
                  <a:lnTo>
                    <a:pt x="0" y="690"/>
                  </a:lnTo>
                  <a:lnTo>
                    <a:pt x="20" y="700"/>
                  </a:lnTo>
                  <a:lnTo>
                    <a:pt x="42" y="712"/>
                  </a:lnTo>
                  <a:lnTo>
                    <a:pt x="72" y="725"/>
                  </a:lnTo>
                  <a:lnTo>
                    <a:pt x="110" y="740"/>
                  </a:lnTo>
                  <a:lnTo>
                    <a:pt x="131" y="748"/>
                  </a:lnTo>
                  <a:lnTo>
                    <a:pt x="155" y="754"/>
                  </a:lnTo>
                  <a:lnTo>
                    <a:pt x="180" y="762"/>
                  </a:lnTo>
                  <a:lnTo>
                    <a:pt x="207" y="767"/>
                  </a:lnTo>
                  <a:lnTo>
                    <a:pt x="233" y="772"/>
                  </a:lnTo>
                  <a:lnTo>
                    <a:pt x="263" y="777"/>
                  </a:lnTo>
                  <a:lnTo>
                    <a:pt x="294" y="780"/>
                  </a:lnTo>
                  <a:lnTo>
                    <a:pt x="325" y="782"/>
                  </a:lnTo>
                  <a:lnTo>
                    <a:pt x="358" y="783"/>
                  </a:lnTo>
                  <a:lnTo>
                    <a:pt x="391" y="782"/>
                  </a:lnTo>
                  <a:lnTo>
                    <a:pt x="427" y="779"/>
                  </a:lnTo>
                  <a:lnTo>
                    <a:pt x="462" y="775"/>
                  </a:lnTo>
                  <a:lnTo>
                    <a:pt x="499" y="767"/>
                  </a:lnTo>
                  <a:lnTo>
                    <a:pt x="536" y="758"/>
                  </a:lnTo>
                  <a:lnTo>
                    <a:pt x="575" y="748"/>
                  </a:lnTo>
                  <a:lnTo>
                    <a:pt x="614" y="734"/>
                  </a:lnTo>
                  <a:lnTo>
                    <a:pt x="654" y="717"/>
                  </a:lnTo>
                  <a:lnTo>
                    <a:pt x="693" y="697"/>
                  </a:lnTo>
                  <a:lnTo>
                    <a:pt x="713" y="686"/>
                  </a:lnTo>
                  <a:lnTo>
                    <a:pt x="733" y="675"/>
                  </a:lnTo>
                  <a:lnTo>
                    <a:pt x="754" y="662"/>
                  </a:lnTo>
                  <a:lnTo>
                    <a:pt x="774" y="648"/>
                  </a:lnTo>
                  <a:lnTo>
                    <a:pt x="794" y="634"/>
                  </a:lnTo>
                  <a:lnTo>
                    <a:pt x="815" y="619"/>
                  </a:lnTo>
                  <a:lnTo>
                    <a:pt x="836" y="603"/>
                  </a:lnTo>
                  <a:lnTo>
                    <a:pt x="857" y="587"/>
                  </a:lnTo>
                  <a:lnTo>
                    <a:pt x="857" y="587"/>
                  </a:lnTo>
                  <a:lnTo>
                    <a:pt x="880" y="565"/>
                  </a:lnTo>
                  <a:lnTo>
                    <a:pt x="905" y="544"/>
                  </a:lnTo>
                  <a:lnTo>
                    <a:pt x="929" y="521"/>
                  </a:lnTo>
                  <a:lnTo>
                    <a:pt x="952" y="498"/>
                  </a:lnTo>
                  <a:lnTo>
                    <a:pt x="997" y="451"/>
                  </a:lnTo>
                  <a:lnTo>
                    <a:pt x="1042" y="403"/>
                  </a:lnTo>
                  <a:lnTo>
                    <a:pt x="1083" y="353"/>
                  </a:lnTo>
                  <a:lnTo>
                    <a:pt x="1122" y="305"/>
                  </a:lnTo>
                  <a:lnTo>
                    <a:pt x="1160" y="257"/>
                  </a:lnTo>
                  <a:lnTo>
                    <a:pt x="1194" y="212"/>
                  </a:lnTo>
                  <a:lnTo>
                    <a:pt x="1225" y="167"/>
                  </a:lnTo>
                  <a:lnTo>
                    <a:pt x="1253" y="128"/>
                  </a:lnTo>
                  <a:lnTo>
                    <a:pt x="1297" y="61"/>
                  </a:lnTo>
                  <a:lnTo>
                    <a:pt x="1326" y="16"/>
                  </a:lnTo>
                  <a:lnTo>
                    <a:pt x="1336" y="0"/>
                  </a:lnTo>
                  <a:lnTo>
                    <a:pt x="1336" y="0"/>
                  </a:lnTo>
                  <a:lnTo>
                    <a:pt x="1316" y="27"/>
                  </a:lnTo>
                  <a:lnTo>
                    <a:pt x="1259" y="97"/>
                  </a:lnTo>
                  <a:lnTo>
                    <a:pt x="1219" y="144"/>
                  </a:lnTo>
                  <a:lnTo>
                    <a:pt x="1173" y="198"/>
                  </a:lnTo>
                  <a:lnTo>
                    <a:pt x="1121" y="254"/>
                  </a:lnTo>
                  <a:lnTo>
                    <a:pt x="1066" y="316"/>
                  </a:lnTo>
                  <a:lnTo>
                    <a:pt x="1007" y="377"/>
                  </a:lnTo>
                  <a:lnTo>
                    <a:pt x="946" y="439"/>
                  </a:lnTo>
                  <a:lnTo>
                    <a:pt x="915" y="469"/>
                  </a:lnTo>
                  <a:lnTo>
                    <a:pt x="882" y="498"/>
                  </a:lnTo>
                  <a:lnTo>
                    <a:pt x="851" y="526"/>
                  </a:lnTo>
                  <a:lnTo>
                    <a:pt x="819" y="554"/>
                  </a:lnTo>
                  <a:lnTo>
                    <a:pt x="788" y="580"/>
                  </a:lnTo>
                  <a:lnTo>
                    <a:pt x="756" y="605"/>
                  </a:lnTo>
                  <a:lnTo>
                    <a:pt x="724" y="627"/>
                  </a:lnTo>
                  <a:lnTo>
                    <a:pt x="694" y="648"/>
                  </a:lnTo>
                  <a:lnTo>
                    <a:pt x="664" y="666"/>
                  </a:lnTo>
                  <a:lnTo>
                    <a:pt x="634" y="682"/>
                  </a:lnTo>
                  <a:lnTo>
                    <a:pt x="606" y="696"/>
                  </a:lnTo>
                  <a:lnTo>
                    <a:pt x="578" y="707"/>
                  </a:lnTo>
                  <a:lnTo>
                    <a:pt x="578" y="707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 rot="5753749" flipH="1">
              <a:off x="1670250" y="2976547"/>
              <a:ext cx="795579" cy="702209"/>
            </a:xfrm>
            <a:custGeom>
              <a:avLst/>
              <a:gdLst>
                <a:gd name="T0" fmla="*/ 506 w 1031"/>
                <a:gd name="T1" fmla="*/ 745 h 910"/>
                <a:gd name="T2" fmla="*/ 467 w 1031"/>
                <a:gd name="T3" fmla="*/ 778 h 910"/>
                <a:gd name="T4" fmla="*/ 427 w 1031"/>
                <a:gd name="T5" fmla="*/ 805 h 910"/>
                <a:gd name="T6" fmla="*/ 385 w 1031"/>
                <a:gd name="T7" fmla="*/ 828 h 910"/>
                <a:gd name="T8" fmla="*/ 343 w 1031"/>
                <a:gd name="T9" fmla="*/ 846 h 910"/>
                <a:gd name="T10" fmla="*/ 300 w 1031"/>
                <a:gd name="T11" fmla="*/ 863 h 910"/>
                <a:gd name="T12" fmla="*/ 258 w 1031"/>
                <a:gd name="T13" fmla="*/ 874 h 910"/>
                <a:gd name="T14" fmla="*/ 178 w 1031"/>
                <a:gd name="T15" fmla="*/ 890 h 910"/>
                <a:gd name="T16" fmla="*/ 107 w 1031"/>
                <a:gd name="T17" fmla="*/ 898 h 910"/>
                <a:gd name="T18" fmla="*/ 52 w 1031"/>
                <a:gd name="T19" fmla="*/ 899 h 910"/>
                <a:gd name="T20" fmla="*/ 0 w 1031"/>
                <a:gd name="T21" fmla="*/ 897 h 910"/>
                <a:gd name="T22" fmla="*/ 3 w 1031"/>
                <a:gd name="T23" fmla="*/ 899 h 910"/>
                <a:gd name="T24" fmla="*/ 44 w 1031"/>
                <a:gd name="T25" fmla="*/ 904 h 910"/>
                <a:gd name="T26" fmla="*/ 123 w 1031"/>
                <a:gd name="T27" fmla="*/ 910 h 910"/>
                <a:gd name="T28" fmla="*/ 197 w 1031"/>
                <a:gd name="T29" fmla="*/ 907 h 910"/>
                <a:gd name="T30" fmla="*/ 268 w 1031"/>
                <a:gd name="T31" fmla="*/ 897 h 910"/>
                <a:gd name="T32" fmla="*/ 334 w 1031"/>
                <a:gd name="T33" fmla="*/ 881 h 910"/>
                <a:gd name="T34" fmla="*/ 398 w 1031"/>
                <a:gd name="T35" fmla="*/ 858 h 910"/>
                <a:gd name="T36" fmla="*/ 457 w 1031"/>
                <a:gd name="T37" fmla="*/ 830 h 910"/>
                <a:gd name="T38" fmla="*/ 512 w 1031"/>
                <a:gd name="T39" fmla="*/ 799 h 910"/>
                <a:gd name="T40" fmla="*/ 563 w 1031"/>
                <a:gd name="T41" fmla="*/ 763 h 910"/>
                <a:gd name="T42" fmla="*/ 611 w 1031"/>
                <a:gd name="T43" fmla="*/ 724 h 910"/>
                <a:gd name="T44" fmla="*/ 657 w 1031"/>
                <a:gd name="T45" fmla="*/ 683 h 910"/>
                <a:gd name="T46" fmla="*/ 697 w 1031"/>
                <a:gd name="T47" fmla="*/ 641 h 910"/>
                <a:gd name="T48" fmla="*/ 734 w 1031"/>
                <a:gd name="T49" fmla="*/ 597 h 910"/>
                <a:gd name="T50" fmla="*/ 768 w 1031"/>
                <a:gd name="T51" fmla="*/ 553 h 910"/>
                <a:gd name="T52" fmla="*/ 812 w 1031"/>
                <a:gd name="T53" fmla="*/ 489 h 910"/>
                <a:gd name="T54" fmla="*/ 838 w 1031"/>
                <a:gd name="T55" fmla="*/ 448 h 910"/>
                <a:gd name="T56" fmla="*/ 888 w 1031"/>
                <a:gd name="T57" fmla="*/ 360 h 910"/>
                <a:gd name="T58" fmla="*/ 929 w 1031"/>
                <a:gd name="T59" fmla="*/ 281 h 910"/>
                <a:gd name="T60" fmla="*/ 988 w 1031"/>
                <a:gd name="T61" fmla="*/ 154 h 910"/>
                <a:gd name="T62" fmla="*/ 1020 w 1031"/>
                <a:gd name="T63" fmla="*/ 74 h 910"/>
                <a:gd name="T64" fmla="*/ 994 w 1031"/>
                <a:gd name="T65" fmla="*/ 0 h 910"/>
                <a:gd name="T66" fmla="*/ 984 w 1031"/>
                <a:gd name="T67" fmla="*/ 21 h 910"/>
                <a:gd name="T68" fmla="*/ 938 w 1031"/>
                <a:gd name="T69" fmla="*/ 119 h 910"/>
                <a:gd name="T70" fmla="*/ 888 w 1031"/>
                <a:gd name="T71" fmla="*/ 217 h 910"/>
                <a:gd name="T72" fmla="*/ 823 w 1031"/>
                <a:gd name="T73" fmla="*/ 331 h 910"/>
                <a:gd name="T74" fmla="*/ 746 w 1031"/>
                <a:gd name="T75" fmla="*/ 454 h 910"/>
                <a:gd name="T76" fmla="*/ 703 w 1031"/>
                <a:gd name="T77" fmla="*/ 515 h 910"/>
                <a:gd name="T78" fmla="*/ 658 w 1031"/>
                <a:gd name="T79" fmla="*/ 577 h 910"/>
                <a:gd name="T80" fmla="*/ 609 w 1031"/>
                <a:gd name="T81" fmla="*/ 636 h 910"/>
                <a:gd name="T82" fmla="*/ 559 w 1031"/>
                <a:gd name="T83" fmla="*/ 693 h 910"/>
                <a:gd name="T84" fmla="*/ 506 w 1031"/>
                <a:gd name="T85" fmla="*/ 74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31" h="910">
                  <a:moveTo>
                    <a:pt x="506" y="745"/>
                  </a:moveTo>
                  <a:lnTo>
                    <a:pt x="506" y="745"/>
                  </a:lnTo>
                  <a:lnTo>
                    <a:pt x="487" y="762"/>
                  </a:lnTo>
                  <a:lnTo>
                    <a:pt x="467" y="778"/>
                  </a:lnTo>
                  <a:lnTo>
                    <a:pt x="447" y="792"/>
                  </a:lnTo>
                  <a:lnTo>
                    <a:pt x="427" y="805"/>
                  </a:lnTo>
                  <a:lnTo>
                    <a:pt x="406" y="816"/>
                  </a:lnTo>
                  <a:lnTo>
                    <a:pt x="385" y="828"/>
                  </a:lnTo>
                  <a:lnTo>
                    <a:pt x="364" y="838"/>
                  </a:lnTo>
                  <a:lnTo>
                    <a:pt x="343" y="846"/>
                  </a:lnTo>
                  <a:lnTo>
                    <a:pt x="321" y="855"/>
                  </a:lnTo>
                  <a:lnTo>
                    <a:pt x="300" y="863"/>
                  </a:lnTo>
                  <a:lnTo>
                    <a:pt x="279" y="869"/>
                  </a:lnTo>
                  <a:lnTo>
                    <a:pt x="258" y="874"/>
                  </a:lnTo>
                  <a:lnTo>
                    <a:pt x="217" y="884"/>
                  </a:lnTo>
                  <a:lnTo>
                    <a:pt x="178" y="890"/>
                  </a:lnTo>
                  <a:lnTo>
                    <a:pt x="142" y="895"/>
                  </a:lnTo>
                  <a:lnTo>
                    <a:pt x="107" y="898"/>
                  </a:lnTo>
                  <a:lnTo>
                    <a:pt x="77" y="899"/>
                  </a:lnTo>
                  <a:lnTo>
                    <a:pt x="52" y="899"/>
                  </a:lnTo>
                  <a:lnTo>
                    <a:pt x="14" y="898"/>
                  </a:lnTo>
                  <a:lnTo>
                    <a:pt x="0" y="897"/>
                  </a:lnTo>
                  <a:lnTo>
                    <a:pt x="0" y="897"/>
                  </a:lnTo>
                  <a:lnTo>
                    <a:pt x="3" y="899"/>
                  </a:lnTo>
                  <a:lnTo>
                    <a:pt x="3" y="899"/>
                  </a:lnTo>
                  <a:lnTo>
                    <a:pt x="44" y="904"/>
                  </a:lnTo>
                  <a:lnTo>
                    <a:pt x="84" y="908"/>
                  </a:lnTo>
                  <a:lnTo>
                    <a:pt x="123" y="910"/>
                  </a:lnTo>
                  <a:lnTo>
                    <a:pt x="160" y="909"/>
                  </a:lnTo>
                  <a:lnTo>
                    <a:pt x="197" y="907"/>
                  </a:lnTo>
                  <a:lnTo>
                    <a:pt x="232" y="902"/>
                  </a:lnTo>
                  <a:lnTo>
                    <a:pt x="268" y="897"/>
                  </a:lnTo>
                  <a:lnTo>
                    <a:pt x="301" y="889"/>
                  </a:lnTo>
                  <a:lnTo>
                    <a:pt x="334" y="881"/>
                  </a:lnTo>
                  <a:lnTo>
                    <a:pt x="366" y="870"/>
                  </a:lnTo>
                  <a:lnTo>
                    <a:pt x="398" y="858"/>
                  </a:lnTo>
                  <a:lnTo>
                    <a:pt x="428" y="845"/>
                  </a:lnTo>
                  <a:lnTo>
                    <a:pt x="457" y="830"/>
                  </a:lnTo>
                  <a:lnTo>
                    <a:pt x="485" y="815"/>
                  </a:lnTo>
                  <a:lnTo>
                    <a:pt x="512" y="799"/>
                  </a:lnTo>
                  <a:lnTo>
                    <a:pt x="538" y="781"/>
                  </a:lnTo>
                  <a:lnTo>
                    <a:pt x="563" y="763"/>
                  </a:lnTo>
                  <a:lnTo>
                    <a:pt x="588" y="744"/>
                  </a:lnTo>
                  <a:lnTo>
                    <a:pt x="611" y="724"/>
                  </a:lnTo>
                  <a:lnTo>
                    <a:pt x="634" y="705"/>
                  </a:lnTo>
                  <a:lnTo>
                    <a:pt x="657" y="683"/>
                  </a:lnTo>
                  <a:lnTo>
                    <a:pt x="677" y="663"/>
                  </a:lnTo>
                  <a:lnTo>
                    <a:pt x="697" y="641"/>
                  </a:lnTo>
                  <a:lnTo>
                    <a:pt x="716" y="619"/>
                  </a:lnTo>
                  <a:lnTo>
                    <a:pt x="734" y="597"/>
                  </a:lnTo>
                  <a:lnTo>
                    <a:pt x="752" y="576"/>
                  </a:lnTo>
                  <a:lnTo>
                    <a:pt x="768" y="553"/>
                  </a:lnTo>
                  <a:lnTo>
                    <a:pt x="785" y="532"/>
                  </a:lnTo>
                  <a:lnTo>
                    <a:pt x="812" y="489"/>
                  </a:lnTo>
                  <a:lnTo>
                    <a:pt x="838" y="448"/>
                  </a:lnTo>
                  <a:lnTo>
                    <a:pt x="838" y="448"/>
                  </a:lnTo>
                  <a:lnTo>
                    <a:pt x="864" y="403"/>
                  </a:lnTo>
                  <a:lnTo>
                    <a:pt x="888" y="360"/>
                  </a:lnTo>
                  <a:lnTo>
                    <a:pt x="909" y="319"/>
                  </a:lnTo>
                  <a:lnTo>
                    <a:pt x="929" y="281"/>
                  </a:lnTo>
                  <a:lnTo>
                    <a:pt x="962" y="212"/>
                  </a:lnTo>
                  <a:lnTo>
                    <a:pt x="988" y="154"/>
                  </a:lnTo>
                  <a:lnTo>
                    <a:pt x="1007" y="108"/>
                  </a:lnTo>
                  <a:lnTo>
                    <a:pt x="1020" y="74"/>
                  </a:lnTo>
                  <a:lnTo>
                    <a:pt x="1031" y="46"/>
                  </a:lnTo>
                  <a:lnTo>
                    <a:pt x="994" y="0"/>
                  </a:lnTo>
                  <a:lnTo>
                    <a:pt x="994" y="0"/>
                  </a:lnTo>
                  <a:lnTo>
                    <a:pt x="984" y="21"/>
                  </a:lnTo>
                  <a:lnTo>
                    <a:pt x="958" y="78"/>
                  </a:lnTo>
                  <a:lnTo>
                    <a:pt x="938" y="119"/>
                  </a:lnTo>
                  <a:lnTo>
                    <a:pt x="915" y="165"/>
                  </a:lnTo>
                  <a:lnTo>
                    <a:pt x="888" y="217"/>
                  </a:lnTo>
                  <a:lnTo>
                    <a:pt x="858" y="273"/>
                  </a:lnTo>
                  <a:lnTo>
                    <a:pt x="823" y="331"/>
                  </a:lnTo>
                  <a:lnTo>
                    <a:pt x="787" y="392"/>
                  </a:lnTo>
                  <a:lnTo>
                    <a:pt x="746" y="454"/>
                  </a:lnTo>
                  <a:lnTo>
                    <a:pt x="725" y="484"/>
                  </a:lnTo>
                  <a:lnTo>
                    <a:pt x="703" y="515"/>
                  </a:lnTo>
                  <a:lnTo>
                    <a:pt x="680" y="547"/>
                  </a:lnTo>
                  <a:lnTo>
                    <a:pt x="658" y="577"/>
                  </a:lnTo>
                  <a:lnTo>
                    <a:pt x="634" y="607"/>
                  </a:lnTo>
                  <a:lnTo>
                    <a:pt x="609" y="636"/>
                  </a:lnTo>
                  <a:lnTo>
                    <a:pt x="585" y="665"/>
                  </a:lnTo>
                  <a:lnTo>
                    <a:pt x="559" y="693"/>
                  </a:lnTo>
                  <a:lnTo>
                    <a:pt x="533" y="720"/>
                  </a:lnTo>
                  <a:lnTo>
                    <a:pt x="506" y="745"/>
                  </a:lnTo>
                  <a:lnTo>
                    <a:pt x="506" y="745"/>
                  </a:lnTo>
                  <a:close/>
                </a:path>
              </a:pathLst>
            </a:custGeom>
            <a:gradFill flip="none" rotWithShape="1">
              <a:gsLst>
                <a:gs pos="74000">
                  <a:schemeClr val="tx1">
                    <a:lumMod val="75000"/>
                    <a:lumOff val="25000"/>
                  </a:schemeClr>
                </a:gs>
                <a:gs pos="0">
                  <a:schemeClr val="bg1">
                    <a:lumMod val="85000"/>
                  </a:schemeClr>
                </a:gs>
                <a:gs pos="27000">
                  <a:schemeClr val="bg1">
                    <a:lumMod val="65000"/>
                  </a:schemeClr>
                </a:gs>
              </a:gsLst>
              <a:lin ang="78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4" name="Freeform 13"/>
          <p:cNvSpPr/>
          <p:nvPr/>
        </p:nvSpPr>
        <p:spPr>
          <a:xfrm>
            <a:off x="5197216" y="2768373"/>
            <a:ext cx="2572914" cy="41887"/>
          </a:xfrm>
          <a:custGeom>
            <a:avLst/>
            <a:gdLst>
              <a:gd name="connsiteX0" fmla="*/ 0 w 1596572"/>
              <a:gd name="connsiteY0" fmla="*/ 522515 h 522515"/>
              <a:gd name="connsiteX1" fmla="*/ 1190172 w 1596572"/>
              <a:gd name="connsiteY1" fmla="*/ 522515 h 522515"/>
              <a:gd name="connsiteX2" fmla="*/ 1190172 w 1596572"/>
              <a:gd name="connsiteY2" fmla="*/ 0 h 522515"/>
              <a:gd name="connsiteX3" fmla="*/ 1596572 w 1596572"/>
              <a:gd name="connsiteY3" fmla="*/ 0 h 522515"/>
              <a:gd name="connsiteX0" fmla="*/ 0 w 1190172"/>
              <a:gd name="connsiteY0" fmla="*/ 522515 h 522515"/>
              <a:gd name="connsiteX1" fmla="*/ 1190172 w 1190172"/>
              <a:gd name="connsiteY1" fmla="*/ 522515 h 522515"/>
              <a:gd name="connsiteX2" fmla="*/ 1190172 w 1190172"/>
              <a:gd name="connsiteY2" fmla="*/ 0 h 522515"/>
              <a:gd name="connsiteX0" fmla="*/ 0 w 1190172"/>
              <a:gd name="connsiteY0" fmla="*/ 0 h 0"/>
              <a:gd name="connsiteX1" fmla="*/ 1190172 w 119017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0172">
                <a:moveTo>
                  <a:pt x="0" y="0"/>
                </a:moveTo>
                <a:lnTo>
                  <a:pt x="1190172" y="0"/>
                </a:lnTo>
              </a:path>
            </a:pathLst>
          </a:custGeom>
          <a:noFill/>
          <a:ln w="19050" cap="rnd">
            <a:solidFill>
              <a:srgbClr val="4272A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" name="Rektangel 63"/>
          <p:cNvSpPr>
            <a:spLocks noChangeArrowheads="1"/>
          </p:cNvSpPr>
          <p:nvPr/>
        </p:nvSpPr>
        <p:spPr bwMode="auto">
          <a:xfrm>
            <a:off x="5705616" y="1405865"/>
            <a:ext cx="1602630" cy="13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defTabSz="801688">
              <a:spcBef>
                <a:spcPct val="20000"/>
              </a:spcBef>
            </a:pPr>
            <a:r>
              <a:rPr lang="id-ID" sz="1600" b="1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Assess</a:t>
            </a:r>
            <a:endParaRPr lang="id-ID" sz="1600" b="1" noProof="1">
              <a:solidFill>
                <a:srgbClr val="4272AC"/>
              </a:solidFill>
              <a:latin typeface="Calibri" pitchFamily="-65" charset="0"/>
              <a:cs typeface="Arial" charset="0"/>
            </a:endParaRP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en-US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Context</a:t>
            </a:r>
            <a:endParaRPr lang="id-ID" sz="1400" noProof="1" smtClean="0">
              <a:solidFill>
                <a:srgbClr val="4272AC"/>
              </a:solidFill>
              <a:latin typeface="Calibri" pitchFamily="-65" charset="0"/>
              <a:cs typeface="Arial" charset="0"/>
            </a:endParaRP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Budget</a:t>
            </a: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Projects</a:t>
            </a: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Staff</a:t>
            </a:r>
            <a:endParaRPr lang="id-ID" sz="1400" noProof="1">
              <a:solidFill>
                <a:srgbClr val="4272AC"/>
              </a:solidFill>
              <a:latin typeface="Calibri" pitchFamily="-65" charset="0"/>
              <a:cs typeface="Arial" charset="0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6186798" y="5576753"/>
            <a:ext cx="2238339" cy="41887"/>
          </a:xfrm>
          <a:custGeom>
            <a:avLst/>
            <a:gdLst>
              <a:gd name="connsiteX0" fmla="*/ 0 w 1596572"/>
              <a:gd name="connsiteY0" fmla="*/ 522515 h 522515"/>
              <a:gd name="connsiteX1" fmla="*/ 1190172 w 1596572"/>
              <a:gd name="connsiteY1" fmla="*/ 522515 h 522515"/>
              <a:gd name="connsiteX2" fmla="*/ 1190172 w 1596572"/>
              <a:gd name="connsiteY2" fmla="*/ 0 h 522515"/>
              <a:gd name="connsiteX3" fmla="*/ 1596572 w 1596572"/>
              <a:gd name="connsiteY3" fmla="*/ 0 h 522515"/>
              <a:gd name="connsiteX0" fmla="*/ 0 w 1190172"/>
              <a:gd name="connsiteY0" fmla="*/ 522515 h 522515"/>
              <a:gd name="connsiteX1" fmla="*/ 1190172 w 1190172"/>
              <a:gd name="connsiteY1" fmla="*/ 522515 h 522515"/>
              <a:gd name="connsiteX2" fmla="*/ 1190172 w 1190172"/>
              <a:gd name="connsiteY2" fmla="*/ 0 h 522515"/>
              <a:gd name="connsiteX0" fmla="*/ 0 w 1190172"/>
              <a:gd name="connsiteY0" fmla="*/ 0 h 0"/>
              <a:gd name="connsiteX1" fmla="*/ 1190172 w 119017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0172">
                <a:moveTo>
                  <a:pt x="0" y="0"/>
                </a:moveTo>
                <a:lnTo>
                  <a:pt x="1190172" y="0"/>
                </a:lnTo>
              </a:path>
            </a:pathLst>
          </a:custGeom>
          <a:noFill/>
          <a:ln w="19050" cap="rnd">
            <a:solidFill>
              <a:srgbClr val="4272A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Rektangel 63"/>
          <p:cNvSpPr>
            <a:spLocks noChangeArrowheads="1"/>
          </p:cNvSpPr>
          <p:nvPr/>
        </p:nvSpPr>
        <p:spPr bwMode="auto">
          <a:xfrm>
            <a:off x="6334279" y="3924276"/>
            <a:ext cx="2090857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defTabSz="801688">
              <a:spcBef>
                <a:spcPct val="20000"/>
              </a:spcBef>
            </a:pPr>
            <a:r>
              <a:rPr lang="id-ID" sz="1600" b="1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Plan</a:t>
            </a:r>
            <a:endParaRPr lang="id-ID" sz="1600" b="1" noProof="1">
              <a:solidFill>
                <a:srgbClr val="4272AC"/>
              </a:solidFill>
              <a:latin typeface="Calibri" pitchFamily="-65" charset="0"/>
              <a:cs typeface="Arial" charset="0"/>
            </a:endParaRP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Urgent (90 days)</a:t>
            </a:r>
          </a:p>
          <a:p>
            <a:pPr marL="171450" indent="-171450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Need Attention Soon (120 days)</a:t>
            </a: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Long term (1 yr)</a:t>
            </a: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Horizon (1-5 yrs)</a:t>
            </a: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endParaRPr lang="id-ID" sz="1400" noProof="1">
              <a:solidFill>
                <a:srgbClr val="4272AC"/>
              </a:solidFill>
              <a:latin typeface="Calibri" pitchFamily="-65" charset="0"/>
              <a:cs typeface="Arial" charset="0"/>
            </a:endParaRPr>
          </a:p>
        </p:txBody>
      </p:sp>
      <p:sp>
        <p:nvSpPr>
          <p:cNvPr id="18" name="Rektangel 63"/>
          <p:cNvSpPr>
            <a:spLocks noChangeArrowheads="1"/>
          </p:cNvSpPr>
          <p:nvPr/>
        </p:nvSpPr>
        <p:spPr bwMode="auto">
          <a:xfrm>
            <a:off x="1096210" y="3360185"/>
            <a:ext cx="1457157" cy="193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defTabSz="801688">
              <a:spcBef>
                <a:spcPct val="20000"/>
              </a:spcBef>
            </a:pPr>
            <a:r>
              <a:rPr lang="id-ID" sz="1600" b="1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Deliver</a:t>
            </a:r>
            <a:endParaRPr lang="id-ID" sz="1600" b="1" noProof="1">
              <a:solidFill>
                <a:srgbClr val="4272AC"/>
              </a:solidFill>
              <a:latin typeface="Calibri" pitchFamily="-65" charset="0"/>
              <a:cs typeface="Arial" charset="0"/>
            </a:endParaRPr>
          </a:p>
          <a:p>
            <a:pPr marL="171450" indent="-171450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Start with biggest pain point and provide solution that is good enough</a:t>
            </a:r>
          </a:p>
          <a:p>
            <a:pPr marL="171450" indent="-171450" algn="just" defTabSz="801688">
              <a:spcBef>
                <a:spcPct val="20000"/>
              </a:spcBef>
              <a:buFont typeface="Arial"/>
              <a:buChar char="•"/>
            </a:pPr>
            <a:r>
              <a:rPr lang="id-ID" sz="1400" noProof="1" smtClean="0">
                <a:solidFill>
                  <a:srgbClr val="4272AC"/>
                </a:solidFill>
                <a:latin typeface="Calibri" pitchFamily="-65" charset="0"/>
                <a:cs typeface="Arial" charset="0"/>
              </a:rPr>
              <a:t>Tell story</a:t>
            </a:r>
          </a:p>
        </p:txBody>
      </p:sp>
      <p:sp>
        <p:nvSpPr>
          <p:cNvPr id="19" name="Freeform 18"/>
          <p:cNvSpPr/>
          <p:nvPr/>
        </p:nvSpPr>
        <p:spPr>
          <a:xfrm>
            <a:off x="718864" y="5487505"/>
            <a:ext cx="2238339" cy="41887"/>
          </a:xfrm>
          <a:custGeom>
            <a:avLst/>
            <a:gdLst>
              <a:gd name="connsiteX0" fmla="*/ 0 w 1596572"/>
              <a:gd name="connsiteY0" fmla="*/ 522515 h 522515"/>
              <a:gd name="connsiteX1" fmla="*/ 1190172 w 1596572"/>
              <a:gd name="connsiteY1" fmla="*/ 522515 h 522515"/>
              <a:gd name="connsiteX2" fmla="*/ 1190172 w 1596572"/>
              <a:gd name="connsiteY2" fmla="*/ 0 h 522515"/>
              <a:gd name="connsiteX3" fmla="*/ 1596572 w 1596572"/>
              <a:gd name="connsiteY3" fmla="*/ 0 h 522515"/>
              <a:gd name="connsiteX0" fmla="*/ 0 w 1190172"/>
              <a:gd name="connsiteY0" fmla="*/ 522515 h 522515"/>
              <a:gd name="connsiteX1" fmla="*/ 1190172 w 1190172"/>
              <a:gd name="connsiteY1" fmla="*/ 522515 h 522515"/>
              <a:gd name="connsiteX2" fmla="*/ 1190172 w 1190172"/>
              <a:gd name="connsiteY2" fmla="*/ 0 h 522515"/>
              <a:gd name="connsiteX0" fmla="*/ 0 w 1190172"/>
              <a:gd name="connsiteY0" fmla="*/ 0 h 0"/>
              <a:gd name="connsiteX1" fmla="*/ 1190172 w 119017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0172">
                <a:moveTo>
                  <a:pt x="0" y="0"/>
                </a:moveTo>
                <a:lnTo>
                  <a:pt x="1190172" y="0"/>
                </a:lnTo>
              </a:path>
            </a:pathLst>
          </a:custGeom>
          <a:noFill/>
          <a:ln w="19050" cap="rnd">
            <a:solidFill>
              <a:srgbClr val="4272A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TextBox 3"/>
          <p:cNvSpPr txBox="1"/>
          <p:nvPr/>
        </p:nvSpPr>
        <p:spPr>
          <a:xfrm>
            <a:off x="588211" y="178799"/>
            <a:ext cx="8127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/>
              <a:t>A Model for Agile Strategic Planning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33597851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4535" y="914139"/>
            <a:ext cx="3492883" cy="952354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endParaRPr lang="en-US" dirty="0"/>
          </a:p>
        </p:txBody>
      </p:sp>
      <p:grpSp>
        <p:nvGrpSpPr>
          <p:cNvPr id="17" name="Group 13"/>
          <p:cNvGrpSpPr>
            <a:grpSpLocks/>
          </p:cNvGrpSpPr>
          <p:nvPr/>
        </p:nvGrpSpPr>
        <p:grpSpPr bwMode="auto">
          <a:xfrm>
            <a:off x="647502" y="2994140"/>
            <a:ext cx="7278187" cy="2620147"/>
            <a:chOff x="609600" y="3886200"/>
            <a:chExt cx="7620000" cy="2743200"/>
          </a:xfrm>
        </p:grpSpPr>
        <p:grpSp>
          <p:nvGrpSpPr>
            <p:cNvPr id="18" name="Group 12"/>
            <p:cNvGrpSpPr>
              <a:grpSpLocks/>
            </p:cNvGrpSpPr>
            <p:nvPr/>
          </p:nvGrpSpPr>
          <p:grpSpPr bwMode="auto">
            <a:xfrm flipH="1">
              <a:off x="609600" y="6019800"/>
              <a:ext cx="7620000" cy="609600"/>
              <a:chOff x="1371600" y="5943600"/>
              <a:chExt cx="7289279" cy="609600"/>
            </a:xfrm>
          </p:grpSpPr>
          <p:sp>
            <p:nvSpPr>
              <p:cNvPr id="20" name="Oval 19"/>
              <p:cNvSpPr>
                <a:spLocks noChangeArrowheads="1"/>
              </p:cNvSpPr>
              <p:nvPr/>
            </p:nvSpPr>
            <p:spPr bwMode="auto">
              <a:xfrm>
                <a:off x="1371600" y="6019800"/>
                <a:ext cx="2259676" cy="519793"/>
              </a:xfrm>
              <a:prstGeom prst="ellipse">
                <a:avLst/>
              </a:prstGeom>
              <a:gradFill rotWithShape="1">
                <a:gsLst>
                  <a:gs pos="0">
                    <a:srgbClr val="0D0D0D">
                      <a:alpha val="25000"/>
                    </a:srgbClr>
                  </a:gs>
                  <a:gs pos="100000">
                    <a:srgbClr val="9BC1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21" name="Oval 20"/>
              <p:cNvSpPr>
                <a:spLocks noChangeArrowheads="1"/>
              </p:cNvSpPr>
              <p:nvPr/>
            </p:nvSpPr>
            <p:spPr bwMode="auto">
              <a:xfrm>
                <a:off x="3200428" y="6033407"/>
                <a:ext cx="2259676" cy="519793"/>
              </a:xfrm>
              <a:prstGeom prst="ellipse">
                <a:avLst/>
              </a:prstGeom>
              <a:gradFill rotWithShape="1">
                <a:gsLst>
                  <a:gs pos="0">
                    <a:srgbClr val="0D0D0D">
                      <a:alpha val="25000"/>
                    </a:srgbClr>
                  </a:gs>
                  <a:gs pos="100000">
                    <a:srgbClr val="9BC1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22" name="Oval 21"/>
              <p:cNvSpPr>
                <a:spLocks noChangeArrowheads="1"/>
              </p:cNvSpPr>
              <p:nvPr/>
            </p:nvSpPr>
            <p:spPr bwMode="auto">
              <a:xfrm>
                <a:off x="4952458" y="5957207"/>
                <a:ext cx="2260979" cy="519793"/>
              </a:xfrm>
              <a:prstGeom prst="ellipse">
                <a:avLst/>
              </a:prstGeom>
              <a:gradFill rotWithShape="1">
                <a:gsLst>
                  <a:gs pos="0">
                    <a:srgbClr val="0D0D0D">
                      <a:alpha val="25000"/>
                    </a:srgbClr>
                  </a:gs>
                  <a:gs pos="100000">
                    <a:srgbClr val="9BC1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33" name="Oval 32"/>
              <p:cNvSpPr>
                <a:spLocks noChangeArrowheads="1"/>
              </p:cNvSpPr>
              <p:nvPr/>
            </p:nvSpPr>
            <p:spPr bwMode="auto">
              <a:xfrm>
                <a:off x="6401203" y="5943600"/>
                <a:ext cx="2259676" cy="519793"/>
              </a:xfrm>
              <a:prstGeom prst="ellipse">
                <a:avLst/>
              </a:prstGeom>
              <a:gradFill rotWithShape="1">
                <a:gsLst>
                  <a:gs pos="0">
                    <a:srgbClr val="0D0D0D">
                      <a:alpha val="25000"/>
                    </a:srgbClr>
                  </a:gs>
                  <a:gs pos="100000">
                    <a:srgbClr val="9BC1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noFill/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endParaRPr lang="nb-NO">
                  <a:solidFill>
                    <a:srgbClr val="FFFFFF"/>
                  </a:solidFill>
                  <a:latin typeface="Calibri" charset="0"/>
                </a:endParaRPr>
              </a:p>
            </p:txBody>
          </p:sp>
        </p:grpSp>
        <p:pic>
          <p:nvPicPr>
            <p:cNvPr id="19" name="Picture 5" descr="G:\SLIDESHOP(ERV)\3D man\Goal\New folder (3)\2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900" y="3886200"/>
              <a:ext cx="7251700" cy="2514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oup 9"/>
          <p:cNvGrpSpPr>
            <a:grpSpLocks/>
          </p:cNvGrpSpPr>
          <p:nvPr/>
        </p:nvGrpSpPr>
        <p:grpSpPr bwMode="auto">
          <a:xfrm>
            <a:off x="2473158" y="292529"/>
            <a:ext cx="5452531" cy="3574033"/>
            <a:chOff x="1994222" y="1225825"/>
            <a:chExt cx="5778178" cy="4717775"/>
          </a:xfrm>
        </p:grpSpPr>
        <p:sp>
          <p:nvSpPr>
            <p:cNvPr id="24" name="Oval Callout 23"/>
            <p:cNvSpPr/>
            <p:nvPr/>
          </p:nvSpPr>
          <p:spPr>
            <a:xfrm>
              <a:off x="1994222" y="1225825"/>
              <a:ext cx="5778178" cy="3193775"/>
            </a:xfrm>
            <a:prstGeom prst="wedgeEllipseCallout">
              <a:avLst>
                <a:gd name="adj1" fmla="val -27848"/>
                <a:gd name="adj2" fmla="val 67576"/>
              </a:avLst>
            </a:prstGeom>
            <a:solidFill>
              <a:schemeClr val="accent1">
                <a:lumMod val="75000"/>
              </a:schemeClr>
            </a:solidFill>
            <a:ln w="92075">
              <a:gradFill flip="none" rotWithShape="1">
                <a:gsLst>
                  <a:gs pos="14000">
                    <a:schemeClr val="bg1">
                      <a:lumMod val="50000"/>
                    </a:schemeClr>
                  </a:gs>
                  <a:gs pos="73000">
                    <a:srgbClr val="FFFFFF"/>
                  </a:gs>
                  <a:gs pos="21000">
                    <a:schemeClr val="tx1">
                      <a:lumMod val="75000"/>
                      <a:lumOff val="25000"/>
                    </a:schemeClr>
                  </a:gs>
                  <a:gs pos="28000">
                    <a:schemeClr val="bg1">
                      <a:lumMod val="65000"/>
                    </a:schemeClr>
                  </a:gs>
                  <a:gs pos="100000">
                    <a:schemeClr val="bg1">
                      <a:lumMod val="50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2970243" y="1429177"/>
              <a:ext cx="3812581" cy="1220114"/>
            </a:xfrm>
            <a:prstGeom prst="ellipse">
              <a:avLst/>
            </a:prstGeom>
            <a:gradFill>
              <a:gsLst>
                <a:gs pos="0">
                  <a:schemeClr val="bg1">
                    <a:lumMod val="95000"/>
                    <a:alpha val="56000"/>
                  </a:schemeClr>
                </a:gs>
                <a:gs pos="68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  <p:sp>
          <p:nvSpPr>
            <p:cNvPr id="26" name="TextBox 7"/>
            <p:cNvSpPr txBox="1">
              <a:spLocks noChangeArrowheads="1"/>
            </p:cNvSpPr>
            <p:nvPr/>
          </p:nvSpPr>
          <p:spPr bwMode="auto">
            <a:xfrm>
              <a:off x="1994222" y="2373642"/>
              <a:ext cx="5778178" cy="69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-105" charset="0"/>
                  <a:ea typeface="ＭＳ Ｐゴシック" pitchFamily="-105" charset="-128"/>
                </a:defRPr>
              </a:lvl9pPr>
            </a:lstStyle>
            <a:p>
              <a:pPr algn="ctr"/>
              <a:endParaRPr lang="nb-NO" sz="2000" dirty="0"/>
            </a:p>
          </p:txBody>
        </p:sp>
        <p:sp>
          <p:nvSpPr>
            <p:cNvPr id="27" name="Oval 26"/>
            <p:cNvSpPr/>
            <p:nvPr/>
          </p:nvSpPr>
          <p:spPr>
            <a:xfrm>
              <a:off x="2438177" y="5181028"/>
              <a:ext cx="5015661" cy="762572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alpha val="5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ea typeface="ＭＳ Ｐゴシック" pitchFamily="-105" charset="-128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3168316" y="778896"/>
            <a:ext cx="4077367" cy="1140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>
              <a:lnSpc>
                <a:spcPct val="80000"/>
              </a:lnSpc>
              <a:spcBef>
                <a:spcPct val="0"/>
              </a:spcBef>
            </a:pPr>
            <a:r>
              <a:rPr lang="en-US" sz="2800" dirty="0">
                <a:solidFill>
                  <a:prstClr val="black"/>
                </a:solidFill>
                <a:latin typeface="Constantia"/>
              </a:rPr>
              <a:t>Agile Planning is a great approach for the university on the move!</a:t>
            </a:r>
          </a:p>
        </p:txBody>
      </p:sp>
    </p:spTree>
    <p:extLst>
      <p:ext uri="{BB962C8B-B14F-4D97-AF65-F5344CB8AC3E}">
        <p14:creationId xmlns:p14="http://schemas.microsoft.com/office/powerpoint/2010/main" val="2044827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Curved Down Arrow 358"/>
          <p:cNvSpPr>
            <a:spLocks noChangeArrowheads="1"/>
          </p:cNvSpPr>
          <p:nvPr/>
        </p:nvSpPr>
        <p:spPr bwMode="auto">
          <a:xfrm rot="1166284" flipV="1">
            <a:off x="2446338" y="3992563"/>
            <a:ext cx="1976437" cy="731837"/>
          </a:xfrm>
          <a:prstGeom prst="curvedDownArrow">
            <a:avLst>
              <a:gd name="adj1" fmla="val 24996"/>
              <a:gd name="adj2" fmla="val 50004"/>
              <a:gd name="adj3" fmla="val 25000"/>
            </a:avLst>
          </a:prstGeom>
          <a:gradFill rotWithShape="1">
            <a:gsLst>
              <a:gs pos="0">
                <a:srgbClr val="7F7F7F">
                  <a:alpha val="0"/>
                </a:srgbClr>
              </a:gs>
              <a:gs pos="10001">
                <a:srgbClr val="7F7F7F">
                  <a:alpha val="10001"/>
                </a:srgbClr>
              </a:gs>
              <a:gs pos="64999">
                <a:schemeClr val="accent1">
                  <a:lumMod val="75000"/>
                  <a:alpha val="18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21180000"/>
          </a:gra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en-US">
              <a:latin typeface="+mn-lt"/>
              <a:ea typeface="+mn-ea"/>
            </a:endParaRPr>
          </a:p>
        </p:txBody>
      </p:sp>
      <p:grpSp>
        <p:nvGrpSpPr>
          <p:cNvPr id="13315" name="Group 1"/>
          <p:cNvGrpSpPr>
            <a:grpSpLocks/>
          </p:cNvGrpSpPr>
          <p:nvPr/>
        </p:nvGrpSpPr>
        <p:grpSpPr bwMode="auto">
          <a:xfrm>
            <a:off x="3932238" y="2312988"/>
            <a:ext cx="982662" cy="1836737"/>
            <a:chOff x="4160838" y="2699072"/>
            <a:chExt cx="822324" cy="1535585"/>
          </a:xfrm>
        </p:grpSpPr>
        <p:sp>
          <p:nvSpPr>
            <p:cNvPr id="74" name="Freeform 73"/>
            <p:cNvSpPr/>
            <p:nvPr/>
          </p:nvSpPr>
          <p:spPr>
            <a:xfrm>
              <a:off x="4160838" y="2699072"/>
              <a:ext cx="822324" cy="1535585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457200 w 990600"/>
                <a:gd name="connsiteY0" fmla="*/ 152400 h 1219200"/>
                <a:gd name="connsiteX1" fmla="*/ 914400 w 990600"/>
                <a:gd name="connsiteY1" fmla="*/ 152400 h 1219200"/>
                <a:gd name="connsiteX2" fmla="*/ 914400 w 990600"/>
                <a:gd name="connsiteY2" fmla="*/ 1066800 h 1219200"/>
                <a:gd name="connsiteX3" fmla="*/ 0 w 990600"/>
                <a:gd name="connsiteY3" fmla="*/ 1066800 h 1219200"/>
                <a:gd name="connsiteX4" fmla="*/ 457200 w 990600"/>
                <a:gd name="connsiteY4" fmla="*/ 152400 h 1219200"/>
                <a:gd name="connsiteX0" fmla="*/ 457200 w 990600"/>
                <a:gd name="connsiteY0" fmla="*/ 152400 h 1219200"/>
                <a:gd name="connsiteX1" fmla="*/ 914400 w 990600"/>
                <a:gd name="connsiteY1" fmla="*/ 152400 h 1219200"/>
                <a:gd name="connsiteX2" fmla="*/ 914400 w 990600"/>
                <a:gd name="connsiteY2" fmla="*/ 1066800 h 1219200"/>
                <a:gd name="connsiteX3" fmla="*/ 0 w 990600"/>
                <a:gd name="connsiteY3" fmla="*/ 1066800 h 1219200"/>
                <a:gd name="connsiteX4" fmla="*/ 457200 w 990600"/>
                <a:gd name="connsiteY4" fmla="*/ 152400 h 1219200"/>
                <a:gd name="connsiteX0" fmla="*/ 438150 w 971550"/>
                <a:gd name="connsiteY0" fmla="*/ 152400 h 1905000"/>
                <a:gd name="connsiteX1" fmla="*/ 895350 w 971550"/>
                <a:gd name="connsiteY1" fmla="*/ 152400 h 1905000"/>
                <a:gd name="connsiteX2" fmla="*/ 895350 w 971550"/>
                <a:gd name="connsiteY2" fmla="*/ 1066800 h 1905000"/>
                <a:gd name="connsiteX3" fmla="*/ 209550 w 971550"/>
                <a:gd name="connsiteY3" fmla="*/ 1752600 h 1905000"/>
                <a:gd name="connsiteX4" fmla="*/ 438150 w 971550"/>
                <a:gd name="connsiteY4" fmla="*/ 152400 h 1905000"/>
                <a:gd name="connsiteX0" fmla="*/ 438150 w 971550"/>
                <a:gd name="connsiteY0" fmla="*/ 152400 h 1905000"/>
                <a:gd name="connsiteX1" fmla="*/ 895350 w 971550"/>
                <a:gd name="connsiteY1" fmla="*/ 152400 h 1905000"/>
                <a:gd name="connsiteX2" fmla="*/ 895350 w 971550"/>
                <a:gd name="connsiteY2" fmla="*/ 1066800 h 1905000"/>
                <a:gd name="connsiteX3" fmla="*/ 209550 w 971550"/>
                <a:gd name="connsiteY3" fmla="*/ 1752600 h 1905000"/>
                <a:gd name="connsiteX4" fmla="*/ 438150 w 971550"/>
                <a:gd name="connsiteY4" fmla="*/ 152400 h 1905000"/>
                <a:gd name="connsiteX0" fmla="*/ 527050 w 1060450"/>
                <a:gd name="connsiteY0" fmla="*/ 152400 h 1905000"/>
                <a:gd name="connsiteX1" fmla="*/ 984250 w 1060450"/>
                <a:gd name="connsiteY1" fmla="*/ 152400 h 1905000"/>
                <a:gd name="connsiteX2" fmla="*/ 984250 w 1060450"/>
                <a:gd name="connsiteY2" fmla="*/ 1066800 h 1905000"/>
                <a:gd name="connsiteX3" fmla="*/ 298450 w 1060450"/>
                <a:gd name="connsiteY3" fmla="*/ 1752600 h 1905000"/>
                <a:gd name="connsiteX4" fmla="*/ 527050 w 1060450"/>
                <a:gd name="connsiteY4" fmla="*/ 152400 h 1905000"/>
                <a:gd name="connsiteX0" fmla="*/ 527050 w 984250"/>
                <a:gd name="connsiteY0" fmla="*/ 0 h 1752600"/>
                <a:gd name="connsiteX1" fmla="*/ 908050 w 984250"/>
                <a:gd name="connsiteY1" fmla="*/ 457200 h 1752600"/>
                <a:gd name="connsiteX2" fmla="*/ 984250 w 984250"/>
                <a:gd name="connsiteY2" fmla="*/ 914400 h 1752600"/>
                <a:gd name="connsiteX3" fmla="*/ 298450 w 984250"/>
                <a:gd name="connsiteY3" fmla="*/ 1600200 h 1752600"/>
                <a:gd name="connsiteX4" fmla="*/ 527050 w 984250"/>
                <a:gd name="connsiteY4" fmla="*/ 0 h 1752600"/>
                <a:gd name="connsiteX0" fmla="*/ 527050 w 946150"/>
                <a:gd name="connsiteY0" fmla="*/ 0 h 1752600"/>
                <a:gd name="connsiteX1" fmla="*/ 908050 w 946150"/>
                <a:gd name="connsiteY1" fmla="*/ 457200 h 1752600"/>
                <a:gd name="connsiteX2" fmla="*/ 755650 w 946150"/>
                <a:gd name="connsiteY2" fmla="*/ 1371600 h 1752600"/>
                <a:gd name="connsiteX3" fmla="*/ 298450 w 946150"/>
                <a:gd name="connsiteY3" fmla="*/ 1600200 h 1752600"/>
                <a:gd name="connsiteX4" fmla="*/ 527050 w 946150"/>
                <a:gd name="connsiteY4" fmla="*/ 0 h 1752600"/>
                <a:gd name="connsiteX0" fmla="*/ 527050 w 946150"/>
                <a:gd name="connsiteY0" fmla="*/ 0 h 1752600"/>
                <a:gd name="connsiteX1" fmla="*/ 908050 w 946150"/>
                <a:gd name="connsiteY1" fmla="*/ 457200 h 1752600"/>
                <a:gd name="connsiteX2" fmla="*/ 755650 w 946150"/>
                <a:gd name="connsiteY2" fmla="*/ 1371600 h 1752600"/>
                <a:gd name="connsiteX3" fmla="*/ 298450 w 946150"/>
                <a:gd name="connsiteY3" fmla="*/ 1600200 h 1752600"/>
                <a:gd name="connsiteX4" fmla="*/ 527050 w 946150"/>
                <a:gd name="connsiteY4" fmla="*/ 0 h 1752600"/>
                <a:gd name="connsiteX0" fmla="*/ 527050 w 908050"/>
                <a:gd name="connsiteY0" fmla="*/ 0 h 1752600"/>
                <a:gd name="connsiteX1" fmla="*/ 908050 w 908050"/>
                <a:gd name="connsiteY1" fmla="*/ 457200 h 1752600"/>
                <a:gd name="connsiteX2" fmla="*/ 755650 w 908050"/>
                <a:gd name="connsiteY2" fmla="*/ 1371600 h 1752600"/>
                <a:gd name="connsiteX3" fmla="*/ 298450 w 908050"/>
                <a:gd name="connsiteY3" fmla="*/ 1600200 h 1752600"/>
                <a:gd name="connsiteX4" fmla="*/ 527050 w 908050"/>
                <a:gd name="connsiteY4" fmla="*/ 0 h 1752600"/>
                <a:gd name="connsiteX0" fmla="*/ 527050 w 908050"/>
                <a:gd name="connsiteY0" fmla="*/ 0 h 1752600"/>
                <a:gd name="connsiteX1" fmla="*/ 908050 w 908050"/>
                <a:gd name="connsiteY1" fmla="*/ 457200 h 1752600"/>
                <a:gd name="connsiteX2" fmla="*/ 755650 w 908050"/>
                <a:gd name="connsiteY2" fmla="*/ 1371600 h 1752600"/>
                <a:gd name="connsiteX3" fmla="*/ 298450 w 908050"/>
                <a:gd name="connsiteY3" fmla="*/ 1600200 h 1752600"/>
                <a:gd name="connsiteX4" fmla="*/ 527050 w 908050"/>
                <a:gd name="connsiteY4" fmla="*/ 0 h 1752600"/>
                <a:gd name="connsiteX0" fmla="*/ 527050 w 908050"/>
                <a:gd name="connsiteY0" fmla="*/ 0 h 1752600"/>
                <a:gd name="connsiteX1" fmla="*/ 908050 w 908050"/>
                <a:gd name="connsiteY1" fmla="*/ 457200 h 1752600"/>
                <a:gd name="connsiteX2" fmla="*/ 755650 w 908050"/>
                <a:gd name="connsiteY2" fmla="*/ 1371600 h 1752600"/>
                <a:gd name="connsiteX3" fmla="*/ 298450 w 908050"/>
                <a:gd name="connsiteY3" fmla="*/ 1600200 h 1752600"/>
                <a:gd name="connsiteX4" fmla="*/ 527050 w 908050"/>
                <a:gd name="connsiteY4" fmla="*/ 0 h 1752600"/>
                <a:gd name="connsiteX0" fmla="*/ 527050 w 908050"/>
                <a:gd name="connsiteY0" fmla="*/ 0 h 1625600"/>
                <a:gd name="connsiteX1" fmla="*/ 908050 w 908050"/>
                <a:gd name="connsiteY1" fmla="*/ 457200 h 1625600"/>
                <a:gd name="connsiteX2" fmla="*/ 755650 w 908050"/>
                <a:gd name="connsiteY2" fmla="*/ 1371600 h 1625600"/>
                <a:gd name="connsiteX3" fmla="*/ 298450 w 908050"/>
                <a:gd name="connsiteY3" fmla="*/ 1600200 h 1625600"/>
                <a:gd name="connsiteX4" fmla="*/ 527050 w 908050"/>
                <a:gd name="connsiteY4" fmla="*/ 0 h 1625600"/>
                <a:gd name="connsiteX0" fmla="*/ 527050 w 908050"/>
                <a:gd name="connsiteY0" fmla="*/ 0 h 1549400"/>
                <a:gd name="connsiteX1" fmla="*/ 908050 w 908050"/>
                <a:gd name="connsiteY1" fmla="*/ 381000 h 1549400"/>
                <a:gd name="connsiteX2" fmla="*/ 755650 w 908050"/>
                <a:gd name="connsiteY2" fmla="*/ 1295400 h 1549400"/>
                <a:gd name="connsiteX3" fmla="*/ 298450 w 908050"/>
                <a:gd name="connsiteY3" fmla="*/ 1524000 h 1549400"/>
                <a:gd name="connsiteX4" fmla="*/ 527050 w 908050"/>
                <a:gd name="connsiteY4" fmla="*/ 0 h 1549400"/>
                <a:gd name="connsiteX0" fmla="*/ 527050 w 908050"/>
                <a:gd name="connsiteY0" fmla="*/ 0 h 1549400"/>
                <a:gd name="connsiteX1" fmla="*/ 908050 w 908050"/>
                <a:gd name="connsiteY1" fmla="*/ 381000 h 1549400"/>
                <a:gd name="connsiteX2" fmla="*/ 755650 w 908050"/>
                <a:gd name="connsiteY2" fmla="*/ 1295400 h 1549400"/>
                <a:gd name="connsiteX3" fmla="*/ 374650 w 908050"/>
                <a:gd name="connsiteY3" fmla="*/ 1524000 h 1549400"/>
                <a:gd name="connsiteX4" fmla="*/ 527050 w 908050"/>
                <a:gd name="connsiteY4" fmla="*/ 0 h 1549400"/>
                <a:gd name="connsiteX0" fmla="*/ 527050 w 908050"/>
                <a:gd name="connsiteY0" fmla="*/ 0 h 1570038"/>
                <a:gd name="connsiteX1" fmla="*/ 908050 w 908050"/>
                <a:gd name="connsiteY1" fmla="*/ 381000 h 1570038"/>
                <a:gd name="connsiteX2" fmla="*/ 755650 w 908050"/>
                <a:gd name="connsiteY2" fmla="*/ 1295400 h 1570038"/>
                <a:gd name="connsiteX3" fmla="*/ 374650 w 908050"/>
                <a:gd name="connsiteY3" fmla="*/ 1524000 h 1570038"/>
                <a:gd name="connsiteX4" fmla="*/ 527050 w 908050"/>
                <a:gd name="connsiteY4" fmla="*/ 0 h 1570038"/>
                <a:gd name="connsiteX0" fmla="*/ 304006 w 685006"/>
                <a:gd name="connsiteY0" fmla="*/ 0 h 1549400"/>
                <a:gd name="connsiteX1" fmla="*/ 685006 w 685006"/>
                <a:gd name="connsiteY1" fmla="*/ 381000 h 1549400"/>
                <a:gd name="connsiteX2" fmla="*/ 532606 w 685006"/>
                <a:gd name="connsiteY2" fmla="*/ 1295400 h 1549400"/>
                <a:gd name="connsiteX3" fmla="*/ 151606 w 685006"/>
                <a:gd name="connsiteY3" fmla="*/ 1524000 h 1549400"/>
                <a:gd name="connsiteX4" fmla="*/ 25400 w 685006"/>
                <a:gd name="connsiteY4" fmla="*/ 1047750 h 1549400"/>
                <a:gd name="connsiteX5" fmla="*/ 304006 w 685006"/>
                <a:gd name="connsiteY5" fmla="*/ 0 h 1549400"/>
                <a:gd name="connsiteX0" fmla="*/ 332581 w 713581"/>
                <a:gd name="connsiteY0" fmla="*/ 0 h 1549400"/>
                <a:gd name="connsiteX1" fmla="*/ 713581 w 713581"/>
                <a:gd name="connsiteY1" fmla="*/ 381000 h 1549400"/>
                <a:gd name="connsiteX2" fmla="*/ 561181 w 713581"/>
                <a:gd name="connsiteY2" fmla="*/ 1295400 h 1549400"/>
                <a:gd name="connsiteX3" fmla="*/ 180181 w 713581"/>
                <a:gd name="connsiteY3" fmla="*/ 1524000 h 1549400"/>
                <a:gd name="connsiteX4" fmla="*/ 25400 w 713581"/>
                <a:gd name="connsiteY4" fmla="*/ 1026319 h 1549400"/>
                <a:gd name="connsiteX5" fmla="*/ 332581 w 713581"/>
                <a:gd name="connsiteY5" fmla="*/ 0 h 1549400"/>
                <a:gd name="connsiteX0" fmla="*/ 354012 w 735012"/>
                <a:gd name="connsiteY0" fmla="*/ 0 h 1549400"/>
                <a:gd name="connsiteX1" fmla="*/ 735012 w 735012"/>
                <a:gd name="connsiteY1" fmla="*/ 381000 h 1549400"/>
                <a:gd name="connsiteX2" fmla="*/ 582612 w 735012"/>
                <a:gd name="connsiteY2" fmla="*/ 1295400 h 1549400"/>
                <a:gd name="connsiteX3" fmla="*/ 201612 w 735012"/>
                <a:gd name="connsiteY3" fmla="*/ 1524000 h 1549400"/>
                <a:gd name="connsiteX4" fmla="*/ 25400 w 735012"/>
                <a:gd name="connsiteY4" fmla="*/ 1081088 h 1549400"/>
                <a:gd name="connsiteX5" fmla="*/ 354012 w 735012"/>
                <a:gd name="connsiteY5" fmla="*/ 0 h 1549400"/>
                <a:gd name="connsiteX0" fmla="*/ 441324 w 822324"/>
                <a:gd name="connsiteY0" fmla="*/ 0 h 1549400"/>
                <a:gd name="connsiteX1" fmla="*/ 822324 w 822324"/>
                <a:gd name="connsiteY1" fmla="*/ 381000 h 1549400"/>
                <a:gd name="connsiteX2" fmla="*/ 669924 w 822324"/>
                <a:gd name="connsiteY2" fmla="*/ 1295400 h 1549400"/>
                <a:gd name="connsiteX3" fmla="*/ 288924 w 822324"/>
                <a:gd name="connsiteY3" fmla="*/ 1524000 h 1549400"/>
                <a:gd name="connsiteX4" fmla="*/ 112712 w 822324"/>
                <a:gd name="connsiteY4" fmla="*/ 1081088 h 1549400"/>
                <a:gd name="connsiteX5" fmla="*/ 441324 w 822324"/>
                <a:gd name="connsiteY5" fmla="*/ 0 h 1549400"/>
                <a:gd name="connsiteX0" fmla="*/ 441324 w 822324"/>
                <a:gd name="connsiteY0" fmla="*/ 0 h 1549400"/>
                <a:gd name="connsiteX1" fmla="*/ 822324 w 822324"/>
                <a:gd name="connsiteY1" fmla="*/ 381000 h 1549400"/>
                <a:gd name="connsiteX2" fmla="*/ 669924 w 822324"/>
                <a:gd name="connsiteY2" fmla="*/ 1295400 h 1549400"/>
                <a:gd name="connsiteX3" fmla="*/ 288924 w 822324"/>
                <a:gd name="connsiteY3" fmla="*/ 1524000 h 1549400"/>
                <a:gd name="connsiteX4" fmla="*/ 112712 w 822324"/>
                <a:gd name="connsiteY4" fmla="*/ 1081088 h 1549400"/>
                <a:gd name="connsiteX5" fmla="*/ 441324 w 822324"/>
                <a:gd name="connsiteY5" fmla="*/ 0 h 1549400"/>
                <a:gd name="connsiteX0" fmla="*/ 441324 w 822324"/>
                <a:gd name="connsiteY0" fmla="*/ 0 h 1549400"/>
                <a:gd name="connsiteX1" fmla="*/ 822324 w 822324"/>
                <a:gd name="connsiteY1" fmla="*/ 381000 h 1549400"/>
                <a:gd name="connsiteX2" fmla="*/ 669924 w 822324"/>
                <a:gd name="connsiteY2" fmla="*/ 1295400 h 1549400"/>
                <a:gd name="connsiteX3" fmla="*/ 288924 w 822324"/>
                <a:gd name="connsiteY3" fmla="*/ 1524000 h 1549400"/>
                <a:gd name="connsiteX4" fmla="*/ 112712 w 822324"/>
                <a:gd name="connsiteY4" fmla="*/ 1081088 h 1549400"/>
                <a:gd name="connsiteX5" fmla="*/ 441324 w 822324"/>
                <a:gd name="connsiteY5" fmla="*/ 0 h 1549400"/>
                <a:gd name="connsiteX0" fmla="*/ 441324 w 822324"/>
                <a:gd name="connsiteY0" fmla="*/ 0 h 1549400"/>
                <a:gd name="connsiteX1" fmla="*/ 822324 w 822324"/>
                <a:gd name="connsiteY1" fmla="*/ 381000 h 1549400"/>
                <a:gd name="connsiteX2" fmla="*/ 669924 w 822324"/>
                <a:gd name="connsiteY2" fmla="*/ 1295400 h 1549400"/>
                <a:gd name="connsiteX3" fmla="*/ 288924 w 822324"/>
                <a:gd name="connsiteY3" fmla="*/ 1524000 h 1549400"/>
                <a:gd name="connsiteX4" fmla="*/ 112712 w 822324"/>
                <a:gd name="connsiteY4" fmla="*/ 1081088 h 1549400"/>
                <a:gd name="connsiteX5" fmla="*/ 441324 w 822324"/>
                <a:gd name="connsiteY5" fmla="*/ 0 h 1549400"/>
                <a:gd name="connsiteX0" fmla="*/ 441324 w 822324"/>
                <a:gd name="connsiteY0" fmla="*/ 0 h 1549400"/>
                <a:gd name="connsiteX1" fmla="*/ 822324 w 822324"/>
                <a:gd name="connsiteY1" fmla="*/ 381000 h 1549400"/>
                <a:gd name="connsiteX2" fmla="*/ 669924 w 822324"/>
                <a:gd name="connsiteY2" fmla="*/ 1295400 h 1549400"/>
                <a:gd name="connsiteX3" fmla="*/ 288924 w 822324"/>
                <a:gd name="connsiteY3" fmla="*/ 1524000 h 1549400"/>
                <a:gd name="connsiteX4" fmla="*/ 112712 w 822324"/>
                <a:gd name="connsiteY4" fmla="*/ 1081088 h 1549400"/>
                <a:gd name="connsiteX5" fmla="*/ 441324 w 822324"/>
                <a:gd name="connsiteY5" fmla="*/ 0 h 1549400"/>
                <a:gd name="connsiteX0" fmla="*/ 441324 w 822324"/>
                <a:gd name="connsiteY0" fmla="*/ 0 h 1561306"/>
                <a:gd name="connsiteX1" fmla="*/ 822324 w 822324"/>
                <a:gd name="connsiteY1" fmla="*/ 381000 h 1561306"/>
                <a:gd name="connsiteX2" fmla="*/ 636587 w 822324"/>
                <a:gd name="connsiteY2" fmla="*/ 1307306 h 1561306"/>
                <a:gd name="connsiteX3" fmla="*/ 288924 w 822324"/>
                <a:gd name="connsiteY3" fmla="*/ 1524000 h 1561306"/>
                <a:gd name="connsiteX4" fmla="*/ 112712 w 822324"/>
                <a:gd name="connsiteY4" fmla="*/ 1081088 h 1561306"/>
                <a:gd name="connsiteX5" fmla="*/ 441324 w 822324"/>
                <a:gd name="connsiteY5" fmla="*/ 0 h 1561306"/>
                <a:gd name="connsiteX0" fmla="*/ 441324 w 822324"/>
                <a:gd name="connsiteY0" fmla="*/ 0 h 1561306"/>
                <a:gd name="connsiteX1" fmla="*/ 822324 w 822324"/>
                <a:gd name="connsiteY1" fmla="*/ 381000 h 1561306"/>
                <a:gd name="connsiteX2" fmla="*/ 636587 w 822324"/>
                <a:gd name="connsiteY2" fmla="*/ 1307306 h 1561306"/>
                <a:gd name="connsiteX3" fmla="*/ 288924 w 822324"/>
                <a:gd name="connsiteY3" fmla="*/ 1524000 h 1561306"/>
                <a:gd name="connsiteX4" fmla="*/ 112712 w 822324"/>
                <a:gd name="connsiteY4" fmla="*/ 1081088 h 1561306"/>
                <a:gd name="connsiteX5" fmla="*/ 441324 w 822324"/>
                <a:gd name="connsiteY5" fmla="*/ 0 h 1561306"/>
                <a:gd name="connsiteX0" fmla="*/ 441324 w 822324"/>
                <a:gd name="connsiteY0" fmla="*/ 0 h 1535113"/>
                <a:gd name="connsiteX1" fmla="*/ 822324 w 822324"/>
                <a:gd name="connsiteY1" fmla="*/ 381000 h 1535113"/>
                <a:gd name="connsiteX2" fmla="*/ 636587 w 822324"/>
                <a:gd name="connsiteY2" fmla="*/ 1307306 h 1535113"/>
                <a:gd name="connsiteX3" fmla="*/ 288924 w 822324"/>
                <a:gd name="connsiteY3" fmla="*/ 1524000 h 1535113"/>
                <a:gd name="connsiteX4" fmla="*/ 112712 w 822324"/>
                <a:gd name="connsiteY4" fmla="*/ 1081088 h 1535113"/>
                <a:gd name="connsiteX5" fmla="*/ 441324 w 822324"/>
                <a:gd name="connsiteY5" fmla="*/ 0 h 1535113"/>
                <a:gd name="connsiteX0" fmla="*/ 441324 w 822324"/>
                <a:gd name="connsiteY0" fmla="*/ 0 h 1535113"/>
                <a:gd name="connsiteX1" fmla="*/ 822324 w 822324"/>
                <a:gd name="connsiteY1" fmla="*/ 381000 h 1535113"/>
                <a:gd name="connsiteX2" fmla="*/ 636587 w 822324"/>
                <a:gd name="connsiteY2" fmla="*/ 1307306 h 1535113"/>
                <a:gd name="connsiteX3" fmla="*/ 288924 w 822324"/>
                <a:gd name="connsiteY3" fmla="*/ 1524000 h 1535113"/>
                <a:gd name="connsiteX4" fmla="*/ 112712 w 822324"/>
                <a:gd name="connsiteY4" fmla="*/ 1081088 h 1535113"/>
                <a:gd name="connsiteX5" fmla="*/ 441324 w 822324"/>
                <a:gd name="connsiteY5" fmla="*/ 0 h 1535113"/>
                <a:gd name="connsiteX0" fmla="*/ 441324 w 822324"/>
                <a:gd name="connsiteY0" fmla="*/ 0 h 1535113"/>
                <a:gd name="connsiteX1" fmla="*/ 822324 w 822324"/>
                <a:gd name="connsiteY1" fmla="*/ 381000 h 1535113"/>
                <a:gd name="connsiteX2" fmla="*/ 636587 w 822324"/>
                <a:gd name="connsiteY2" fmla="*/ 1307306 h 1535113"/>
                <a:gd name="connsiteX3" fmla="*/ 288924 w 822324"/>
                <a:gd name="connsiteY3" fmla="*/ 1524000 h 1535113"/>
                <a:gd name="connsiteX4" fmla="*/ 112712 w 822324"/>
                <a:gd name="connsiteY4" fmla="*/ 1081088 h 1535113"/>
                <a:gd name="connsiteX5" fmla="*/ 441324 w 822324"/>
                <a:gd name="connsiteY5" fmla="*/ 0 h 1535113"/>
                <a:gd name="connsiteX0" fmla="*/ 441324 w 822324"/>
                <a:gd name="connsiteY0" fmla="*/ 0 h 1535113"/>
                <a:gd name="connsiteX1" fmla="*/ 822324 w 822324"/>
                <a:gd name="connsiteY1" fmla="*/ 381000 h 1535113"/>
                <a:gd name="connsiteX2" fmla="*/ 636587 w 822324"/>
                <a:gd name="connsiteY2" fmla="*/ 1307306 h 1535113"/>
                <a:gd name="connsiteX3" fmla="*/ 288924 w 822324"/>
                <a:gd name="connsiteY3" fmla="*/ 1524000 h 1535113"/>
                <a:gd name="connsiteX4" fmla="*/ 112712 w 822324"/>
                <a:gd name="connsiteY4" fmla="*/ 1081088 h 1535113"/>
                <a:gd name="connsiteX5" fmla="*/ 441324 w 822324"/>
                <a:gd name="connsiteY5" fmla="*/ 0 h 1535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2324" h="1535113">
                  <a:moveTo>
                    <a:pt x="441324" y="0"/>
                  </a:moveTo>
                  <a:cubicBezTo>
                    <a:pt x="579437" y="71438"/>
                    <a:pt x="784224" y="152400"/>
                    <a:pt x="822324" y="381000"/>
                  </a:cubicBezTo>
                  <a:cubicBezTo>
                    <a:pt x="650874" y="762000"/>
                    <a:pt x="810418" y="1099344"/>
                    <a:pt x="636587" y="1307306"/>
                  </a:cubicBezTo>
                  <a:cubicBezTo>
                    <a:pt x="442118" y="1480344"/>
                    <a:pt x="459580" y="1474788"/>
                    <a:pt x="288924" y="1524000"/>
                  </a:cubicBezTo>
                  <a:cubicBezTo>
                    <a:pt x="186928" y="1535113"/>
                    <a:pt x="127793" y="1339851"/>
                    <a:pt x="112712" y="1081088"/>
                  </a:cubicBezTo>
                  <a:cubicBezTo>
                    <a:pt x="0" y="67469"/>
                    <a:pt x="359171" y="30163"/>
                    <a:pt x="4413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34F15">
                    <a:lumMod val="82000"/>
                    <a:lumOff val="18000"/>
                  </a:srgbClr>
                </a:gs>
                <a:gs pos="57000">
                  <a:srgbClr val="2A9B18"/>
                </a:gs>
                <a:gs pos="100000">
                  <a:srgbClr val="527F24"/>
                </a:gs>
              </a:gsLst>
              <a:path path="shape">
                <a:fillToRect l="50000" t="50000" r="50000" b="50000"/>
              </a:path>
              <a:tileRect/>
            </a:gradFill>
            <a:ln w="3175">
              <a:solidFill>
                <a:srgbClr val="527F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0" name="Ellipse 19"/>
            <p:cNvSpPr/>
            <p:nvPr/>
          </p:nvSpPr>
          <p:spPr bwMode="auto">
            <a:xfrm rot="16535436">
              <a:off x="3922286" y="3147453"/>
              <a:ext cx="1209091" cy="458323"/>
            </a:xfrm>
            <a:prstGeom prst="ellipse">
              <a:avLst/>
            </a:prstGeom>
            <a:gradFill flip="none" rotWithShape="1">
              <a:gsLst>
                <a:gs pos="0">
                  <a:srgbClr val="1F497D">
                    <a:lumMod val="40000"/>
                    <a:lumOff val="60000"/>
                    <a:alpha val="0"/>
                  </a:srgbClr>
                </a:gs>
                <a:gs pos="100000">
                  <a:sysClr val="window" lastClr="FFFFFF">
                    <a:alpha val="49000"/>
                  </a:sys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</a:endParaRPr>
            </a:p>
          </p:txBody>
        </p:sp>
      </p:grpSp>
      <p:grpSp>
        <p:nvGrpSpPr>
          <p:cNvPr id="13316" name="Group 357"/>
          <p:cNvGrpSpPr>
            <a:grpSpLocks/>
          </p:cNvGrpSpPr>
          <p:nvPr/>
        </p:nvGrpSpPr>
        <p:grpSpPr bwMode="auto">
          <a:xfrm>
            <a:off x="1096963" y="3217863"/>
            <a:ext cx="2251075" cy="704850"/>
            <a:chOff x="400155" y="4150249"/>
            <a:chExt cx="2661843" cy="833861"/>
          </a:xfrm>
        </p:grpSpPr>
        <p:sp>
          <p:nvSpPr>
            <p:cNvPr id="13356" name="Freeform 7"/>
            <p:cNvSpPr>
              <a:spLocks/>
            </p:cNvSpPr>
            <p:nvPr/>
          </p:nvSpPr>
          <p:spPr bwMode="auto">
            <a:xfrm rot="1114411" flipH="1">
              <a:off x="2743751" y="4450652"/>
              <a:ext cx="318247" cy="319916"/>
            </a:xfrm>
            <a:custGeom>
              <a:avLst/>
              <a:gdLst>
                <a:gd name="T0" fmla="*/ 219045182 w 572"/>
                <a:gd name="T1" fmla="*/ 4416510 h 575"/>
                <a:gd name="T2" fmla="*/ 232294160 w 572"/>
                <a:gd name="T3" fmla="*/ 18548451 h 575"/>
                <a:gd name="T4" fmla="*/ 265857535 w 572"/>
                <a:gd name="T5" fmla="*/ 65360230 h 575"/>
                <a:gd name="T6" fmla="*/ 310902838 w 572"/>
                <a:gd name="T7" fmla="*/ 131603984 h 575"/>
                <a:gd name="T8" fmla="*/ 355065173 w 572"/>
                <a:gd name="T9" fmla="*/ 197847182 h 575"/>
                <a:gd name="T10" fmla="*/ 385095561 w 572"/>
                <a:gd name="T11" fmla="*/ 243775992 h 575"/>
                <a:gd name="T12" fmla="*/ 394811553 w 572"/>
                <a:gd name="T13" fmla="*/ 256141441 h 575"/>
                <a:gd name="T14" fmla="*/ 417775967 w 572"/>
                <a:gd name="T15" fmla="*/ 279105846 h 575"/>
                <a:gd name="T16" fmla="*/ 448689324 w 572"/>
                <a:gd name="T17" fmla="*/ 336517137 h 575"/>
                <a:gd name="T18" fmla="*/ 471653738 w 572"/>
                <a:gd name="T19" fmla="*/ 398344381 h 575"/>
                <a:gd name="T20" fmla="*/ 498151139 w 572"/>
                <a:gd name="T21" fmla="*/ 438973713 h 575"/>
                <a:gd name="T22" fmla="*/ 503450619 w 572"/>
                <a:gd name="T23" fmla="*/ 479603045 h 575"/>
                <a:gd name="T24" fmla="*/ 478719711 w 572"/>
                <a:gd name="T25" fmla="*/ 507866928 h 575"/>
                <a:gd name="T26" fmla="*/ 444273368 w 572"/>
                <a:gd name="T27" fmla="*/ 498150940 h 575"/>
                <a:gd name="T28" fmla="*/ 415125949 w 572"/>
                <a:gd name="T29" fmla="*/ 479603045 h 575"/>
                <a:gd name="T30" fmla="*/ 405410514 w 572"/>
                <a:gd name="T31" fmla="*/ 474303567 h 575"/>
                <a:gd name="T32" fmla="*/ 382446099 w 572"/>
                <a:gd name="T33" fmla="*/ 461054594 h 575"/>
                <a:gd name="T34" fmla="*/ 372730107 w 572"/>
                <a:gd name="T35" fmla="*/ 422191754 h 575"/>
                <a:gd name="T36" fmla="*/ 364781165 w 572"/>
                <a:gd name="T37" fmla="*/ 399227349 h 575"/>
                <a:gd name="T38" fmla="*/ 359481685 w 572"/>
                <a:gd name="T39" fmla="*/ 390394886 h 575"/>
                <a:gd name="T40" fmla="*/ 341816751 w 572"/>
                <a:gd name="T41" fmla="*/ 373613483 h 575"/>
                <a:gd name="T42" fmla="*/ 306486883 w 572"/>
                <a:gd name="T43" fmla="*/ 362131003 h 575"/>
                <a:gd name="T44" fmla="*/ 238476609 w 572"/>
                <a:gd name="T45" fmla="*/ 336517137 h 575"/>
                <a:gd name="T46" fmla="*/ 162517393 w 572"/>
                <a:gd name="T47" fmla="*/ 305603236 h 575"/>
                <a:gd name="T48" fmla="*/ 102456617 w 572"/>
                <a:gd name="T49" fmla="*/ 277339353 h 575"/>
                <a:gd name="T50" fmla="*/ 79492203 w 572"/>
                <a:gd name="T51" fmla="*/ 260557951 h 575"/>
                <a:gd name="T52" fmla="*/ 66243781 w 572"/>
                <a:gd name="T53" fmla="*/ 274689892 h 575"/>
                <a:gd name="T54" fmla="*/ 60944301 w 572"/>
                <a:gd name="T55" fmla="*/ 292354819 h 575"/>
                <a:gd name="T56" fmla="*/ 60944301 w 572"/>
                <a:gd name="T57" fmla="*/ 295887805 h 575"/>
                <a:gd name="T58" fmla="*/ 60944301 w 572"/>
                <a:gd name="T59" fmla="*/ 302953775 h 575"/>
                <a:gd name="T60" fmla="*/ 59177807 w 572"/>
                <a:gd name="T61" fmla="*/ 310019746 h 575"/>
                <a:gd name="T62" fmla="*/ 51228309 w 572"/>
                <a:gd name="T63" fmla="*/ 310902714 h 575"/>
                <a:gd name="T64" fmla="*/ 27380926 w 572"/>
                <a:gd name="T65" fmla="*/ 299420790 h 575"/>
                <a:gd name="T66" fmla="*/ 3532987 w 572"/>
                <a:gd name="T67" fmla="*/ 264090936 h 575"/>
                <a:gd name="T68" fmla="*/ 1766493 w 572"/>
                <a:gd name="T69" fmla="*/ 216395633 h 575"/>
                <a:gd name="T70" fmla="*/ 21197921 w 572"/>
                <a:gd name="T71" fmla="*/ 172233316 h 575"/>
                <a:gd name="T72" fmla="*/ 63593762 w 572"/>
                <a:gd name="T73" fmla="*/ 154568389 h 575"/>
                <a:gd name="T74" fmla="*/ 102456617 w 572"/>
                <a:gd name="T75" fmla="*/ 140436447 h 575"/>
                <a:gd name="T76" fmla="*/ 113055578 w 572"/>
                <a:gd name="T77" fmla="*/ 115705550 h 575"/>
                <a:gd name="T78" fmla="*/ 113939103 w 572"/>
                <a:gd name="T79" fmla="*/ 107756054 h 575"/>
                <a:gd name="T80" fmla="*/ 110406116 w 572"/>
                <a:gd name="T81" fmla="*/ 88324635 h 575"/>
                <a:gd name="T82" fmla="*/ 120121551 w 572"/>
                <a:gd name="T83" fmla="*/ 62710769 h 575"/>
                <a:gd name="T84" fmla="*/ 158984406 w 572"/>
                <a:gd name="T85" fmla="*/ 45045842 h 575"/>
                <a:gd name="T86" fmla="*/ 179299358 w 572"/>
                <a:gd name="T87" fmla="*/ 7949495 h 575"/>
                <a:gd name="T88" fmla="*/ 205796759 w 572"/>
                <a:gd name="T89" fmla="*/ 0 h 5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72"/>
                <a:gd name="T136" fmla="*/ 0 h 575"/>
                <a:gd name="T137" fmla="*/ 572 w 572"/>
                <a:gd name="T138" fmla="*/ 575 h 5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72" h="575">
                  <a:moveTo>
                    <a:pt x="233" y="0"/>
                  </a:moveTo>
                  <a:lnTo>
                    <a:pt x="241" y="2"/>
                  </a:lnTo>
                  <a:lnTo>
                    <a:pt x="248" y="5"/>
                  </a:lnTo>
                  <a:lnTo>
                    <a:pt x="252" y="6"/>
                  </a:lnTo>
                  <a:lnTo>
                    <a:pt x="256" y="10"/>
                  </a:lnTo>
                  <a:lnTo>
                    <a:pt x="263" y="21"/>
                  </a:lnTo>
                  <a:lnTo>
                    <a:pt x="274" y="35"/>
                  </a:lnTo>
                  <a:lnTo>
                    <a:pt x="286" y="54"/>
                  </a:lnTo>
                  <a:lnTo>
                    <a:pt x="301" y="74"/>
                  </a:lnTo>
                  <a:lnTo>
                    <a:pt x="317" y="99"/>
                  </a:lnTo>
                  <a:lnTo>
                    <a:pt x="334" y="123"/>
                  </a:lnTo>
                  <a:lnTo>
                    <a:pt x="352" y="149"/>
                  </a:lnTo>
                  <a:lnTo>
                    <a:pt x="369" y="175"/>
                  </a:lnTo>
                  <a:lnTo>
                    <a:pt x="386" y="201"/>
                  </a:lnTo>
                  <a:lnTo>
                    <a:pt x="402" y="224"/>
                  </a:lnTo>
                  <a:lnTo>
                    <a:pt x="416" y="245"/>
                  </a:lnTo>
                  <a:lnTo>
                    <a:pt x="428" y="262"/>
                  </a:lnTo>
                  <a:lnTo>
                    <a:pt x="436" y="276"/>
                  </a:lnTo>
                  <a:lnTo>
                    <a:pt x="443" y="286"/>
                  </a:lnTo>
                  <a:lnTo>
                    <a:pt x="444" y="288"/>
                  </a:lnTo>
                  <a:lnTo>
                    <a:pt x="447" y="290"/>
                  </a:lnTo>
                  <a:lnTo>
                    <a:pt x="452" y="295"/>
                  </a:lnTo>
                  <a:lnTo>
                    <a:pt x="462" y="303"/>
                  </a:lnTo>
                  <a:lnTo>
                    <a:pt x="473" y="316"/>
                  </a:lnTo>
                  <a:lnTo>
                    <a:pt x="485" y="332"/>
                  </a:lnTo>
                  <a:lnTo>
                    <a:pt x="497" y="354"/>
                  </a:lnTo>
                  <a:lnTo>
                    <a:pt x="508" y="381"/>
                  </a:lnTo>
                  <a:lnTo>
                    <a:pt x="517" y="415"/>
                  </a:lnTo>
                  <a:lnTo>
                    <a:pt x="525" y="433"/>
                  </a:lnTo>
                  <a:lnTo>
                    <a:pt x="534" y="451"/>
                  </a:lnTo>
                  <a:lnTo>
                    <a:pt x="545" y="467"/>
                  </a:lnTo>
                  <a:lnTo>
                    <a:pt x="556" y="482"/>
                  </a:lnTo>
                  <a:lnTo>
                    <a:pt x="564" y="497"/>
                  </a:lnTo>
                  <a:lnTo>
                    <a:pt x="570" y="512"/>
                  </a:lnTo>
                  <a:lnTo>
                    <a:pt x="572" y="527"/>
                  </a:lnTo>
                  <a:lnTo>
                    <a:pt x="570" y="543"/>
                  </a:lnTo>
                  <a:lnTo>
                    <a:pt x="562" y="561"/>
                  </a:lnTo>
                  <a:lnTo>
                    <a:pt x="553" y="571"/>
                  </a:lnTo>
                  <a:lnTo>
                    <a:pt x="542" y="575"/>
                  </a:lnTo>
                  <a:lnTo>
                    <a:pt x="529" y="573"/>
                  </a:lnTo>
                  <a:lnTo>
                    <a:pt x="517" y="571"/>
                  </a:lnTo>
                  <a:lnTo>
                    <a:pt x="503" y="564"/>
                  </a:lnTo>
                  <a:lnTo>
                    <a:pt x="491" y="557"/>
                  </a:lnTo>
                  <a:lnTo>
                    <a:pt x="480" y="550"/>
                  </a:lnTo>
                  <a:lnTo>
                    <a:pt x="470" y="543"/>
                  </a:lnTo>
                  <a:lnTo>
                    <a:pt x="465" y="539"/>
                  </a:lnTo>
                  <a:lnTo>
                    <a:pt x="462" y="538"/>
                  </a:lnTo>
                  <a:lnTo>
                    <a:pt x="459" y="537"/>
                  </a:lnTo>
                  <a:lnTo>
                    <a:pt x="452" y="534"/>
                  </a:lnTo>
                  <a:lnTo>
                    <a:pt x="443" y="528"/>
                  </a:lnTo>
                  <a:lnTo>
                    <a:pt x="433" y="522"/>
                  </a:lnTo>
                  <a:lnTo>
                    <a:pt x="427" y="511"/>
                  </a:lnTo>
                  <a:lnTo>
                    <a:pt x="424" y="496"/>
                  </a:lnTo>
                  <a:lnTo>
                    <a:pt x="422" y="478"/>
                  </a:lnTo>
                  <a:lnTo>
                    <a:pt x="420" y="466"/>
                  </a:lnTo>
                  <a:lnTo>
                    <a:pt x="416" y="457"/>
                  </a:lnTo>
                  <a:lnTo>
                    <a:pt x="413" y="452"/>
                  </a:lnTo>
                  <a:lnTo>
                    <a:pt x="412" y="451"/>
                  </a:lnTo>
                  <a:lnTo>
                    <a:pt x="410" y="448"/>
                  </a:lnTo>
                  <a:lnTo>
                    <a:pt x="407" y="442"/>
                  </a:lnTo>
                  <a:lnTo>
                    <a:pt x="403" y="434"/>
                  </a:lnTo>
                  <a:lnTo>
                    <a:pt x="397" y="427"/>
                  </a:lnTo>
                  <a:lnTo>
                    <a:pt x="387" y="423"/>
                  </a:lnTo>
                  <a:lnTo>
                    <a:pt x="380" y="422"/>
                  </a:lnTo>
                  <a:lnTo>
                    <a:pt x="367" y="417"/>
                  </a:lnTo>
                  <a:lnTo>
                    <a:pt x="347" y="410"/>
                  </a:lnTo>
                  <a:lnTo>
                    <a:pt x="324" y="401"/>
                  </a:lnTo>
                  <a:lnTo>
                    <a:pt x="298" y="392"/>
                  </a:lnTo>
                  <a:lnTo>
                    <a:pt x="270" y="381"/>
                  </a:lnTo>
                  <a:lnTo>
                    <a:pt x="241" y="369"/>
                  </a:lnTo>
                  <a:lnTo>
                    <a:pt x="211" y="356"/>
                  </a:lnTo>
                  <a:lnTo>
                    <a:pt x="184" y="346"/>
                  </a:lnTo>
                  <a:lnTo>
                    <a:pt x="158" y="333"/>
                  </a:lnTo>
                  <a:lnTo>
                    <a:pt x="135" y="324"/>
                  </a:lnTo>
                  <a:lnTo>
                    <a:pt x="116" y="314"/>
                  </a:lnTo>
                  <a:lnTo>
                    <a:pt x="103" y="306"/>
                  </a:lnTo>
                  <a:lnTo>
                    <a:pt x="97" y="301"/>
                  </a:lnTo>
                  <a:lnTo>
                    <a:pt x="90" y="295"/>
                  </a:lnTo>
                  <a:lnTo>
                    <a:pt x="84" y="298"/>
                  </a:lnTo>
                  <a:lnTo>
                    <a:pt x="79" y="303"/>
                  </a:lnTo>
                  <a:lnTo>
                    <a:pt x="75" y="311"/>
                  </a:lnTo>
                  <a:lnTo>
                    <a:pt x="72" y="321"/>
                  </a:lnTo>
                  <a:lnTo>
                    <a:pt x="71" y="328"/>
                  </a:lnTo>
                  <a:lnTo>
                    <a:pt x="69" y="331"/>
                  </a:lnTo>
                  <a:lnTo>
                    <a:pt x="69" y="332"/>
                  </a:lnTo>
                  <a:lnTo>
                    <a:pt x="69" y="335"/>
                  </a:lnTo>
                  <a:lnTo>
                    <a:pt x="71" y="337"/>
                  </a:lnTo>
                  <a:lnTo>
                    <a:pt x="71" y="340"/>
                  </a:lnTo>
                  <a:lnTo>
                    <a:pt x="69" y="343"/>
                  </a:lnTo>
                  <a:lnTo>
                    <a:pt x="69" y="346"/>
                  </a:lnTo>
                  <a:lnTo>
                    <a:pt x="68" y="348"/>
                  </a:lnTo>
                  <a:lnTo>
                    <a:pt x="67" y="351"/>
                  </a:lnTo>
                  <a:lnTo>
                    <a:pt x="65" y="352"/>
                  </a:lnTo>
                  <a:lnTo>
                    <a:pt x="62" y="354"/>
                  </a:lnTo>
                  <a:lnTo>
                    <a:pt x="58" y="352"/>
                  </a:lnTo>
                  <a:lnTo>
                    <a:pt x="54" y="351"/>
                  </a:lnTo>
                  <a:lnTo>
                    <a:pt x="43" y="346"/>
                  </a:lnTo>
                  <a:lnTo>
                    <a:pt x="31" y="339"/>
                  </a:lnTo>
                  <a:lnTo>
                    <a:pt x="20" y="329"/>
                  </a:lnTo>
                  <a:lnTo>
                    <a:pt x="11" y="316"/>
                  </a:lnTo>
                  <a:lnTo>
                    <a:pt x="4" y="299"/>
                  </a:lnTo>
                  <a:lnTo>
                    <a:pt x="0" y="280"/>
                  </a:lnTo>
                  <a:lnTo>
                    <a:pt x="0" y="262"/>
                  </a:lnTo>
                  <a:lnTo>
                    <a:pt x="2" y="245"/>
                  </a:lnTo>
                  <a:lnTo>
                    <a:pt x="7" y="227"/>
                  </a:lnTo>
                  <a:lnTo>
                    <a:pt x="13" y="211"/>
                  </a:lnTo>
                  <a:lnTo>
                    <a:pt x="24" y="195"/>
                  </a:lnTo>
                  <a:lnTo>
                    <a:pt x="37" y="185"/>
                  </a:lnTo>
                  <a:lnTo>
                    <a:pt x="53" y="178"/>
                  </a:lnTo>
                  <a:lnTo>
                    <a:pt x="72" y="175"/>
                  </a:lnTo>
                  <a:lnTo>
                    <a:pt x="91" y="172"/>
                  </a:lnTo>
                  <a:lnTo>
                    <a:pt x="105" y="167"/>
                  </a:lnTo>
                  <a:lnTo>
                    <a:pt x="116" y="159"/>
                  </a:lnTo>
                  <a:lnTo>
                    <a:pt x="122" y="149"/>
                  </a:lnTo>
                  <a:lnTo>
                    <a:pt x="127" y="140"/>
                  </a:lnTo>
                  <a:lnTo>
                    <a:pt x="128" y="131"/>
                  </a:lnTo>
                  <a:lnTo>
                    <a:pt x="129" y="126"/>
                  </a:lnTo>
                  <a:lnTo>
                    <a:pt x="129" y="123"/>
                  </a:lnTo>
                  <a:lnTo>
                    <a:pt x="129" y="122"/>
                  </a:lnTo>
                  <a:lnTo>
                    <a:pt x="128" y="116"/>
                  </a:lnTo>
                  <a:lnTo>
                    <a:pt x="127" y="110"/>
                  </a:lnTo>
                  <a:lnTo>
                    <a:pt x="125" y="100"/>
                  </a:lnTo>
                  <a:lnTo>
                    <a:pt x="127" y="90"/>
                  </a:lnTo>
                  <a:lnTo>
                    <a:pt x="131" y="81"/>
                  </a:lnTo>
                  <a:lnTo>
                    <a:pt x="136" y="71"/>
                  </a:lnTo>
                  <a:lnTo>
                    <a:pt x="146" y="62"/>
                  </a:lnTo>
                  <a:lnTo>
                    <a:pt x="161" y="55"/>
                  </a:lnTo>
                  <a:lnTo>
                    <a:pt x="180" y="51"/>
                  </a:lnTo>
                  <a:lnTo>
                    <a:pt x="185" y="32"/>
                  </a:lnTo>
                  <a:lnTo>
                    <a:pt x="193" y="18"/>
                  </a:lnTo>
                  <a:lnTo>
                    <a:pt x="203" y="9"/>
                  </a:lnTo>
                  <a:lnTo>
                    <a:pt x="212" y="3"/>
                  </a:lnTo>
                  <a:lnTo>
                    <a:pt x="222" y="0"/>
                  </a:lnTo>
                  <a:lnTo>
                    <a:pt x="233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57" name="Freeform 142"/>
            <p:cNvSpPr>
              <a:spLocks/>
            </p:cNvSpPr>
            <p:nvPr/>
          </p:nvSpPr>
          <p:spPr bwMode="auto">
            <a:xfrm rot="1114411" flipH="1">
              <a:off x="2813411" y="4407371"/>
              <a:ext cx="145214" cy="232565"/>
            </a:xfrm>
            <a:custGeom>
              <a:avLst/>
              <a:gdLst>
                <a:gd name="T0" fmla="*/ 2147483647 w 261"/>
                <a:gd name="T1" fmla="*/ 2147483647 h 418"/>
                <a:gd name="T2" fmla="*/ 2147483647 w 261"/>
                <a:gd name="T3" fmla="*/ 2147483647 h 418"/>
                <a:gd name="T4" fmla="*/ 2147483647 w 261"/>
                <a:gd name="T5" fmla="*/ 2147483647 h 418"/>
                <a:gd name="T6" fmla="*/ 2147483647 w 261"/>
                <a:gd name="T7" fmla="*/ 2147483647 h 418"/>
                <a:gd name="T8" fmla="*/ 2147483647 w 261"/>
                <a:gd name="T9" fmla="*/ 2147483647 h 418"/>
                <a:gd name="T10" fmla="*/ 2147483647 w 261"/>
                <a:gd name="T11" fmla="*/ 2147483647 h 418"/>
                <a:gd name="T12" fmla="*/ 2147483647 w 261"/>
                <a:gd name="T13" fmla="*/ 2147483647 h 418"/>
                <a:gd name="T14" fmla="*/ 2147483647 w 261"/>
                <a:gd name="T15" fmla="*/ 2147483647 h 418"/>
                <a:gd name="T16" fmla="*/ 2147483647 w 261"/>
                <a:gd name="T17" fmla="*/ 2147483647 h 418"/>
                <a:gd name="T18" fmla="*/ 2147483647 w 261"/>
                <a:gd name="T19" fmla="*/ 2147483647 h 418"/>
                <a:gd name="T20" fmla="*/ 2147483647 w 261"/>
                <a:gd name="T21" fmla="*/ 2147483647 h 418"/>
                <a:gd name="T22" fmla="*/ 2147483647 w 261"/>
                <a:gd name="T23" fmla="*/ 2147483647 h 418"/>
                <a:gd name="T24" fmla="*/ 2147483647 w 261"/>
                <a:gd name="T25" fmla="*/ 2147483647 h 418"/>
                <a:gd name="T26" fmla="*/ 2147483647 w 261"/>
                <a:gd name="T27" fmla="*/ 2147483647 h 418"/>
                <a:gd name="T28" fmla="*/ 2147483647 w 261"/>
                <a:gd name="T29" fmla="*/ 2147483647 h 418"/>
                <a:gd name="T30" fmla="*/ 2147483647 w 261"/>
                <a:gd name="T31" fmla="*/ 2147483647 h 418"/>
                <a:gd name="T32" fmla="*/ 2147483647 w 261"/>
                <a:gd name="T33" fmla="*/ 2147483647 h 418"/>
                <a:gd name="T34" fmla="*/ 2147483647 w 261"/>
                <a:gd name="T35" fmla="*/ 2147483647 h 418"/>
                <a:gd name="T36" fmla="*/ 2147483647 w 261"/>
                <a:gd name="T37" fmla="*/ 2147483647 h 418"/>
                <a:gd name="T38" fmla="*/ 2147483647 w 261"/>
                <a:gd name="T39" fmla="*/ 2147483647 h 418"/>
                <a:gd name="T40" fmla="*/ 2147483647 w 261"/>
                <a:gd name="T41" fmla="*/ 2147483647 h 418"/>
                <a:gd name="T42" fmla="*/ 2147483647 w 261"/>
                <a:gd name="T43" fmla="*/ 2147483647 h 418"/>
                <a:gd name="T44" fmla="*/ 2147483647 w 261"/>
                <a:gd name="T45" fmla="*/ 2147483647 h 418"/>
                <a:gd name="T46" fmla="*/ 2147483647 w 261"/>
                <a:gd name="T47" fmla="*/ 2147483647 h 418"/>
                <a:gd name="T48" fmla="*/ 2147483647 w 261"/>
                <a:gd name="T49" fmla="*/ 2147483647 h 418"/>
                <a:gd name="T50" fmla="*/ 2147483647 w 261"/>
                <a:gd name="T51" fmla="*/ 2147483647 h 418"/>
                <a:gd name="T52" fmla="*/ 2147483647 w 261"/>
                <a:gd name="T53" fmla="*/ 2147483647 h 418"/>
                <a:gd name="T54" fmla="*/ 2147483647 w 261"/>
                <a:gd name="T55" fmla="*/ 2147483647 h 418"/>
                <a:gd name="T56" fmla="*/ 2147483647 w 261"/>
                <a:gd name="T57" fmla="*/ 2147483647 h 418"/>
                <a:gd name="T58" fmla="*/ 0 w 261"/>
                <a:gd name="T59" fmla="*/ 2147483647 h 418"/>
                <a:gd name="T60" fmla="*/ 2147483647 w 261"/>
                <a:gd name="T61" fmla="*/ 2147483647 h 418"/>
                <a:gd name="T62" fmla="*/ 2147483647 w 261"/>
                <a:gd name="T63" fmla="*/ 2147483647 h 418"/>
                <a:gd name="T64" fmla="*/ 2147483647 w 261"/>
                <a:gd name="T65" fmla="*/ 2147483647 h 41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61"/>
                <a:gd name="T100" fmla="*/ 0 h 418"/>
                <a:gd name="T101" fmla="*/ 261 w 261"/>
                <a:gd name="T102" fmla="*/ 418 h 41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61" h="418">
                  <a:moveTo>
                    <a:pt x="66" y="0"/>
                  </a:moveTo>
                  <a:lnTo>
                    <a:pt x="82" y="2"/>
                  </a:lnTo>
                  <a:lnTo>
                    <a:pt x="93" y="4"/>
                  </a:lnTo>
                  <a:lnTo>
                    <a:pt x="101" y="11"/>
                  </a:lnTo>
                  <a:lnTo>
                    <a:pt x="107" y="21"/>
                  </a:lnTo>
                  <a:lnTo>
                    <a:pt x="111" y="33"/>
                  </a:lnTo>
                  <a:lnTo>
                    <a:pt x="115" y="43"/>
                  </a:lnTo>
                  <a:lnTo>
                    <a:pt x="120" y="56"/>
                  </a:lnTo>
                  <a:lnTo>
                    <a:pt x="128" y="73"/>
                  </a:lnTo>
                  <a:lnTo>
                    <a:pt x="137" y="92"/>
                  </a:lnTo>
                  <a:lnTo>
                    <a:pt x="146" y="110"/>
                  </a:lnTo>
                  <a:lnTo>
                    <a:pt x="156" y="127"/>
                  </a:lnTo>
                  <a:lnTo>
                    <a:pt x="164" y="144"/>
                  </a:lnTo>
                  <a:lnTo>
                    <a:pt x="171" y="157"/>
                  </a:lnTo>
                  <a:lnTo>
                    <a:pt x="176" y="165"/>
                  </a:lnTo>
                  <a:lnTo>
                    <a:pt x="178" y="168"/>
                  </a:lnTo>
                  <a:lnTo>
                    <a:pt x="179" y="171"/>
                  </a:lnTo>
                  <a:lnTo>
                    <a:pt x="183" y="178"/>
                  </a:lnTo>
                  <a:lnTo>
                    <a:pt x="188" y="187"/>
                  </a:lnTo>
                  <a:lnTo>
                    <a:pt x="195" y="198"/>
                  </a:lnTo>
                  <a:lnTo>
                    <a:pt x="202" y="212"/>
                  </a:lnTo>
                  <a:lnTo>
                    <a:pt x="208" y="225"/>
                  </a:lnTo>
                  <a:lnTo>
                    <a:pt x="212" y="238"/>
                  </a:lnTo>
                  <a:lnTo>
                    <a:pt x="213" y="250"/>
                  </a:lnTo>
                  <a:lnTo>
                    <a:pt x="216" y="261"/>
                  </a:lnTo>
                  <a:lnTo>
                    <a:pt x="220" y="277"/>
                  </a:lnTo>
                  <a:lnTo>
                    <a:pt x="227" y="296"/>
                  </a:lnTo>
                  <a:lnTo>
                    <a:pt x="235" y="317"/>
                  </a:lnTo>
                  <a:lnTo>
                    <a:pt x="243" y="339"/>
                  </a:lnTo>
                  <a:lnTo>
                    <a:pt x="250" y="361"/>
                  </a:lnTo>
                  <a:lnTo>
                    <a:pt x="257" y="381"/>
                  </a:lnTo>
                  <a:lnTo>
                    <a:pt x="261" y="399"/>
                  </a:lnTo>
                  <a:lnTo>
                    <a:pt x="261" y="411"/>
                  </a:lnTo>
                  <a:lnTo>
                    <a:pt x="259" y="418"/>
                  </a:lnTo>
                  <a:lnTo>
                    <a:pt x="255" y="418"/>
                  </a:lnTo>
                  <a:lnTo>
                    <a:pt x="248" y="412"/>
                  </a:lnTo>
                  <a:lnTo>
                    <a:pt x="242" y="404"/>
                  </a:lnTo>
                  <a:lnTo>
                    <a:pt x="235" y="392"/>
                  </a:lnTo>
                  <a:lnTo>
                    <a:pt x="228" y="380"/>
                  </a:lnTo>
                  <a:lnTo>
                    <a:pt x="221" y="369"/>
                  </a:lnTo>
                  <a:lnTo>
                    <a:pt x="216" y="358"/>
                  </a:lnTo>
                  <a:lnTo>
                    <a:pt x="212" y="351"/>
                  </a:lnTo>
                  <a:lnTo>
                    <a:pt x="210" y="348"/>
                  </a:lnTo>
                  <a:lnTo>
                    <a:pt x="208" y="346"/>
                  </a:lnTo>
                  <a:lnTo>
                    <a:pt x="202" y="337"/>
                  </a:lnTo>
                  <a:lnTo>
                    <a:pt x="193" y="324"/>
                  </a:lnTo>
                  <a:lnTo>
                    <a:pt x="180" y="306"/>
                  </a:lnTo>
                  <a:lnTo>
                    <a:pt x="167" y="287"/>
                  </a:lnTo>
                  <a:lnTo>
                    <a:pt x="150" y="264"/>
                  </a:lnTo>
                  <a:lnTo>
                    <a:pt x="133" y="239"/>
                  </a:lnTo>
                  <a:lnTo>
                    <a:pt x="115" y="213"/>
                  </a:lnTo>
                  <a:lnTo>
                    <a:pt x="96" y="187"/>
                  </a:lnTo>
                  <a:lnTo>
                    <a:pt x="78" y="161"/>
                  </a:lnTo>
                  <a:lnTo>
                    <a:pt x="60" y="137"/>
                  </a:lnTo>
                  <a:lnTo>
                    <a:pt x="44" y="115"/>
                  </a:lnTo>
                  <a:lnTo>
                    <a:pt x="30" y="96"/>
                  </a:lnTo>
                  <a:lnTo>
                    <a:pt x="18" y="80"/>
                  </a:lnTo>
                  <a:lnTo>
                    <a:pt x="8" y="69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30" y="40"/>
                  </a:lnTo>
                  <a:lnTo>
                    <a:pt x="30" y="36"/>
                  </a:lnTo>
                  <a:lnTo>
                    <a:pt x="33" y="29"/>
                  </a:lnTo>
                  <a:lnTo>
                    <a:pt x="37" y="19"/>
                  </a:lnTo>
                  <a:lnTo>
                    <a:pt x="44" y="10"/>
                  </a:lnTo>
                  <a:lnTo>
                    <a:pt x="53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58" name="Freeform 143"/>
            <p:cNvSpPr>
              <a:spLocks/>
            </p:cNvSpPr>
            <p:nvPr/>
          </p:nvSpPr>
          <p:spPr bwMode="auto">
            <a:xfrm rot="1114411" flipH="1">
              <a:off x="2632129" y="4234733"/>
              <a:ext cx="300443" cy="536346"/>
            </a:xfrm>
            <a:custGeom>
              <a:avLst/>
              <a:gdLst>
                <a:gd name="T0" fmla="*/ 396578083 w 540"/>
                <a:gd name="T1" fmla="*/ 4416509 h 964"/>
                <a:gd name="T2" fmla="*/ 426608474 w 540"/>
                <a:gd name="T3" fmla="*/ 19431415 h 964"/>
                <a:gd name="T4" fmla="*/ 431907955 w 540"/>
                <a:gd name="T5" fmla="*/ 26497384 h 964"/>
                <a:gd name="T6" fmla="*/ 406293520 w 540"/>
                <a:gd name="T7" fmla="*/ 37096338 h 964"/>
                <a:gd name="T8" fmla="*/ 403644058 w 540"/>
                <a:gd name="T9" fmla="*/ 45928799 h 964"/>
                <a:gd name="T10" fmla="*/ 418658975 w 540"/>
                <a:gd name="T11" fmla="*/ 80375677 h 964"/>
                <a:gd name="T12" fmla="*/ 433674448 w 540"/>
                <a:gd name="T13" fmla="*/ 140436414 h 964"/>
                <a:gd name="T14" fmla="*/ 431907955 w 540"/>
                <a:gd name="T15" fmla="*/ 209329612 h 964"/>
                <a:gd name="T16" fmla="*/ 459288327 w 540"/>
                <a:gd name="T17" fmla="*/ 249958935 h 964"/>
                <a:gd name="T18" fmla="*/ 467237826 w 540"/>
                <a:gd name="T19" fmla="*/ 292354749 h 964"/>
                <a:gd name="T20" fmla="*/ 476070294 w 540"/>
                <a:gd name="T21" fmla="*/ 362130916 h 964"/>
                <a:gd name="T22" fmla="*/ 476070294 w 540"/>
                <a:gd name="T23" fmla="*/ 453988514 h 964"/>
                <a:gd name="T24" fmla="*/ 471653782 w 540"/>
                <a:gd name="T25" fmla="*/ 538780143 h 964"/>
                <a:gd name="T26" fmla="*/ 466354301 w 540"/>
                <a:gd name="T27" fmla="*/ 587358959 h 964"/>
                <a:gd name="T28" fmla="*/ 467237826 w 540"/>
                <a:gd name="T29" fmla="*/ 603257389 h 964"/>
                <a:gd name="T30" fmla="*/ 471653782 w 540"/>
                <a:gd name="T31" fmla="*/ 654485665 h 964"/>
                <a:gd name="T32" fmla="*/ 469887288 w 540"/>
                <a:gd name="T33" fmla="*/ 712779910 h 964"/>
                <a:gd name="T34" fmla="*/ 455755340 w 540"/>
                <a:gd name="T35" fmla="*/ 748109755 h 964"/>
                <a:gd name="T36" fmla="*/ 445156378 w 540"/>
                <a:gd name="T37" fmla="*/ 771957123 h 964"/>
                <a:gd name="T38" fmla="*/ 453988846 w 540"/>
                <a:gd name="T39" fmla="*/ 807286968 h 964"/>
                <a:gd name="T40" fmla="*/ 460171852 w 540"/>
                <a:gd name="T41" fmla="*/ 832017860 h 964"/>
                <a:gd name="T42" fmla="*/ 439856898 w 540"/>
                <a:gd name="T43" fmla="*/ 840850321 h 964"/>
                <a:gd name="T44" fmla="*/ 399227546 w 540"/>
                <a:gd name="T45" fmla="*/ 847916290 h 964"/>
                <a:gd name="T46" fmla="*/ 354182238 w 540"/>
                <a:gd name="T47" fmla="*/ 844383306 h 964"/>
                <a:gd name="T48" fmla="*/ 317085873 w 540"/>
                <a:gd name="T49" fmla="*/ 817002954 h 964"/>
                <a:gd name="T50" fmla="*/ 280872477 w 540"/>
                <a:gd name="T51" fmla="*/ 801104523 h 964"/>
                <a:gd name="T52" fmla="*/ 250842086 w 540"/>
                <a:gd name="T53" fmla="*/ 777256600 h 964"/>
                <a:gd name="T54" fmla="*/ 251725611 w 540"/>
                <a:gd name="T55" fmla="*/ 762241693 h 964"/>
                <a:gd name="T56" fmla="*/ 251725611 w 540"/>
                <a:gd name="T57" fmla="*/ 727794816 h 964"/>
                <a:gd name="T58" fmla="*/ 237593663 w 540"/>
                <a:gd name="T59" fmla="*/ 691582003 h 964"/>
                <a:gd name="T60" fmla="*/ 220811696 w 540"/>
                <a:gd name="T61" fmla="*/ 673033556 h 964"/>
                <a:gd name="T62" fmla="*/ 201380266 w 540"/>
                <a:gd name="T63" fmla="*/ 629754773 h 964"/>
                <a:gd name="T64" fmla="*/ 190781305 w 540"/>
                <a:gd name="T65" fmla="*/ 591774911 h 964"/>
                <a:gd name="T66" fmla="*/ 170466907 w 540"/>
                <a:gd name="T67" fmla="*/ 537013651 h 964"/>
                <a:gd name="T68" fmla="*/ 137786498 w 540"/>
                <a:gd name="T69" fmla="*/ 453105546 h 964"/>
                <a:gd name="T70" fmla="*/ 100690133 w 540"/>
                <a:gd name="T71" fmla="*/ 362130916 h 964"/>
                <a:gd name="T72" fmla="*/ 69776774 w 540"/>
                <a:gd name="T73" fmla="*/ 286171748 h 964"/>
                <a:gd name="T74" fmla="*/ 54761301 w 540"/>
                <a:gd name="T75" fmla="*/ 249075410 h 964"/>
                <a:gd name="T76" fmla="*/ 45928833 w 540"/>
                <a:gd name="T77" fmla="*/ 228761027 h 964"/>
                <a:gd name="T78" fmla="*/ 19431429 w 540"/>
                <a:gd name="T79" fmla="*/ 218162074 h 964"/>
                <a:gd name="T80" fmla="*/ 1766494 w 540"/>
                <a:gd name="T81" fmla="*/ 189014673 h 964"/>
                <a:gd name="T82" fmla="*/ 22081448 w 540"/>
                <a:gd name="T83" fmla="*/ 165167306 h 964"/>
                <a:gd name="T84" fmla="*/ 42395846 w 540"/>
                <a:gd name="T85" fmla="*/ 156334844 h 964"/>
                <a:gd name="T86" fmla="*/ 56527794 w 540"/>
                <a:gd name="T87" fmla="*/ 152801860 h 964"/>
                <a:gd name="T88" fmla="*/ 104223120 w 540"/>
                <a:gd name="T89" fmla="*/ 143085874 h 964"/>
                <a:gd name="T90" fmla="*/ 153684940 w 540"/>
                <a:gd name="T91" fmla="*/ 145735891 h 964"/>
                <a:gd name="T92" fmla="*/ 190781305 w 540"/>
                <a:gd name="T93" fmla="*/ 99807092 h 964"/>
                <a:gd name="T94" fmla="*/ 234060676 w 540"/>
                <a:gd name="T95" fmla="*/ 83025137 h 964"/>
                <a:gd name="T96" fmla="*/ 261441048 w 540"/>
                <a:gd name="T97" fmla="*/ 81258645 h 964"/>
                <a:gd name="T98" fmla="*/ 272923534 w 540"/>
                <a:gd name="T99" fmla="*/ 80375677 h 964"/>
                <a:gd name="T100" fmla="*/ 293237932 w 540"/>
                <a:gd name="T101" fmla="*/ 56527753 h 964"/>
                <a:gd name="T102" fmla="*/ 325918341 w 540"/>
                <a:gd name="T103" fmla="*/ 10598954 h 964"/>
                <a:gd name="T104" fmla="*/ 369197155 w 540"/>
                <a:gd name="T105" fmla="*/ 0 h 9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40"/>
                <a:gd name="T160" fmla="*/ 0 h 964"/>
                <a:gd name="T161" fmla="*/ 540 w 540"/>
                <a:gd name="T162" fmla="*/ 964 h 9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40" h="964">
                  <a:moveTo>
                    <a:pt x="418" y="0"/>
                  </a:moveTo>
                  <a:lnTo>
                    <a:pt x="434" y="1"/>
                  </a:lnTo>
                  <a:lnTo>
                    <a:pt x="449" y="5"/>
                  </a:lnTo>
                  <a:lnTo>
                    <a:pt x="463" y="11"/>
                  </a:lnTo>
                  <a:lnTo>
                    <a:pt x="475" y="16"/>
                  </a:lnTo>
                  <a:lnTo>
                    <a:pt x="483" y="22"/>
                  </a:lnTo>
                  <a:lnTo>
                    <a:pt x="490" y="26"/>
                  </a:lnTo>
                  <a:lnTo>
                    <a:pt x="491" y="28"/>
                  </a:lnTo>
                  <a:lnTo>
                    <a:pt x="489" y="30"/>
                  </a:lnTo>
                  <a:lnTo>
                    <a:pt x="476" y="32"/>
                  </a:lnTo>
                  <a:lnTo>
                    <a:pt x="467" y="37"/>
                  </a:lnTo>
                  <a:lnTo>
                    <a:pt x="460" y="42"/>
                  </a:lnTo>
                  <a:lnTo>
                    <a:pt x="456" y="46"/>
                  </a:lnTo>
                  <a:lnTo>
                    <a:pt x="456" y="49"/>
                  </a:lnTo>
                  <a:lnTo>
                    <a:pt x="457" y="52"/>
                  </a:lnTo>
                  <a:lnTo>
                    <a:pt x="461" y="60"/>
                  </a:lnTo>
                  <a:lnTo>
                    <a:pt x="467" y="73"/>
                  </a:lnTo>
                  <a:lnTo>
                    <a:pt x="474" y="91"/>
                  </a:lnTo>
                  <a:lnTo>
                    <a:pt x="480" y="112"/>
                  </a:lnTo>
                  <a:lnTo>
                    <a:pt x="487" y="135"/>
                  </a:lnTo>
                  <a:lnTo>
                    <a:pt x="491" y="159"/>
                  </a:lnTo>
                  <a:lnTo>
                    <a:pt x="494" y="185"/>
                  </a:lnTo>
                  <a:lnTo>
                    <a:pt x="493" y="211"/>
                  </a:lnTo>
                  <a:lnTo>
                    <a:pt x="489" y="237"/>
                  </a:lnTo>
                  <a:lnTo>
                    <a:pt x="504" y="255"/>
                  </a:lnTo>
                  <a:lnTo>
                    <a:pt x="513" y="270"/>
                  </a:lnTo>
                  <a:lnTo>
                    <a:pt x="520" y="283"/>
                  </a:lnTo>
                  <a:lnTo>
                    <a:pt x="524" y="297"/>
                  </a:lnTo>
                  <a:lnTo>
                    <a:pt x="527" y="314"/>
                  </a:lnTo>
                  <a:lnTo>
                    <a:pt x="529" y="331"/>
                  </a:lnTo>
                  <a:lnTo>
                    <a:pt x="534" y="352"/>
                  </a:lnTo>
                  <a:lnTo>
                    <a:pt x="538" y="379"/>
                  </a:lnTo>
                  <a:lnTo>
                    <a:pt x="539" y="410"/>
                  </a:lnTo>
                  <a:lnTo>
                    <a:pt x="540" y="444"/>
                  </a:lnTo>
                  <a:lnTo>
                    <a:pt x="540" y="479"/>
                  </a:lnTo>
                  <a:lnTo>
                    <a:pt x="539" y="514"/>
                  </a:lnTo>
                  <a:lnTo>
                    <a:pt x="538" y="548"/>
                  </a:lnTo>
                  <a:lnTo>
                    <a:pt x="535" y="581"/>
                  </a:lnTo>
                  <a:lnTo>
                    <a:pt x="534" y="610"/>
                  </a:lnTo>
                  <a:lnTo>
                    <a:pt x="531" y="634"/>
                  </a:lnTo>
                  <a:lnTo>
                    <a:pt x="529" y="653"/>
                  </a:lnTo>
                  <a:lnTo>
                    <a:pt x="528" y="665"/>
                  </a:lnTo>
                  <a:lnTo>
                    <a:pt x="527" y="670"/>
                  </a:lnTo>
                  <a:lnTo>
                    <a:pt x="528" y="674"/>
                  </a:lnTo>
                  <a:lnTo>
                    <a:pt x="529" y="683"/>
                  </a:lnTo>
                  <a:lnTo>
                    <a:pt x="531" y="700"/>
                  </a:lnTo>
                  <a:lnTo>
                    <a:pt x="532" y="719"/>
                  </a:lnTo>
                  <a:lnTo>
                    <a:pt x="534" y="741"/>
                  </a:lnTo>
                  <a:lnTo>
                    <a:pt x="534" y="764"/>
                  </a:lnTo>
                  <a:lnTo>
                    <a:pt x="534" y="787"/>
                  </a:lnTo>
                  <a:lnTo>
                    <a:pt x="532" y="807"/>
                  </a:lnTo>
                  <a:lnTo>
                    <a:pt x="528" y="825"/>
                  </a:lnTo>
                  <a:lnTo>
                    <a:pt x="523" y="839"/>
                  </a:lnTo>
                  <a:lnTo>
                    <a:pt x="516" y="847"/>
                  </a:lnTo>
                  <a:lnTo>
                    <a:pt x="508" y="854"/>
                  </a:lnTo>
                  <a:lnTo>
                    <a:pt x="504" y="863"/>
                  </a:lnTo>
                  <a:lnTo>
                    <a:pt x="504" y="874"/>
                  </a:lnTo>
                  <a:lnTo>
                    <a:pt x="506" y="886"/>
                  </a:lnTo>
                  <a:lnTo>
                    <a:pt x="510" y="900"/>
                  </a:lnTo>
                  <a:lnTo>
                    <a:pt x="514" y="914"/>
                  </a:lnTo>
                  <a:lnTo>
                    <a:pt x="519" y="925"/>
                  </a:lnTo>
                  <a:lnTo>
                    <a:pt x="521" y="936"/>
                  </a:lnTo>
                  <a:lnTo>
                    <a:pt x="521" y="942"/>
                  </a:lnTo>
                  <a:lnTo>
                    <a:pt x="517" y="949"/>
                  </a:lnTo>
                  <a:lnTo>
                    <a:pt x="509" y="952"/>
                  </a:lnTo>
                  <a:lnTo>
                    <a:pt x="498" y="952"/>
                  </a:lnTo>
                  <a:lnTo>
                    <a:pt x="486" y="953"/>
                  </a:lnTo>
                  <a:lnTo>
                    <a:pt x="469" y="955"/>
                  </a:lnTo>
                  <a:lnTo>
                    <a:pt x="452" y="960"/>
                  </a:lnTo>
                  <a:lnTo>
                    <a:pt x="434" y="964"/>
                  </a:lnTo>
                  <a:lnTo>
                    <a:pt x="418" y="963"/>
                  </a:lnTo>
                  <a:lnTo>
                    <a:pt x="401" y="956"/>
                  </a:lnTo>
                  <a:lnTo>
                    <a:pt x="386" y="945"/>
                  </a:lnTo>
                  <a:lnTo>
                    <a:pt x="373" y="934"/>
                  </a:lnTo>
                  <a:lnTo>
                    <a:pt x="359" y="925"/>
                  </a:lnTo>
                  <a:lnTo>
                    <a:pt x="348" y="916"/>
                  </a:lnTo>
                  <a:lnTo>
                    <a:pt x="339" y="912"/>
                  </a:lnTo>
                  <a:lnTo>
                    <a:pt x="318" y="907"/>
                  </a:lnTo>
                  <a:lnTo>
                    <a:pt x="303" y="899"/>
                  </a:lnTo>
                  <a:lnTo>
                    <a:pt x="292" y="889"/>
                  </a:lnTo>
                  <a:lnTo>
                    <a:pt x="284" y="880"/>
                  </a:lnTo>
                  <a:lnTo>
                    <a:pt x="280" y="873"/>
                  </a:lnTo>
                  <a:lnTo>
                    <a:pt x="279" y="870"/>
                  </a:lnTo>
                  <a:lnTo>
                    <a:pt x="285" y="863"/>
                  </a:lnTo>
                  <a:lnTo>
                    <a:pt x="288" y="852"/>
                  </a:lnTo>
                  <a:lnTo>
                    <a:pt x="288" y="839"/>
                  </a:lnTo>
                  <a:lnTo>
                    <a:pt x="285" y="824"/>
                  </a:lnTo>
                  <a:lnTo>
                    <a:pt x="281" y="809"/>
                  </a:lnTo>
                  <a:lnTo>
                    <a:pt x="276" y="794"/>
                  </a:lnTo>
                  <a:lnTo>
                    <a:pt x="269" y="783"/>
                  </a:lnTo>
                  <a:lnTo>
                    <a:pt x="264" y="773"/>
                  </a:lnTo>
                  <a:lnTo>
                    <a:pt x="257" y="769"/>
                  </a:lnTo>
                  <a:lnTo>
                    <a:pt x="250" y="762"/>
                  </a:lnTo>
                  <a:lnTo>
                    <a:pt x="242" y="749"/>
                  </a:lnTo>
                  <a:lnTo>
                    <a:pt x="235" y="731"/>
                  </a:lnTo>
                  <a:lnTo>
                    <a:pt x="228" y="713"/>
                  </a:lnTo>
                  <a:lnTo>
                    <a:pt x="223" y="694"/>
                  </a:lnTo>
                  <a:lnTo>
                    <a:pt x="219" y="679"/>
                  </a:lnTo>
                  <a:lnTo>
                    <a:pt x="216" y="670"/>
                  </a:lnTo>
                  <a:lnTo>
                    <a:pt x="210" y="655"/>
                  </a:lnTo>
                  <a:lnTo>
                    <a:pt x="202" y="634"/>
                  </a:lnTo>
                  <a:lnTo>
                    <a:pt x="193" y="608"/>
                  </a:lnTo>
                  <a:lnTo>
                    <a:pt x="182" y="580"/>
                  </a:lnTo>
                  <a:lnTo>
                    <a:pt x="168" y="547"/>
                  </a:lnTo>
                  <a:lnTo>
                    <a:pt x="156" y="513"/>
                  </a:lnTo>
                  <a:lnTo>
                    <a:pt x="141" y="479"/>
                  </a:lnTo>
                  <a:lnTo>
                    <a:pt x="127" y="443"/>
                  </a:lnTo>
                  <a:lnTo>
                    <a:pt x="114" y="410"/>
                  </a:lnTo>
                  <a:lnTo>
                    <a:pt x="101" y="378"/>
                  </a:lnTo>
                  <a:lnTo>
                    <a:pt x="89" y="349"/>
                  </a:lnTo>
                  <a:lnTo>
                    <a:pt x="79" y="324"/>
                  </a:lnTo>
                  <a:lnTo>
                    <a:pt x="71" y="304"/>
                  </a:lnTo>
                  <a:lnTo>
                    <a:pt x="66" y="290"/>
                  </a:lnTo>
                  <a:lnTo>
                    <a:pt x="62" y="282"/>
                  </a:lnTo>
                  <a:lnTo>
                    <a:pt x="59" y="274"/>
                  </a:lnTo>
                  <a:lnTo>
                    <a:pt x="56" y="266"/>
                  </a:lnTo>
                  <a:lnTo>
                    <a:pt x="52" y="259"/>
                  </a:lnTo>
                  <a:lnTo>
                    <a:pt x="45" y="253"/>
                  </a:lnTo>
                  <a:lnTo>
                    <a:pt x="36" y="249"/>
                  </a:lnTo>
                  <a:lnTo>
                    <a:pt x="22" y="247"/>
                  </a:lnTo>
                  <a:lnTo>
                    <a:pt x="2" y="247"/>
                  </a:lnTo>
                  <a:lnTo>
                    <a:pt x="0" y="228"/>
                  </a:lnTo>
                  <a:lnTo>
                    <a:pt x="2" y="214"/>
                  </a:lnTo>
                  <a:lnTo>
                    <a:pt x="9" y="202"/>
                  </a:lnTo>
                  <a:lnTo>
                    <a:pt x="17" y="193"/>
                  </a:lnTo>
                  <a:lnTo>
                    <a:pt x="25" y="187"/>
                  </a:lnTo>
                  <a:lnTo>
                    <a:pt x="34" y="183"/>
                  </a:lnTo>
                  <a:lnTo>
                    <a:pt x="43" y="178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4" y="176"/>
                  </a:lnTo>
                  <a:lnTo>
                    <a:pt x="64" y="173"/>
                  </a:lnTo>
                  <a:lnTo>
                    <a:pt x="79" y="169"/>
                  </a:lnTo>
                  <a:lnTo>
                    <a:pt x="97" y="166"/>
                  </a:lnTo>
                  <a:lnTo>
                    <a:pt x="118" y="162"/>
                  </a:lnTo>
                  <a:lnTo>
                    <a:pt x="138" y="161"/>
                  </a:lnTo>
                  <a:lnTo>
                    <a:pt x="157" y="162"/>
                  </a:lnTo>
                  <a:lnTo>
                    <a:pt x="174" y="165"/>
                  </a:lnTo>
                  <a:lnTo>
                    <a:pt x="186" y="143"/>
                  </a:lnTo>
                  <a:lnTo>
                    <a:pt x="201" y="125"/>
                  </a:lnTo>
                  <a:lnTo>
                    <a:pt x="216" y="113"/>
                  </a:lnTo>
                  <a:lnTo>
                    <a:pt x="234" y="103"/>
                  </a:lnTo>
                  <a:lnTo>
                    <a:pt x="250" y="98"/>
                  </a:lnTo>
                  <a:lnTo>
                    <a:pt x="265" y="94"/>
                  </a:lnTo>
                  <a:lnTo>
                    <a:pt x="279" y="92"/>
                  </a:lnTo>
                  <a:lnTo>
                    <a:pt x="289" y="92"/>
                  </a:lnTo>
                  <a:lnTo>
                    <a:pt x="296" y="92"/>
                  </a:lnTo>
                  <a:lnTo>
                    <a:pt x="299" y="94"/>
                  </a:lnTo>
                  <a:lnTo>
                    <a:pt x="302" y="92"/>
                  </a:lnTo>
                  <a:lnTo>
                    <a:pt x="309" y="91"/>
                  </a:lnTo>
                  <a:lnTo>
                    <a:pt x="318" y="86"/>
                  </a:lnTo>
                  <a:lnTo>
                    <a:pt x="326" y="76"/>
                  </a:lnTo>
                  <a:lnTo>
                    <a:pt x="332" y="64"/>
                  </a:lnTo>
                  <a:lnTo>
                    <a:pt x="343" y="41"/>
                  </a:lnTo>
                  <a:lnTo>
                    <a:pt x="355" y="24"/>
                  </a:lnTo>
                  <a:lnTo>
                    <a:pt x="369" y="12"/>
                  </a:lnTo>
                  <a:lnTo>
                    <a:pt x="385" y="4"/>
                  </a:lnTo>
                  <a:lnTo>
                    <a:pt x="401" y="1"/>
                  </a:lnTo>
                  <a:lnTo>
                    <a:pt x="418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59" name="Freeform 303"/>
            <p:cNvSpPr>
              <a:spLocks noEditPoints="1"/>
            </p:cNvSpPr>
            <p:nvPr/>
          </p:nvSpPr>
          <p:spPr bwMode="auto">
            <a:xfrm rot="1114411" flipH="1">
              <a:off x="2622469" y="4199821"/>
              <a:ext cx="96809" cy="329931"/>
            </a:xfrm>
            <a:custGeom>
              <a:avLst/>
              <a:gdLst>
                <a:gd name="T0" fmla="*/ 2147483647 w 174"/>
                <a:gd name="T1" fmla="*/ 2147483647 h 593"/>
                <a:gd name="T2" fmla="*/ 2147483647 w 174"/>
                <a:gd name="T3" fmla="*/ 2147483647 h 593"/>
                <a:gd name="T4" fmla="*/ 2147483647 w 174"/>
                <a:gd name="T5" fmla="*/ 2147483647 h 593"/>
                <a:gd name="T6" fmla="*/ 2147483647 w 174"/>
                <a:gd name="T7" fmla="*/ 2147483647 h 593"/>
                <a:gd name="T8" fmla="*/ 2147483647 w 174"/>
                <a:gd name="T9" fmla="*/ 2147483647 h 593"/>
                <a:gd name="T10" fmla="*/ 2147483647 w 174"/>
                <a:gd name="T11" fmla="*/ 0 h 593"/>
                <a:gd name="T12" fmla="*/ 2147483647 w 174"/>
                <a:gd name="T13" fmla="*/ 2147483647 h 593"/>
                <a:gd name="T14" fmla="*/ 2147483647 w 174"/>
                <a:gd name="T15" fmla="*/ 2147483647 h 593"/>
                <a:gd name="T16" fmla="*/ 2147483647 w 174"/>
                <a:gd name="T17" fmla="*/ 2147483647 h 593"/>
                <a:gd name="T18" fmla="*/ 2147483647 w 174"/>
                <a:gd name="T19" fmla="*/ 2147483647 h 593"/>
                <a:gd name="T20" fmla="*/ 2147483647 w 174"/>
                <a:gd name="T21" fmla="*/ 2147483647 h 593"/>
                <a:gd name="T22" fmla="*/ 2147483647 w 174"/>
                <a:gd name="T23" fmla="*/ 2147483647 h 593"/>
                <a:gd name="T24" fmla="*/ 2147483647 w 174"/>
                <a:gd name="T25" fmla="*/ 2147483647 h 593"/>
                <a:gd name="T26" fmla="*/ 2147483647 w 174"/>
                <a:gd name="T27" fmla="*/ 2147483647 h 593"/>
                <a:gd name="T28" fmla="*/ 2147483647 w 174"/>
                <a:gd name="T29" fmla="*/ 2147483647 h 593"/>
                <a:gd name="T30" fmla="*/ 2147483647 w 174"/>
                <a:gd name="T31" fmla="*/ 2147483647 h 593"/>
                <a:gd name="T32" fmla="*/ 2147483647 w 174"/>
                <a:gd name="T33" fmla="*/ 2147483647 h 593"/>
                <a:gd name="T34" fmla="*/ 2147483647 w 174"/>
                <a:gd name="T35" fmla="*/ 2147483647 h 593"/>
                <a:gd name="T36" fmla="*/ 2147483647 w 174"/>
                <a:gd name="T37" fmla="*/ 2147483647 h 593"/>
                <a:gd name="T38" fmla="*/ 2147483647 w 174"/>
                <a:gd name="T39" fmla="*/ 2147483647 h 593"/>
                <a:gd name="T40" fmla="*/ 2147483647 w 174"/>
                <a:gd name="T41" fmla="*/ 2147483647 h 593"/>
                <a:gd name="T42" fmla="*/ 2147483647 w 174"/>
                <a:gd name="T43" fmla="*/ 2147483647 h 593"/>
                <a:gd name="T44" fmla="*/ 2147483647 w 174"/>
                <a:gd name="T45" fmla="*/ 2147483647 h 593"/>
                <a:gd name="T46" fmla="*/ 2147483647 w 174"/>
                <a:gd name="T47" fmla="*/ 2147483647 h 593"/>
                <a:gd name="T48" fmla="*/ 2147483647 w 174"/>
                <a:gd name="T49" fmla="*/ 2147483647 h 593"/>
                <a:gd name="T50" fmla="*/ 2147483647 w 174"/>
                <a:gd name="T51" fmla="*/ 2147483647 h 593"/>
                <a:gd name="T52" fmla="*/ 2147483647 w 174"/>
                <a:gd name="T53" fmla="*/ 2147483647 h 593"/>
                <a:gd name="T54" fmla="*/ 2147483647 w 174"/>
                <a:gd name="T55" fmla="*/ 2147483647 h 593"/>
                <a:gd name="T56" fmla="*/ 2147483647 w 174"/>
                <a:gd name="T57" fmla="*/ 2147483647 h 593"/>
                <a:gd name="T58" fmla="*/ 2147483647 w 174"/>
                <a:gd name="T59" fmla="*/ 2147483647 h 593"/>
                <a:gd name="T60" fmla="*/ 2147483647 w 174"/>
                <a:gd name="T61" fmla="*/ 2147483647 h 593"/>
                <a:gd name="T62" fmla="*/ 2147483647 w 174"/>
                <a:gd name="T63" fmla="*/ 2147483647 h 593"/>
                <a:gd name="T64" fmla="*/ 2147483647 w 174"/>
                <a:gd name="T65" fmla="*/ 2147483647 h 593"/>
                <a:gd name="T66" fmla="*/ 2147483647 w 174"/>
                <a:gd name="T67" fmla="*/ 2147483647 h 593"/>
                <a:gd name="T68" fmla="*/ 2147483647 w 174"/>
                <a:gd name="T69" fmla="*/ 2147483647 h 593"/>
                <a:gd name="T70" fmla="*/ 2147483647 w 174"/>
                <a:gd name="T71" fmla="*/ 2147483647 h 593"/>
                <a:gd name="T72" fmla="*/ 2147483647 w 174"/>
                <a:gd name="T73" fmla="*/ 2147483647 h 593"/>
                <a:gd name="T74" fmla="*/ 0 w 174"/>
                <a:gd name="T75" fmla="*/ 2147483647 h 593"/>
                <a:gd name="T76" fmla="*/ 2147483647 w 174"/>
                <a:gd name="T77" fmla="*/ 2147483647 h 593"/>
                <a:gd name="T78" fmla="*/ 2147483647 w 174"/>
                <a:gd name="T79" fmla="*/ 2147483647 h 593"/>
                <a:gd name="T80" fmla="*/ 2147483647 w 174"/>
                <a:gd name="T81" fmla="*/ 2147483647 h 593"/>
                <a:gd name="T82" fmla="*/ 2147483647 w 174"/>
                <a:gd name="T83" fmla="*/ 2147483647 h 593"/>
                <a:gd name="T84" fmla="*/ 2147483647 w 174"/>
                <a:gd name="T85" fmla="*/ 2147483647 h 593"/>
                <a:gd name="T86" fmla="*/ 2147483647 w 174"/>
                <a:gd name="T87" fmla="*/ 2147483647 h 593"/>
                <a:gd name="T88" fmla="*/ 2147483647 w 174"/>
                <a:gd name="T89" fmla="*/ 0 h 59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74"/>
                <a:gd name="T136" fmla="*/ 0 h 593"/>
                <a:gd name="T137" fmla="*/ 174 w 174"/>
                <a:gd name="T138" fmla="*/ 593 h 59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74" h="593">
                  <a:moveTo>
                    <a:pt x="34" y="208"/>
                  </a:moveTo>
                  <a:lnTo>
                    <a:pt x="35" y="211"/>
                  </a:lnTo>
                  <a:lnTo>
                    <a:pt x="37" y="215"/>
                  </a:lnTo>
                  <a:lnTo>
                    <a:pt x="37" y="216"/>
                  </a:lnTo>
                  <a:lnTo>
                    <a:pt x="37" y="220"/>
                  </a:lnTo>
                  <a:lnTo>
                    <a:pt x="37" y="219"/>
                  </a:lnTo>
                  <a:lnTo>
                    <a:pt x="35" y="217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2" y="208"/>
                  </a:lnTo>
                  <a:lnTo>
                    <a:pt x="34" y="208"/>
                  </a:lnTo>
                  <a:close/>
                  <a:moveTo>
                    <a:pt x="143" y="0"/>
                  </a:moveTo>
                  <a:lnTo>
                    <a:pt x="154" y="2"/>
                  </a:lnTo>
                  <a:lnTo>
                    <a:pt x="161" y="5"/>
                  </a:lnTo>
                  <a:lnTo>
                    <a:pt x="165" y="14"/>
                  </a:lnTo>
                  <a:lnTo>
                    <a:pt x="169" y="26"/>
                  </a:lnTo>
                  <a:lnTo>
                    <a:pt x="170" y="40"/>
                  </a:lnTo>
                  <a:lnTo>
                    <a:pt x="172" y="55"/>
                  </a:lnTo>
                  <a:lnTo>
                    <a:pt x="172" y="69"/>
                  </a:lnTo>
                  <a:lnTo>
                    <a:pt x="172" y="81"/>
                  </a:lnTo>
                  <a:lnTo>
                    <a:pt x="172" y="88"/>
                  </a:lnTo>
                  <a:lnTo>
                    <a:pt x="172" y="97"/>
                  </a:lnTo>
                  <a:lnTo>
                    <a:pt x="172" y="112"/>
                  </a:lnTo>
                  <a:lnTo>
                    <a:pt x="172" y="130"/>
                  </a:lnTo>
                  <a:lnTo>
                    <a:pt x="172" y="151"/>
                  </a:lnTo>
                  <a:lnTo>
                    <a:pt x="172" y="171"/>
                  </a:lnTo>
                  <a:lnTo>
                    <a:pt x="172" y="189"/>
                  </a:lnTo>
                  <a:lnTo>
                    <a:pt x="170" y="204"/>
                  </a:lnTo>
                  <a:lnTo>
                    <a:pt x="169" y="212"/>
                  </a:lnTo>
                  <a:lnTo>
                    <a:pt x="166" y="221"/>
                  </a:lnTo>
                  <a:lnTo>
                    <a:pt x="166" y="236"/>
                  </a:lnTo>
                  <a:lnTo>
                    <a:pt x="167" y="256"/>
                  </a:lnTo>
                  <a:lnTo>
                    <a:pt x="169" y="276"/>
                  </a:lnTo>
                  <a:lnTo>
                    <a:pt x="172" y="294"/>
                  </a:lnTo>
                  <a:lnTo>
                    <a:pt x="174" y="307"/>
                  </a:lnTo>
                  <a:lnTo>
                    <a:pt x="174" y="316"/>
                  </a:lnTo>
                  <a:lnTo>
                    <a:pt x="172" y="329"/>
                  </a:lnTo>
                  <a:lnTo>
                    <a:pt x="167" y="350"/>
                  </a:lnTo>
                  <a:lnTo>
                    <a:pt x="161" y="373"/>
                  </a:lnTo>
                  <a:lnTo>
                    <a:pt x="154" y="399"/>
                  </a:lnTo>
                  <a:lnTo>
                    <a:pt x="144" y="427"/>
                  </a:lnTo>
                  <a:lnTo>
                    <a:pt x="135" y="456"/>
                  </a:lnTo>
                  <a:lnTo>
                    <a:pt x="125" y="486"/>
                  </a:lnTo>
                  <a:lnTo>
                    <a:pt x="116" y="513"/>
                  </a:lnTo>
                  <a:lnTo>
                    <a:pt x="106" y="538"/>
                  </a:lnTo>
                  <a:lnTo>
                    <a:pt x="98" y="560"/>
                  </a:lnTo>
                  <a:lnTo>
                    <a:pt x="90" y="578"/>
                  </a:lnTo>
                  <a:lnTo>
                    <a:pt x="83" y="588"/>
                  </a:lnTo>
                  <a:lnTo>
                    <a:pt x="79" y="593"/>
                  </a:lnTo>
                  <a:lnTo>
                    <a:pt x="75" y="590"/>
                  </a:lnTo>
                  <a:lnTo>
                    <a:pt x="75" y="580"/>
                  </a:lnTo>
                  <a:lnTo>
                    <a:pt x="75" y="567"/>
                  </a:lnTo>
                  <a:lnTo>
                    <a:pt x="77" y="548"/>
                  </a:lnTo>
                  <a:lnTo>
                    <a:pt x="80" y="524"/>
                  </a:lnTo>
                  <a:lnTo>
                    <a:pt x="83" y="497"/>
                  </a:lnTo>
                  <a:lnTo>
                    <a:pt x="84" y="468"/>
                  </a:lnTo>
                  <a:lnTo>
                    <a:pt x="87" y="437"/>
                  </a:lnTo>
                  <a:lnTo>
                    <a:pt x="87" y="406"/>
                  </a:lnTo>
                  <a:lnTo>
                    <a:pt x="86" y="373"/>
                  </a:lnTo>
                  <a:lnTo>
                    <a:pt x="82" y="342"/>
                  </a:lnTo>
                  <a:lnTo>
                    <a:pt x="76" y="312"/>
                  </a:lnTo>
                  <a:lnTo>
                    <a:pt x="67" y="283"/>
                  </a:lnTo>
                  <a:lnTo>
                    <a:pt x="56" y="257"/>
                  </a:lnTo>
                  <a:lnTo>
                    <a:pt x="47" y="238"/>
                  </a:lnTo>
                  <a:lnTo>
                    <a:pt x="42" y="224"/>
                  </a:lnTo>
                  <a:lnTo>
                    <a:pt x="37" y="215"/>
                  </a:lnTo>
                  <a:lnTo>
                    <a:pt x="38" y="204"/>
                  </a:lnTo>
                  <a:lnTo>
                    <a:pt x="38" y="186"/>
                  </a:lnTo>
                  <a:lnTo>
                    <a:pt x="38" y="163"/>
                  </a:lnTo>
                  <a:lnTo>
                    <a:pt x="37" y="137"/>
                  </a:lnTo>
                  <a:lnTo>
                    <a:pt x="32" y="108"/>
                  </a:lnTo>
                  <a:lnTo>
                    <a:pt x="27" y="81"/>
                  </a:lnTo>
                  <a:lnTo>
                    <a:pt x="17" y="55"/>
                  </a:lnTo>
                  <a:lnTo>
                    <a:pt x="4" y="32"/>
                  </a:lnTo>
                  <a:lnTo>
                    <a:pt x="0" y="24"/>
                  </a:lnTo>
                  <a:lnTo>
                    <a:pt x="1" y="18"/>
                  </a:lnTo>
                  <a:lnTo>
                    <a:pt x="5" y="15"/>
                  </a:lnTo>
                  <a:lnTo>
                    <a:pt x="13" y="13"/>
                  </a:lnTo>
                  <a:lnTo>
                    <a:pt x="22" y="13"/>
                  </a:lnTo>
                  <a:lnTo>
                    <a:pt x="28" y="13"/>
                  </a:lnTo>
                  <a:lnTo>
                    <a:pt x="34" y="13"/>
                  </a:lnTo>
                  <a:lnTo>
                    <a:pt x="37" y="13"/>
                  </a:lnTo>
                  <a:lnTo>
                    <a:pt x="41" y="13"/>
                  </a:lnTo>
                  <a:lnTo>
                    <a:pt x="52" y="11"/>
                  </a:lnTo>
                  <a:lnTo>
                    <a:pt x="68" y="9"/>
                  </a:lnTo>
                  <a:lnTo>
                    <a:pt x="87" y="6"/>
                  </a:lnTo>
                  <a:lnTo>
                    <a:pt x="107" y="3"/>
                  </a:lnTo>
                  <a:lnTo>
                    <a:pt x="127" y="2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60" name="Freeform 304"/>
            <p:cNvSpPr>
              <a:spLocks/>
            </p:cNvSpPr>
            <p:nvPr/>
          </p:nvSpPr>
          <p:spPr bwMode="auto">
            <a:xfrm rot="1114411" flipH="1">
              <a:off x="2355051" y="4150249"/>
              <a:ext cx="296548" cy="617577"/>
            </a:xfrm>
            <a:custGeom>
              <a:avLst/>
              <a:gdLst>
                <a:gd name="T0" fmla="*/ 186365118 w 533"/>
                <a:gd name="T1" fmla="*/ 1766493 h 1110"/>
                <a:gd name="T2" fmla="*/ 251725298 w 533"/>
                <a:gd name="T3" fmla="*/ 19431420 h 1110"/>
                <a:gd name="T4" fmla="*/ 304720039 w 533"/>
                <a:gd name="T5" fmla="*/ 37096348 h 1110"/>
                <a:gd name="T6" fmla="*/ 332983901 w 533"/>
                <a:gd name="T7" fmla="*/ 37096348 h 1110"/>
                <a:gd name="T8" fmla="*/ 366547237 w 533"/>
                <a:gd name="T9" fmla="*/ 37096348 h 1110"/>
                <a:gd name="T10" fmla="*/ 419541978 w 533"/>
                <a:gd name="T11" fmla="*/ 50345322 h 1110"/>
                <a:gd name="T12" fmla="*/ 450455299 w 533"/>
                <a:gd name="T13" fmla="*/ 60944279 h 1110"/>
                <a:gd name="T14" fmla="*/ 461054247 w 533"/>
                <a:gd name="T15" fmla="*/ 90974656 h 1110"/>
                <a:gd name="T16" fmla="*/ 470770228 w 533"/>
                <a:gd name="T17" fmla="*/ 146618900 h 1110"/>
                <a:gd name="T18" fmla="*/ 463704263 w 533"/>
                <a:gd name="T19" fmla="*/ 193431237 h 1110"/>
                <a:gd name="T20" fmla="*/ 441622842 w 533"/>
                <a:gd name="T21" fmla="*/ 219928628 h 1110"/>
                <a:gd name="T22" fmla="*/ 406293015 w 533"/>
                <a:gd name="T23" fmla="*/ 261440930 h 1110"/>
                <a:gd name="T24" fmla="*/ 381562136 w 533"/>
                <a:gd name="T25" fmla="*/ 299420803 h 1110"/>
                <a:gd name="T26" fmla="*/ 378912677 w 533"/>
                <a:gd name="T27" fmla="*/ 322385209 h 1110"/>
                <a:gd name="T28" fmla="*/ 370963188 w 533"/>
                <a:gd name="T29" fmla="*/ 368314021 h 1110"/>
                <a:gd name="T30" fmla="*/ 348882324 w 533"/>
                <a:gd name="T31" fmla="*/ 434557221 h 1110"/>
                <a:gd name="T32" fmla="*/ 326800903 w 533"/>
                <a:gd name="T33" fmla="*/ 493735007 h 1110"/>
                <a:gd name="T34" fmla="*/ 311786005 w 533"/>
                <a:gd name="T35" fmla="*/ 522881860 h 1110"/>
                <a:gd name="T36" fmla="*/ 296770550 w 533"/>
                <a:gd name="T37" fmla="*/ 556445223 h 1110"/>
                <a:gd name="T38" fmla="*/ 272039671 w 533"/>
                <a:gd name="T39" fmla="*/ 616505977 h 1110"/>
                <a:gd name="T40" fmla="*/ 232293893 w 533"/>
                <a:gd name="T41" fmla="*/ 665967774 h 1110"/>
                <a:gd name="T42" fmla="*/ 209329505 w 533"/>
                <a:gd name="T43" fmla="*/ 707480633 h 1110"/>
                <a:gd name="T44" fmla="*/ 196964066 w 533"/>
                <a:gd name="T45" fmla="*/ 765774894 h 1110"/>
                <a:gd name="T46" fmla="*/ 192547559 w 533"/>
                <a:gd name="T47" fmla="*/ 794921747 h 1110"/>
                <a:gd name="T48" fmla="*/ 196080542 w 533"/>
                <a:gd name="T49" fmla="*/ 821419138 h 1110"/>
                <a:gd name="T50" fmla="*/ 196964066 w 533"/>
                <a:gd name="T51" fmla="*/ 874413921 h 1110"/>
                <a:gd name="T52" fmla="*/ 190781068 w 533"/>
                <a:gd name="T53" fmla="*/ 914160287 h 1110"/>
                <a:gd name="T54" fmla="*/ 177532661 w 533"/>
                <a:gd name="T55" fmla="*/ 942424171 h 1110"/>
                <a:gd name="T56" fmla="*/ 150151766 w 533"/>
                <a:gd name="T57" fmla="*/ 970688055 h 1110"/>
                <a:gd name="T58" fmla="*/ 106873006 w 533"/>
                <a:gd name="T59" fmla="*/ 979520519 h 1110"/>
                <a:gd name="T60" fmla="*/ 88324568 w 533"/>
                <a:gd name="T61" fmla="*/ 946840125 h 1110"/>
                <a:gd name="T62" fmla="*/ 103340023 w 533"/>
                <a:gd name="T63" fmla="*/ 900028345 h 1110"/>
                <a:gd name="T64" fmla="*/ 75076161 w 533"/>
                <a:gd name="T65" fmla="*/ 858515486 h 1110"/>
                <a:gd name="T66" fmla="*/ 35329827 w 533"/>
                <a:gd name="T67" fmla="*/ 830251602 h 1110"/>
                <a:gd name="T68" fmla="*/ 15015455 w 533"/>
                <a:gd name="T69" fmla="*/ 818769677 h 1110"/>
                <a:gd name="T70" fmla="*/ 883524 w 533"/>
                <a:gd name="T71" fmla="*/ 755175937 h 1110"/>
                <a:gd name="T72" fmla="*/ 23847912 w 533"/>
                <a:gd name="T73" fmla="*/ 718962558 h 1110"/>
                <a:gd name="T74" fmla="*/ 26497371 w 533"/>
                <a:gd name="T75" fmla="*/ 678333224 h 1110"/>
                <a:gd name="T76" fmla="*/ 26497371 w 533"/>
                <a:gd name="T77" fmla="*/ 605024052 h 1110"/>
                <a:gd name="T78" fmla="*/ 23847912 w 533"/>
                <a:gd name="T79" fmla="*/ 540546788 h 1110"/>
                <a:gd name="T80" fmla="*/ 97157025 w 533"/>
                <a:gd name="T81" fmla="*/ 278222890 h 1110"/>
                <a:gd name="T82" fmla="*/ 98040549 w 533"/>
                <a:gd name="T83" fmla="*/ 245542495 h 1110"/>
                <a:gd name="T84" fmla="*/ 99807041 w 533"/>
                <a:gd name="T85" fmla="*/ 169583306 h 1110"/>
                <a:gd name="T86" fmla="*/ 99807041 w 533"/>
                <a:gd name="T87" fmla="*/ 83025160 h 1110"/>
                <a:gd name="T88" fmla="*/ 96274058 w 533"/>
                <a:gd name="T89" fmla="*/ 17664928 h 1110"/>
                <a:gd name="T90" fmla="*/ 93624043 w 533"/>
                <a:gd name="T91" fmla="*/ 1766493 h 1110"/>
                <a:gd name="T92" fmla="*/ 140436342 w 533"/>
                <a:gd name="T93" fmla="*/ 0 h 1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33"/>
                <a:gd name="T142" fmla="*/ 0 h 1110"/>
                <a:gd name="T143" fmla="*/ 533 w 533"/>
                <a:gd name="T144" fmla="*/ 1110 h 111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33" h="1110">
                  <a:moveTo>
                    <a:pt x="159" y="0"/>
                  </a:moveTo>
                  <a:lnTo>
                    <a:pt x="185" y="0"/>
                  </a:lnTo>
                  <a:lnTo>
                    <a:pt x="211" y="2"/>
                  </a:lnTo>
                  <a:lnTo>
                    <a:pt x="237" y="5"/>
                  </a:lnTo>
                  <a:lnTo>
                    <a:pt x="260" y="12"/>
                  </a:lnTo>
                  <a:lnTo>
                    <a:pt x="285" y="22"/>
                  </a:lnTo>
                  <a:lnTo>
                    <a:pt x="306" y="30"/>
                  </a:lnTo>
                  <a:lnTo>
                    <a:pt x="327" y="37"/>
                  </a:lnTo>
                  <a:lnTo>
                    <a:pt x="345" y="42"/>
                  </a:lnTo>
                  <a:lnTo>
                    <a:pt x="358" y="45"/>
                  </a:lnTo>
                  <a:lnTo>
                    <a:pt x="370" y="46"/>
                  </a:lnTo>
                  <a:lnTo>
                    <a:pt x="377" y="42"/>
                  </a:lnTo>
                  <a:lnTo>
                    <a:pt x="385" y="39"/>
                  </a:lnTo>
                  <a:lnTo>
                    <a:pt x="398" y="41"/>
                  </a:lnTo>
                  <a:lnTo>
                    <a:pt x="415" y="42"/>
                  </a:lnTo>
                  <a:lnTo>
                    <a:pt x="436" y="46"/>
                  </a:lnTo>
                  <a:lnTo>
                    <a:pt x="456" y="52"/>
                  </a:lnTo>
                  <a:lnTo>
                    <a:pt x="475" y="57"/>
                  </a:lnTo>
                  <a:lnTo>
                    <a:pt x="492" y="62"/>
                  </a:lnTo>
                  <a:lnTo>
                    <a:pt x="504" y="67"/>
                  </a:lnTo>
                  <a:lnTo>
                    <a:pt x="510" y="69"/>
                  </a:lnTo>
                  <a:lnTo>
                    <a:pt x="512" y="75"/>
                  </a:lnTo>
                  <a:lnTo>
                    <a:pt x="516" y="87"/>
                  </a:lnTo>
                  <a:lnTo>
                    <a:pt x="522" y="103"/>
                  </a:lnTo>
                  <a:lnTo>
                    <a:pt x="526" y="123"/>
                  </a:lnTo>
                  <a:lnTo>
                    <a:pt x="530" y="144"/>
                  </a:lnTo>
                  <a:lnTo>
                    <a:pt x="533" y="166"/>
                  </a:lnTo>
                  <a:lnTo>
                    <a:pt x="533" y="187"/>
                  </a:lnTo>
                  <a:lnTo>
                    <a:pt x="530" y="204"/>
                  </a:lnTo>
                  <a:lnTo>
                    <a:pt x="525" y="219"/>
                  </a:lnTo>
                  <a:lnTo>
                    <a:pt x="519" y="226"/>
                  </a:lnTo>
                  <a:lnTo>
                    <a:pt x="511" y="236"/>
                  </a:lnTo>
                  <a:lnTo>
                    <a:pt x="500" y="249"/>
                  </a:lnTo>
                  <a:lnTo>
                    <a:pt x="488" y="263"/>
                  </a:lnTo>
                  <a:lnTo>
                    <a:pt x="474" y="279"/>
                  </a:lnTo>
                  <a:lnTo>
                    <a:pt x="460" y="296"/>
                  </a:lnTo>
                  <a:lnTo>
                    <a:pt x="450" y="311"/>
                  </a:lnTo>
                  <a:lnTo>
                    <a:pt x="439" y="326"/>
                  </a:lnTo>
                  <a:lnTo>
                    <a:pt x="432" y="339"/>
                  </a:lnTo>
                  <a:lnTo>
                    <a:pt x="428" y="350"/>
                  </a:lnTo>
                  <a:lnTo>
                    <a:pt x="428" y="357"/>
                  </a:lnTo>
                  <a:lnTo>
                    <a:pt x="429" y="365"/>
                  </a:lnTo>
                  <a:lnTo>
                    <a:pt x="428" y="379"/>
                  </a:lnTo>
                  <a:lnTo>
                    <a:pt x="425" y="397"/>
                  </a:lnTo>
                  <a:lnTo>
                    <a:pt x="420" y="417"/>
                  </a:lnTo>
                  <a:lnTo>
                    <a:pt x="413" y="442"/>
                  </a:lnTo>
                  <a:lnTo>
                    <a:pt x="405" y="466"/>
                  </a:lnTo>
                  <a:lnTo>
                    <a:pt x="395" y="492"/>
                  </a:lnTo>
                  <a:lnTo>
                    <a:pt x="387" y="515"/>
                  </a:lnTo>
                  <a:lnTo>
                    <a:pt x="377" y="539"/>
                  </a:lnTo>
                  <a:lnTo>
                    <a:pt x="370" y="559"/>
                  </a:lnTo>
                  <a:lnTo>
                    <a:pt x="362" y="575"/>
                  </a:lnTo>
                  <a:lnTo>
                    <a:pt x="357" y="586"/>
                  </a:lnTo>
                  <a:lnTo>
                    <a:pt x="353" y="592"/>
                  </a:lnTo>
                  <a:lnTo>
                    <a:pt x="349" y="599"/>
                  </a:lnTo>
                  <a:lnTo>
                    <a:pt x="343" y="612"/>
                  </a:lnTo>
                  <a:lnTo>
                    <a:pt x="336" y="630"/>
                  </a:lnTo>
                  <a:lnTo>
                    <a:pt x="328" y="652"/>
                  </a:lnTo>
                  <a:lnTo>
                    <a:pt x="319" y="675"/>
                  </a:lnTo>
                  <a:lnTo>
                    <a:pt x="308" y="698"/>
                  </a:lnTo>
                  <a:lnTo>
                    <a:pt x="294" y="720"/>
                  </a:lnTo>
                  <a:lnTo>
                    <a:pt x="280" y="739"/>
                  </a:lnTo>
                  <a:lnTo>
                    <a:pt x="263" y="754"/>
                  </a:lnTo>
                  <a:lnTo>
                    <a:pt x="253" y="764"/>
                  </a:lnTo>
                  <a:lnTo>
                    <a:pt x="245" y="780"/>
                  </a:lnTo>
                  <a:lnTo>
                    <a:pt x="237" y="801"/>
                  </a:lnTo>
                  <a:lnTo>
                    <a:pt x="231" y="824"/>
                  </a:lnTo>
                  <a:lnTo>
                    <a:pt x="226" y="846"/>
                  </a:lnTo>
                  <a:lnTo>
                    <a:pt x="223" y="867"/>
                  </a:lnTo>
                  <a:lnTo>
                    <a:pt x="220" y="885"/>
                  </a:lnTo>
                  <a:lnTo>
                    <a:pt x="219" y="896"/>
                  </a:lnTo>
                  <a:lnTo>
                    <a:pt x="218" y="900"/>
                  </a:lnTo>
                  <a:lnTo>
                    <a:pt x="219" y="904"/>
                  </a:lnTo>
                  <a:lnTo>
                    <a:pt x="220" y="915"/>
                  </a:lnTo>
                  <a:lnTo>
                    <a:pt x="222" y="930"/>
                  </a:lnTo>
                  <a:lnTo>
                    <a:pt x="223" y="948"/>
                  </a:lnTo>
                  <a:lnTo>
                    <a:pt x="223" y="970"/>
                  </a:lnTo>
                  <a:lnTo>
                    <a:pt x="223" y="990"/>
                  </a:lnTo>
                  <a:lnTo>
                    <a:pt x="222" y="1011"/>
                  </a:lnTo>
                  <a:lnTo>
                    <a:pt x="218" y="1030"/>
                  </a:lnTo>
                  <a:lnTo>
                    <a:pt x="216" y="1035"/>
                  </a:lnTo>
                  <a:lnTo>
                    <a:pt x="214" y="1043"/>
                  </a:lnTo>
                  <a:lnTo>
                    <a:pt x="208" y="1054"/>
                  </a:lnTo>
                  <a:lnTo>
                    <a:pt x="201" y="1067"/>
                  </a:lnTo>
                  <a:lnTo>
                    <a:pt x="193" y="1079"/>
                  </a:lnTo>
                  <a:lnTo>
                    <a:pt x="182" y="1090"/>
                  </a:lnTo>
                  <a:lnTo>
                    <a:pt x="170" y="1099"/>
                  </a:lnTo>
                  <a:lnTo>
                    <a:pt x="155" y="1106"/>
                  </a:lnTo>
                  <a:lnTo>
                    <a:pt x="139" y="1110"/>
                  </a:lnTo>
                  <a:lnTo>
                    <a:pt x="121" y="1109"/>
                  </a:lnTo>
                  <a:lnTo>
                    <a:pt x="100" y="1102"/>
                  </a:lnTo>
                  <a:lnTo>
                    <a:pt x="77" y="1090"/>
                  </a:lnTo>
                  <a:lnTo>
                    <a:pt x="100" y="1072"/>
                  </a:lnTo>
                  <a:lnTo>
                    <a:pt x="113" y="1054"/>
                  </a:lnTo>
                  <a:lnTo>
                    <a:pt x="118" y="1035"/>
                  </a:lnTo>
                  <a:lnTo>
                    <a:pt x="117" y="1019"/>
                  </a:lnTo>
                  <a:lnTo>
                    <a:pt x="110" y="1002"/>
                  </a:lnTo>
                  <a:lnTo>
                    <a:pt x="99" y="986"/>
                  </a:lnTo>
                  <a:lnTo>
                    <a:pt x="85" y="972"/>
                  </a:lnTo>
                  <a:lnTo>
                    <a:pt x="70" y="960"/>
                  </a:lnTo>
                  <a:lnTo>
                    <a:pt x="54" y="949"/>
                  </a:lnTo>
                  <a:lnTo>
                    <a:pt x="40" y="940"/>
                  </a:lnTo>
                  <a:lnTo>
                    <a:pt x="28" y="933"/>
                  </a:lnTo>
                  <a:lnTo>
                    <a:pt x="20" y="929"/>
                  </a:lnTo>
                  <a:lnTo>
                    <a:pt x="17" y="927"/>
                  </a:lnTo>
                  <a:lnTo>
                    <a:pt x="0" y="862"/>
                  </a:lnTo>
                  <a:lnTo>
                    <a:pt x="0" y="861"/>
                  </a:lnTo>
                  <a:lnTo>
                    <a:pt x="1" y="855"/>
                  </a:lnTo>
                  <a:lnTo>
                    <a:pt x="6" y="846"/>
                  </a:lnTo>
                  <a:lnTo>
                    <a:pt x="13" y="832"/>
                  </a:lnTo>
                  <a:lnTo>
                    <a:pt x="27" y="814"/>
                  </a:lnTo>
                  <a:lnTo>
                    <a:pt x="28" y="806"/>
                  </a:lnTo>
                  <a:lnTo>
                    <a:pt x="30" y="790"/>
                  </a:lnTo>
                  <a:lnTo>
                    <a:pt x="30" y="768"/>
                  </a:lnTo>
                  <a:lnTo>
                    <a:pt x="31" y="742"/>
                  </a:lnTo>
                  <a:lnTo>
                    <a:pt x="30" y="715"/>
                  </a:lnTo>
                  <a:lnTo>
                    <a:pt x="30" y="685"/>
                  </a:lnTo>
                  <a:lnTo>
                    <a:pt x="28" y="657"/>
                  </a:lnTo>
                  <a:lnTo>
                    <a:pt x="28" y="633"/>
                  </a:lnTo>
                  <a:lnTo>
                    <a:pt x="27" y="612"/>
                  </a:lnTo>
                  <a:lnTo>
                    <a:pt x="27" y="600"/>
                  </a:lnTo>
                  <a:lnTo>
                    <a:pt x="27" y="595"/>
                  </a:lnTo>
                  <a:lnTo>
                    <a:pt x="110" y="315"/>
                  </a:lnTo>
                  <a:lnTo>
                    <a:pt x="110" y="311"/>
                  </a:lnTo>
                  <a:lnTo>
                    <a:pt x="111" y="299"/>
                  </a:lnTo>
                  <a:lnTo>
                    <a:pt x="111" y="278"/>
                  </a:lnTo>
                  <a:lnTo>
                    <a:pt x="113" y="253"/>
                  </a:lnTo>
                  <a:lnTo>
                    <a:pt x="113" y="225"/>
                  </a:lnTo>
                  <a:lnTo>
                    <a:pt x="113" y="192"/>
                  </a:lnTo>
                  <a:lnTo>
                    <a:pt x="114" y="159"/>
                  </a:lnTo>
                  <a:lnTo>
                    <a:pt x="114" y="127"/>
                  </a:lnTo>
                  <a:lnTo>
                    <a:pt x="113" y="94"/>
                  </a:lnTo>
                  <a:lnTo>
                    <a:pt x="113" y="65"/>
                  </a:lnTo>
                  <a:lnTo>
                    <a:pt x="111" y="41"/>
                  </a:lnTo>
                  <a:lnTo>
                    <a:pt x="109" y="20"/>
                  </a:lnTo>
                  <a:lnTo>
                    <a:pt x="106" y="8"/>
                  </a:lnTo>
                  <a:lnTo>
                    <a:pt x="102" y="4"/>
                  </a:lnTo>
                  <a:lnTo>
                    <a:pt x="106" y="2"/>
                  </a:lnTo>
                  <a:lnTo>
                    <a:pt x="118" y="1"/>
                  </a:lnTo>
                  <a:lnTo>
                    <a:pt x="137" y="1"/>
                  </a:lnTo>
                  <a:lnTo>
                    <a:pt x="159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1" name="Freeform 446"/>
            <p:cNvSpPr>
              <a:spLocks/>
            </p:cNvSpPr>
            <p:nvPr/>
          </p:nvSpPr>
          <p:spPr bwMode="auto">
            <a:xfrm rot="1114411" flipH="1">
              <a:off x="2350474" y="4168155"/>
              <a:ext cx="158567" cy="310458"/>
            </a:xfrm>
            <a:custGeom>
              <a:avLst/>
              <a:gdLst>
                <a:gd name="T0" fmla="*/ 2147483647 w 285"/>
                <a:gd name="T1" fmla="*/ 2147483647 h 558"/>
                <a:gd name="T2" fmla="*/ 2147483647 w 285"/>
                <a:gd name="T3" fmla="*/ 2147483647 h 558"/>
                <a:gd name="T4" fmla="*/ 2147483647 w 285"/>
                <a:gd name="T5" fmla="*/ 2147483647 h 558"/>
                <a:gd name="T6" fmla="*/ 2147483647 w 285"/>
                <a:gd name="T7" fmla="*/ 2147483647 h 558"/>
                <a:gd name="T8" fmla="*/ 2147483647 w 285"/>
                <a:gd name="T9" fmla="*/ 2147483647 h 558"/>
                <a:gd name="T10" fmla="*/ 2147483647 w 285"/>
                <a:gd name="T11" fmla="*/ 2147483647 h 558"/>
                <a:gd name="T12" fmla="*/ 2147483647 w 285"/>
                <a:gd name="T13" fmla="*/ 2147483647 h 558"/>
                <a:gd name="T14" fmla="*/ 2147483647 w 285"/>
                <a:gd name="T15" fmla="*/ 2147483647 h 558"/>
                <a:gd name="T16" fmla="*/ 2147483647 w 285"/>
                <a:gd name="T17" fmla="*/ 2147483647 h 558"/>
                <a:gd name="T18" fmla="*/ 2147483647 w 285"/>
                <a:gd name="T19" fmla="*/ 2147483647 h 558"/>
                <a:gd name="T20" fmla="*/ 2147483647 w 285"/>
                <a:gd name="T21" fmla="*/ 2147483647 h 558"/>
                <a:gd name="T22" fmla="*/ 2147483647 w 285"/>
                <a:gd name="T23" fmla="*/ 2147483647 h 558"/>
                <a:gd name="T24" fmla="*/ 2147483647 w 285"/>
                <a:gd name="T25" fmla="*/ 2147483647 h 558"/>
                <a:gd name="T26" fmla="*/ 2147483647 w 285"/>
                <a:gd name="T27" fmla="*/ 2147483647 h 558"/>
                <a:gd name="T28" fmla="*/ 2147483647 w 285"/>
                <a:gd name="T29" fmla="*/ 2147483647 h 558"/>
                <a:gd name="T30" fmla="*/ 2147483647 w 285"/>
                <a:gd name="T31" fmla="*/ 2147483647 h 558"/>
                <a:gd name="T32" fmla="*/ 2147483647 w 285"/>
                <a:gd name="T33" fmla="*/ 2147483647 h 558"/>
                <a:gd name="T34" fmla="*/ 2147483647 w 285"/>
                <a:gd name="T35" fmla="*/ 2147483647 h 558"/>
                <a:gd name="T36" fmla="*/ 2147483647 w 285"/>
                <a:gd name="T37" fmla="*/ 2147483647 h 558"/>
                <a:gd name="T38" fmla="*/ 2147483647 w 285"/>
                <a:gd name="T39" fmla="*/ 2147483647 h 558"/>
                <a:gd name="T40" fmla="*/ 2147483647 w 285"/>
                <a:gd name="T41" fmla="*/ 2147483647 h 558"/>
                <a:gd name="T42" fmla="*/ 2147483647 w 285"/>
                <a:gd name="T43" fmla="*/ 2147483647 h 558"/>
                <a:gd name="T44" fmla="*/ 2147483647 w 285"/>
                <a:gd name="T45" fmla="*/ 2147483647 h 558"/>
                <a:gd name="T46" fmla="*/ 2147483647 w 285"/>
                <a:gd name="T47" fmla="*/ 2147483647 h 558"/>
                <a:gd name="T48" fmla="*/ 2147483647 w 285"/>
                <a:gd name="T49" fmla="*/ 2147483647 h 558"/>
                <a:gd name="T50" fmla="*/ 2147483647 w 285"/>
                <a:gd name="T51" fmla="*/ 2147483647 h 558"/>
                <a:gd name="T52" fmla="*/ 2147483647 w 285"/>
                <a:gd name="T53" fmla="*/ 2147483647 h 558"/>
                <a:gd name="T54" fmla="*/ 2147483647 w 285"/>
                <a:gd name="T55" fmla="*/ 2147483647 h 558"/>
                <a:gd name="T56" fmla="*/ 2147483647 w 285"/>
                <a:gd name="T57" fmla="*/ 2147483647 h 558"/>
                <a:gd name="T58" fmla="*/ 2147483647 w 285"/>
                <a:gd name="T59" fmla="*/ 2147483647 h 558"/>
                <a:gd name="T60" fmla="*/ 2147483647 w 285"/>
                <a:gd name="T61" fmla="*/ 2147483647 h 558"/>
                <a:gd name="T62" fmla="*/ 2147483647 w 285"/>
                <a:gd name="T63" fmla="*/ 2147483647 h 558"/>
                <a:gd name="T64" fmla="*/ 2147483647 w 285"/>
                <a:gd name="T65" fmla="*/ 0 h 55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5"/>
                <a:gd name="T100" fmla="*/ 0 h 558"/>
                <a:gd name="T101" fmla="*/ 285 w 285"/>
                <a:gd name="T102" fmla="*/ 558 h 55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5" h="558">
                  <a:moveTo>
                    <a:pt x="188" y="0"/>
                  </a:moveTo>
                  <a:lnTo>
                    <a:pt x="281" y="37"/>
                  </a:lnTo>
                  <a:lnTo>
                    <a:pt x="282" y="40"/>
                  </a:lnTo>
                  <a:lnTo>
                    <a:pt x="283" y="48"/>
                  </a:lnTo>
                  <a:lnTo>
                    <a:pt x="285" y="59"/>
                  </a:lnTo>
                  <a:lnTo>
                    <a:pt x="285" y="72"/>
                  </a:lnTo>
                  <a:lnTo>
                    <a:pt x="283" y="87"/>
                  </a:lnTo>
                  <a:lnTo>
                    <a:pt x="278" y="101"/>
                  </a:lnTo>
                  <a:lnTo>
                    <a:pt x="270" y="112"/>
                  </a:lnTo>
                  <a:lnTo>
                    <a:pt x="273" y="136"/>
                  </a:lnTo>
                  <a:lnTo>
                    <a:pt x="275" y="156"/>
                  </a:lnTo>
                  <a:lnTo>
                    <a:pt x="274" y="173"/>
                  </a:lnTo>
                  <a:lnTo>
                    <a:pt x="270" y="187"/>
                  </a:lnTo>
                  <a:lnTo>
                    <a:pt x="262" y="199"/>
                  </a:lnTo>
                  <a:lnTo>
                    <a:pt x="247" y="212"/>
                  </a:lnTo>
                  <a:lnTo>
                    <a:pt x="225" y="222"/>
                  </a:lnTo>
                  <a:lnTo>
                    <a:pt x="222" y="224"/>
                  </a:lnTo>
                  <a:lnTo>
                    <a:pt x="215" y="229"/>
                  </a:lnTo>
                  <a:lnTo>
                    <a:pt x="204" y="237"/>
                  </a:lnTo>
                  <a:lnTo>
                    <a:pt x="192" y="247"/>
                  </a:lnTo>
                  <a:lnTo>
                    <a:pt x="178" y="259"/>
                  </a:lnTo>
                  <a:lnTo>
                    <a:pt x="163" y="273"/>
                  </a:lnTo>
                  <a:lnTo>
                    <a:pt x="151" y="287"/>
                  </a:lnTo>
                  <a:lnTo>
                    <a:pt x="142" y="300"/>
                  </a:lnTo>
                  <a:lnTo>
                    <a:pt x="133" y="314"/>
                  </a:lnTo>
                  <a:lnTo>
                    <a:pt x="131" y="327"/>
                  </a:lnTo>
                  <a:lnTo>
                    <a:pt x="129" y="340"/>
                  </a:lnTo>
                  <a:lnTo>
                    <a:pt x="124" y="356"/>
                  </a:lnTo>
                  <a:lnTo>
                    <a:pt x="117" y="375"/>
                  </a:lnTo>
                  <a:lnTo>
                    <a:pt x="106" y="398"/>
                  </a:lnTo>
                  <a:lnTo>
                    <a:pt x="95" y="422"/>
                  </a:lnTo>
                  <a:lnTo>
                    <a:pt x="82" y="446"/>
                  </a:lnTo>
                  <a:lnTo>
                    <a:pt x="68" y="471"/>
                  </a:lnTo>
                  <a:lnTo>
                    <a:pt x="54" y="494"/>
                  </a:lnTo>
                  <a:lnTo>
                    <a:pt x="41" y="514"/>
                  </a:lnTo>
                  <a:lnTo>
                    <a:pt x="28" y="532"/>
                  </a:lnTo>
                  <a:lnTo>
                    <a:pt x="16" y="546"/>
                  </a:lnTo>
                  <a:lnTo>
                    <a:pt x="7" y="555"/>
                  </a:lnTo>
                  <a:lnTo>
                    <a:pt x="0" y="558"/>
                  </a:lnTo>
                  <a:lnTo>
                    <a:pt x="19" y="524"/>
                  </a:lnTo>
                  <a:lnTo>
                    <a:pt x="37" y="487"/>
                  </a:lnTo>
                  <a:lnTo>
                    <a:pt x="53" y="452"/>
                  </a:lnTo>
                  <a:lnTo>
                    <a:pt x="65" y="416"/>
                  </a:lnTo>
                  <a:lnTo>
                    <a:pt x="76" y="383"/>
                  </a:lnTo>
                  <a:lnTo>
                    <a:pt x="84" y="355"/>
                  </a:lnTo>
                  <a:lnTo>
                    <a:pt x="91" y="330"/>
                  </a:lnTo>
                  <a:lnTo>
                    <a:pt x="95" y="311"/>
                  </a:lnTo>
                  <a:lnTo>
                    <a:pt x="98" y="299"/>
                  </a:lnTo>
                  <a:lnTo>
                    <a:pt x="98" y="295"/>
                  </a:lnTo>
                  <a:lnTo>
                    <a:pt x="98" y="291"/>
                  </a:lnTo>
                  <a:lnTo>
                    <a:pt x="98" y="281"/>
                  </a:lnTo>
                  <a:lnTo>
                    <a:pt x="99" y="269"/>
                  </a:lnTo>
                  <a:lnTo>
                    <a:pt x="103" y="254"/>
                  </a:lnTo>
                  <a:lnTo>
                    <a:pt x="109" y="240"/>
                  </a:lnTo>
                  <a:lnTo>
                    <a:pt x="120" y="228"/>
                  </a:lnTo>
                  <a:lnTo>
                    <a:pt x="128" y="221"/>
                  </a:lnTo>
                  <a:lnTo>
                    <a:pt x="138" y="210"/>
                  </a:lnTo>
                  <a:lnTo>
                    <a:pt x="148" y="196"/>
                  </a:lnTo>
                  <a:lnTo>
                    <a:pt x="159" y="183"/>
                  </a:lnTo>
                  <a:lnTo>
                    <a:pt x="170" y="168"/>
                  </a:lnTo>
                  <a:lnTo>
                    <a:pt x="181" y="153"/>
                  </a:lnTo>
                  <a:lnTo>
                    <a:pt x="189" y="141"/>
                  </a:lnTo>
                  <a:lnTo>
                    <a:pt x="198" y="130"/>
                  </a:lnTo>
                  <a:lnTo>
                    <a:pt x="202" y="123"/>
                  </a:lnTo>
                  <a:lnTo>
                    <a:pt x="203" y="120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2" name="Freeform 447"/>
            <p:cNvSpPr>
              <a:spLocks/>
            </p:cNvSpPr>
            <p:nvPr/>
          </p:nvSpPr>
          <p:spPr bwMode="auto">
            <a:xfrm rot="1114411" flipH="1">
              <a:off x="2140420" y="4164754"/>
              <a:ext cx="388906" cy="578074"/>
            </a:xfrm>
            <a:custGeom>
              <a:avLst/>
              <a:gdLst>
                <a:gd name="T0" fmla="*/ 388627813 w 699"/>
                <a:gd name="T1" fmla="*/ 883524 h 1039"/>
                <a:gd name="T2" fmla="*/ 434556554 w 699"/>
                <a:gd name="T3" fmla="*/ 18548442 h 1039"/>
                <a:gd name="T4" fmla="*/ 468119865 w 699"/>
                <a:gd name="T5" fmla="*/ 64477228 h 1039"/>
                <a:gd name="T6" fmla="*/ 520231600 w 699"/>
                <a:gd name="T7" fmla="*/ 111288982 h 1039"/>
                <a:gd name="T8" fmla="*/ 576759282 w 699"/>
                <a:gd name="T9" fmla="*/ 145735849 h 1039"/>
                <a:gd name="T10" fmla="*/ 603256633 w 699"/>
                <a:gd name="T11" fmla="*/ 164283735 h 1039"/>
                <a:gd name="T12" fmla="*/ 610322593 w 699"/>
                <a:gd name="T13" fmla="*/ 177532701 h 1039"/>
                <a:gd name="T14" fmla="*/ 617388553 w 699"/>
                <a:gd name="T15" fmla="*/ 203146554 h 1039"/>
                <a:gd name="T16" fmla="*/ 603256633 w 699"/>
                <a:gd name="T17" fmla="*/ 245542356 h 1039"/>
                <a:gd name="T18" fmla="*/ 567043308 w 699"/>
                <a:gd name="T19" fmla="*/ 292354666 h 1039"/>
                <a:gd name="T20" fmla="*/ 517581587 w 699"/>
                <a:gd name="T21" fmla="*/ 359481354 h 1039"/>
                <a:gd name="T22" fmla="*/ 461053905 w 699"/>
                <a:gd name="T23" fmla="*/ 438089959 h 1039"/>
                <a:gd name="T24" fmla="*/ 407176236 w 699"/>
                <a:gd name="T25" fmla="*/ 513166138 h 1039"/>
                <a:gd name="T26" fmla="*/ 367429932 w 699"/>
                <a:gd name="T27" fmla="*/ 569693874 h 1039"/>
                <a:gd name="T28" fmla="*/ 351531521 w 699"/>
                <a:gd name="T29" fmla="*/ 590891776 h 1039"/>
                <a:gd name="T30" fmla="*/ 339166091 w 699"/>
                <a:gd name="T31" fmla="*/ 615622660 h 1039"/>
                <a:gd name="T32" fmla="*/ 307369270 w 699"/>
                <a:gd name="T33" fmla="*/ 665084430 h 1039"/>
                <a:gd name="T34" fmla="*/ 265857032 w 699"/>
                <a:gd name="T35" fmla="*/ 711896184 h 1039"/>
                <a:gd name="T36" fmla="*/ 227877217 w 699"/>
                <a:gd name="T37" fmla="*/ 795804821 h 1039"/>
                <a:gd name="T38" fmla="*/ 182831999 w 699"/>
                <a:gd name="T39" fmla="*/ 868230984 h 1039"/>
                <a:gd name="T40" fmla="*/ 139552715 w 699"/>
                <a:gd name="T41" fmla="*/ 904443787 h 1039"/>
                <a:gd name="T42" fmla="*/ 108639417 w 699"/>
                <a:gd name="T43" fmla="*/ 916809229 h 1039"/>
                <a:gd name="T44" fmla="*/ 95390463 w 699"/>
                <a:gd name="T45" fmla="*/ 917692753 h 1039"/>
                <a:gd name="T46" fmla="*/ 63593642 w 699"/>
                <a:gd name="T47" fmla="*/ 913276246 h 1039"/>
                <a:gd name="T48" fmla="*/ 26497351 w 699"/>
                <a:gd name="T49" fmla="*/ 894728360 h 1039"/>
                <a:gd name="T50" fmla="*/ 883523 w 699"/>
                <a:gd name="T51" fmla="*/ 850566066 h 1039"/>
                <a:gd name="T52" fmla="*/ 3532980 w 699"/>
                <a:gd name="T53" fmla="*/ 810819723 h 1039"/>
                <a:gd name="T54" fmla="*/ 15898411 w 699"/>
                <a:gd name="T55" fmla="*/ 764890937 h 1039"/>
                <a:gd name="T56" fmla="*/ 13248954 w 699"/>
                <a:gd name="T57" fmla="*/ 718962151 h 1039"/>
                <a:gd name="T58" fmla="*/ 9715974 w 699"/>
                <a:gd name="T59" fmla="*/ 665967398 h 1039"/>
                <a:gd name="T60" fmla="*/ 29147364 w 699"/>
                <a:gd name="T61" fmla="*/ 597074219 h 1039"/>
                <a:gd name="T62" fmla="*/ 60944185 w 699"/>
                <a:gd name="T63" fmla="*/ 539663514 h 1039"/>
                <a:gd name="T64" fmla="*/ 95390463 w 699"/>
                <a:gd name="T65" fmla="*/ 484018745 h 1039"/>
                <a:gd name="T66" fmla="*/ 113938887 w 699"/>
                <a:gd name="T67" fmla="*/ 448688910 h 1039"/>
                <a:gd name="T68" fmla="*/ 122771337 w 699"/>
                <a:gd name="T69" fmla="*/ 435440500 h 1039"/>
                <a:gd name="T70" fmla="*/ 152801668 w 699"/>
                <a:gd name="T71" fmla="*/ 391278205 h 1039"/>
                <a:gd name="T72" fmla="*/ 189897959 w 699"/>
                <a:gd name="T73" fmla="*/ 329450993 h 1039"/>
                <a:gd name="T74" fmla="*/ 218161800 w 699"/>
                <a:gd name="T75" fmla="*/ 272039733 h 1039"/>
                <a:gd name="T76" fmla="*/ 235826701 w 699"/>
                <a:gd name="T77" fmla="*/ 226994471 h 1039"/>
                <a:gd name="T78" fmla="*/ 272922992 w 699"/>
                <a:gd name="T79" fmla="*/ 181948652 h 1039"/>
                <a:gd name="T80" fmla="*/ 312668740 w 699"/>
                <a:gd name="T81" fmla="*/ 145735849 h 1039"/>
                <a:gd name="T82" fmla="*/ 331217164 w 699"/>
                <a:gd name="T83" fmla="*/ 129837423 h 1039"/>
                <a:gd name="T84" fmla="*/ 364780475 w 699"/>
                <a:gd name="T85" fmla="*/ 0 h 10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99"/>
                <a:gd name="T130" fmla="*/ 0 h 1039"/>
                <a:gd name="T131" fmla="*/ 699 w 699"/>
                <a:gd name="T132" fmla="*/ 1039 h 10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99" h="1039">
                  <a:moveTo>
                    <a:pt x="413" y="0"/>
                  </a:moveTo>
                  <a:lnTo>
                    <a:pt x="425" y="0"/>
                  </a:lnTo>
                  <a:lnTo>
                    <a:pt x="440" y="1"/>
                  </a:lnTo>
                  <a:lnTo>
                    <a:pt x="457" y="5"/>
                  </a:lnTo>
                  <a:lnTo>
                    <a:pt x="474" y="10"/>
                  </a:lnTo>
                  <a:lnTo>
                    <a:pt x="492" y="21"/>
                  </a:lnTo>
                  <a:lnTo>
                    <a:pt x="506" y="35"/>
                  </a:lnTo>
                  <a:lnTo>
                    <a:pt x="518" y="54"/>
                  </a:lnTo>
                  <a:lnTo>
                    <a:pt x="530" y="73"/>
                  </a:lnTo>
                  <a:lnTo>
                    <a:pt x="547" y="92"/>
                  </a:lnTo>
                  <a:lnTo>
                    <a:pt x="567" y="110"/>
                  </a:lnTo>
                  <a:lnTo>
                    <a:pt x="589" y="126"/>
                  </a:lnTo>
                  <a:lnTo>
                    <a:pt x="612" y="140"/>
                  </a:lnTo>
                  <a:lnTo>
                    <a:pt x="634" y="154"/>
                  </a:lnTo>
                  <a:lnTo>
                    <a:pt x="653" y="165"/>
                  </a:lnTo>
                  <a:lnTo>
                    <a:pt x="669" y="174"/>
                  </a:lnTo>
                  <a:lnTo>
                    <a:pt x="679" y="181"/>
                  </a:lnTo>
                  <a:lnTo>
                    <a:pt x="683" y="186"/>
                  </a:lnTo>
                  <a:lnTo>
                    <a:pt x="684" y="191"/>
                  </a:lnTo>
                  <a:lnTo>
                    <a:pt x="687" y="196"/>
                  </a:lnTo>
                  <a:lnTo>
                    <a:pt x="691" y="201"/>
                  </a:lnTo>
                  <a:lnTo>
                    <a:pt x="695" y="210"/>
                  </a:lnTo>
                  <a:lnTo>
                    <a:pt x="698" y="219"/>
                  </a:lnTo>
                  <a:lnTo>
                    <a:pt x="699" y="230"/>
                  </a:lnTo>
                  <a:lnTo>
                    <a:pt x="698" y="244"/>
                  </a:lnTo>
                  <a:lnTo>
                    <a:pt x="693" y="259"/>
                  </a:lnTo>
                  <a:lnTo>
                    <a:pt x="683" y="278"/>
                  </a:lnTo>
                  <a:lnTo>
                    <a:pt x="668" y="297"/>
                  </a:lnTo>
                  <a:lnTo>
                    <a:pt x="656" y="312"/>
                  </a:lnTo>
                  <a:lnTo>
                    <a:pt x="642" y="331"/>
                  </a:lnTo>
                  <a:lnTo>
                    <a:pt x="624" y="354"/>
                  </a:lnTo>
                  <a:lnTo>
                    <a:pt x="605" y="379"/>
                  </a:lnTo>
                  <a:lnTo>
                    <a:pt x="586" y="407"/>
                  </a:lnTo>
                  <a:lnTo>
                    <a:pt x="564" y="436"/>
                  </a:lnTo>
                  <a:lnTo>
                    <a:pt x="543" y="466"/>
                  </a:lnTo>
                  <a:lnTo>
                    <a:pt x="522" y="496"/>
                  </a:lnTo>
                  <a:lnTo>
                    <a:pt x="500" y="525"/>
                  </a:lnTo>
                  <a:lnTo>
                    <a:pt x="480" y="553"/>
                  </a:lnTo>
                  <a:lnTo>
                    <a:pt x="461" y="581"/>
                  </a:lnTo>
                  <a:lnTo>
                    <a:pt x="443" y="605"/>
                  </a:lnTo>
                  <a:lnTo>
                    <a:pt x="428" y="627"/>
                  </a:lnTo>
                  <a:lnTo>
                    <a:pt x="416" y="645"/>
                  </a:lnTo>
                  <a:lnTo>
                    <a:pt x="406" y="658"/>
                  </a:lnTo>
                  <a:lnTo>
                    <a:pt x="401" y="667"/>
                  </a:lnTo>
                  <a:lnTo>
                    <a:pt x="398" y="669"/>
                  </a:lnTo>
                  <a:lnTo>
                    <a:pt x="397" y="673"/>
                  </a:lnTo>
                  <a:lnTo>
                    <a:pt x="391" y="682"/>
                  </a:lnTo>
                  <a:lnTo>
                    <a:pt x="384" y="697"/>
                  </a:lnTo>
                  <a:lnTo>
                    <a:pt x="373" y="713"/>
                  </a:lnTo>
                  <a:lnTo>
                    <a:pt x="361" y="733"/>
                  </a:lnTo>
                  <a:lnTo>
                    <a:pt x="348" y="753"/>
                  </a:lnTo>
                  <a:lnTo>
                    <a:pt x="333" y="773"/>
                  </a:lnTo>
                  <a:lnTo>
                    <a:pt x="318" y="791"/>
                  </a:lnTo>
                  <a:lnTo>
                    <a:pt x="301" y="806"/>
                  </a:lnTo>
                  <a:lnTo>
                    <a:pt x="285" y="817"/>
                  </a:lnTo>
                  <a:lnTo>
                    <a:pt x="273" y="862"/>
                  </a:lnTo>
                  <a:lnTo>
                    <a:pt x="258" y="901"/>
                  </a:lnTo>
                  <a:lnTo>
                    <a:pt x="241" y="934"/>
                  </a:lnTo>
                  <a:lnTo>
                    <a:pt x="225" y="961"/>
                  </a:lnTo>
                  <a:lnTo>
                    <a:pt x="207" y="983"/>
                  </a:lnTo>
                  <a:lnTo>
                    <a:pt x="191" y="1001"/>
                  </a:lnTo>
                  <a:lnTo>
                    <a:pt x="173" y="1015"/>
                  </a:lnTo>
                  <a:lnTo>
                    <a:pt x="158" y="1024"/>
                  </a:lnTo>
                  <a:lnTo>
                    <a:pt x="144" y="1031"/>
                  </a:lnTo>
                  <a:lnTo>
                    <a:pt x="132" y="1036"/>
                  </a:lnTo>
                  <a:lnTo>
                    <a:pt x="123" y="1038"/>
                  </a:lnTo>
                  <a:lnTo>
                    <a:pt x="116" y="1039"/>
                  </a:lnTo>
                  <a:lnTo>
                    <a:pt x="114" y="1039"/>
                  </a:lnTo>
                  <a:lnTo>
                    <a:pt x="108" y="1039"/>
                  </a:lnTo>
                  <a:lnTo>
                    <a:pt x="98" y="1039"/>
                  </a:lnTo>
                  <a:lnTo>
                    <a:pt x="86" y="1036"/>
                  </a:lnTo>
                  <a:lnTo>
                    <a:pt x="72" y="1034"/>
                  </a:lnTo>
                  <a:lnTo>
                    <a:pt x="58" y="1030"/>
                  </a:lnTo>
                  <a:lnTo>
                    <a:pt x="43" y="1023"/>
                  </a:lnTo>
                  <a:lnTo>
                    <a:pt x="30" y="1013"/>
                  </a:lnTo>
                  <a:lnTo>
                    <a:pt x="18" y="1000"/>
                  </a:lnTo>
                  <a:lnTo>
                    <a:pt x="8" y="983"/>
                  </a:lnTo>
                  <a:lnTo>
                    <a:pt x="1" y="963"/>
                  </a:lnTo>
                  <a:lnTo>
                    <a:pt x="0" y="937"/>
                  </a:lnTo>
                  <a:lnTo>
                    <a:pt x="1" y="930"/>
                  </a:lnTo>
                  <a:lnTo>
                    <a:pt x="4" y="918"/>
                  </a:lnTo>
                  <a:lnTo>
                    <a:pt x="9" y="903"/>
                  </a:lnTo>
                  <a:lnTo>
                    <a:pt x="13" y="884"/>
                  </a:lnTo>
                  <a:lnTo>
                    <a:pt x="18" y="866"/>
                  </a:lnTo>
                  <a:lnTo>
                    <a:pt x="19" y="847"/>
                  </a:lnTo>
                  <a:lnTo>
                    <a:pt x="19" y="829"/>
                  </a:lnTo>
                  <a:lnTo>
                    <a:pt x="15" y="814"/>
                  </a:lnTo>
                  <a:lnTo>
                    <a:pt x="9" y="798"/>
                  </a:lnTo>
                  <a:lnTo>
                    <a:pt x="8" y="777"/>
                  </a:lnTo>
                  <a:lnTo>
                    <a:pt x="11" y="754"/>
                  </a:lnTo>
                  <a:lnTo>
                    <a:pt x="15" y="728"/>
                  </a:lnTo>
                  <a:lnTo>
                    <a:pt x="23" y="702"/>
                  </a:lnTo>
                  <a:lnTo>
                    <a:pt x="33" y="676"/>
                  </a:lnTo>
                  <a:lnTo>
                    <a:pt x="43" y="652"/>
                  </a:lnTo>
                  <a:lnTo>
                    <a:pt x="56" y="631"/>
                  </a:lnTo>
                  <a:lnTo>
                    <a:pt x="69" y="611"/>
                  </a:lnTo>
                  <a:lnTo>
                    <a:pt x="83" y="589"/>
                  </a:lnTo>
                  <a:lnTo>
                    <a:pt x="95" y="568"/>
                  </a:lnTo>
                  <a:lnTo>
                    <a:pt x="108" y="548"/>
                  </a:lnTo>
                  <a:lnTo>
                    <a:pt x="117" y="532"/>
                  </a:lnTo>
                  <a:lnTo>
                    <a:pt x="125" y="517"/>
                  </a:lnTo>
                  <a:lnTo>
                    <a:pt x="129" y="508"/>
                  </a:lnTo>
                  <a:lnTo>
                    <a:pt x="131" y="504"/>
                  </a:lnTo>
                  <a:lnTo>
                    <a:pt x="133" y="502"/>
                  </a:lnTo>
                  <a:lnTo>
                    <a:pt x="139" y="493"/>
                  </a:lnTo>
                  <a:lnTo>
                    <a:pt x="148" y="480"/>
                  </a:lnTo>
                  <a:lnTo>
                    <a:pt x="159" y="462"/>
                  </a:lnTo>
                  <a:lnTo>
                    <a:pt x="173" y="443"/>
                  </a:lnTo>
                  <a:lnTo>
                    <a:pt x="187" y="421"/>
                  </a:lnTo>
                  <a:lnTo>
                    <a:pt x="202" y="397"/>
                  </a:lnTo>
                  <a:lnTo>
                    <a:pt x="215" y="373"/>
                  </a:lnTo>
                  <a:lnTo>
                    <a:pt x="228" y="350"/>
                  </a:lnTo>
                  <a:lnTo>
                    <a:pt x="238" y="328"/>
                  </a:lnTo>
                  <a:lnTo>
                    <a:pt x="247" y="308"/>
                  </a:lnTo>
                  <a:lnTo>
                    <a:pt x="251" y="291"/>
                  </a:lnTo>
                  <a:lnTo>
                    <a:pt x="258" y="275"/>
                  </a:lnTo>
                  <a:lnTo>
                    <a:pt x="267" y="257"/>
                  </a:lnTo>
                  <a:lnTo>
                    <a:pt x="279" y="240"/>
                  </a:lnTo>
                  <a:lnTo>
                    <a:pt x="293" y="222"/>
                  </a:lnTo>
                  <a:lnTo>
                    <a:pt x="309" y="206"/>
                  </a:lnTo>
                  <a:lnTo>
                    <a:pt x="326" y="189"/>
                  </a:lnTo>
                  <a:lnTo>
                    <a:pt x="341" y="176"/>
                  </a:lnTo>
                  <a:lnTo>
                    <a:pt x="354" y="165"/>
                  </a:lnTo>
                  <a:lnTo>
                    <a:pt x="364" y="155"/>
                  </a:lnTo>
                  <a:lnTo>
                    <a:pt x="372" y="150"/>
                  </a:lnTo>
                  <a:lnTo>
                    <a:pt x="375" y="147"/>
                  </a:lnTo>
                  <a:lnTo>
                    <a:pt x="401" y="1"/>
                  </a:lnTo>
                  <a:lnTo>
                    <a:pt x="405" y="0"/>
                  </a:lnTo>
                  <a:lnTo>
                    <a:pt x="413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3" name="Freeform 576"/>
            <p:cNvSpPr>
              <a:spLocks/>
            </p:cNvSpPr>
            <p:nvPr/>
          </p:nvSpPr>
          <p:spPr bwMode="auto">
            <a:xfrm rot="1114411" flipH="1">
              <a:off x="2109962" y="4267666"/>
              <a:ext cx="214761" cy="228114"/>
            </a:xfrm>
            <a:custGeom>
              <a:avLst/>
              <a:gdLst>
                <a:gd name="T0" fmla="*/ 2147483647 w 386"/>
                <a:gd name="T1" fmla="*/ 0 h 410"/>
                <a:gd name="T2" fmla="*/ 2147483647 w 386"/>
                <a:gd name="T3" fmla="*/ 2147483647 h 410"/>
                <a:gd name="T4" fmla="*/ 2147483647 w 386"/>
                <a:gd name="T5" fmla="*/ 2147483647 h 410"/>
                <a:gd name="T6" fmla="*/ 2147483647 w 386"/>
                <a:gd name="T7" fmla="*/ 2147483647 h 410"/>
                <a:gd name="T8" fmla="*/ 2147483647 w 386"/>
                <a:gd name="T9" fmla="*/ 2147483647 h 410"/>
                <a:gd name="T10" fmla="*/ 2147483647 w 386"/>
                <a:gd name="T11" fmla="*/ 2147483647 h 410"/>
                <a:gd name="T12" fmla="*/ 2147483647 w 386"/>
                <a:gd name="T13" fmla="*/ 2147483647 h 410"/>
                <a:gd name="T14" fmla="*/ 2147483647 w 386"/>
                <a:gd name="T15" fmla="*/ 2147483647 h 410"/>
                <a:gd name="T16" fmla="*/ 2147483647 w 386"/>
                <a:gd name="T17" fmla="*/ 2147483647 h 410"/>
                <a:gd name="T18" fmla="*/ 2147483647 w 386"/>
                <a:gd name="T19" fmla="*/ 2147483647 h 410"/>
                <a:gd name="T20" fmla="*/ 2147483647 w 386"/>
                <a:gd name="T21" fmla="*/ 2147483647 h 410"/>
                <a:gd name="T22" fmla="*/ 2147483647 w 386"/>
                <a:gd name="T23" fmla="*/ 2147483647 h 410"/>
                <a:gd name="T24" fmla="*/ 2147483647 w 386"/>
                <a:gd name="T25" fmla="*/ 2147483647 h 410"/>
                <a:gd name="T26" fmla="*/ 2147483647 w 386"/>
                <a:gd name="T27" fmla="*/ 2147483647 h 410"/>
                <a:gd name="T28" fmla="*/ 2147483647 w 386"/>
                <a:gd name="T29" fmla="*/ 2147483647 h 410"/>
                <a:gd name="T30" fmla="*/ 2147483647 w 386"/>
                <a:gd name="T31" fmla="*/ 2147483647 h 410"/>
                <a:gd name="T32" fmla="*/ 2147483647 w 386"/>
                <a:gd name="T33" fmla="*/ 2147483647 h 410"/>
                <a:gd name="T34" fmla="*/ 2147483647 w 386"/>
                <a:gd name="T35" fmla="*/ 2147483647 h 410"/>
                <a:gd name="T36" fmla="*/ 2147483647 w 386"/>
                <a:gd name="T37" fmla="*/ 2147483647 h 410"/>
                <a:gd name="T38" fmla="*/ 2147483647 w 386"/>
                <a:gd name="T39" fmla="*/ 2147483647 h 410"/>
                <a:gd name="T40" fmla="*/ 2147483647 w 386"/>
                <a:gd name="T41" fmla="*/ 2147483647 h 410"/>
                <a:gd name="T42" fmla="*/ 2147483647 w 386"/>
                <a:gd name="T43" fmla="*/ 2147483647 h 410"/>
                <a:gd name="T44" fmla="*/ 2147483647 w 386"/>
                <a:gd name="T45" fmla="*/ 2147483647 h 410"/>
                <a:gd name="T46" fmla="*/ 2147483647 w 386"/>
                <a:gd name="T47" fmla="*/ 2147483647 h 410"/>
                <a:gd name="T48" fmla="*/ 2147483647 w 386"/>
                <a:gd name="T49" fmla="*/ 2147483647 h 410"/>
                <a:gd name="T50" fmla="*/ 2147483647 w 386"/>
                <a:gd name="T51" fmla="*/ 2147483647 h 410"/>
                <a:gd name="T52" fmla="*/ 2147483647 w 386"/>
                <a:gd name="T53" fmla="*/ 2147483647 h 410"/>
                <a:gd name="T54" fmla="*/ 2147483647 w 386"/>
                <a:gd name="T55" fmla="*/ 2147483647 h 410"/>
                <a:gd name="T56" fmla="*/ 2147483647 w 386"/>
                <a:gd name="T57" fmla="*/ 2147483647 h 410"/>
                <a:gd name="T58" fmla="*/ 2147483647 w 386"/>
                <a:gd name="T59" fmla="*/ 2147483647 h 410"/>
                <a:gd name="T60" fmla="*/ 2147483647 w 386"/>
                <a:gd name="T61" fmla="*/ 2147483647 h 410"/>
                <a:gd name="T62" fmla="*/ 2147483647 w 386"/>
                <a:gd name="T63" fmla="*/ 2147483647 h 410"/>
                <a:gd name="T64" fmla="*/ 0 w 386"/>
                <a:gd name="T65" fmla="*/ 2147483647 h 410"/>
                <a:gd name="T66" fmla="*/ 2147483647 w 386"/>
                <a:gd name="T67" fmla="*/ 2147483647 h 410"/>
                <a:gd name="T68" fmla="*/ 2147483647 w 386"/>
                <a:gd name="T69" fmla="*/ 2147483647 h 410"/>
                <a:gd name="T70" fmla="*/ 2147483647 w 386"/>
                <a:gd name="T71" fmla="*/ 2147483647 h 410"/>
                <a:gd name="T72" fmla="*/ 2147483647 w 386"/>
                <a:gd name="T73" fmla="*/ 2147483647 h 410"/>
                <a:gd name="T74" fmla="*/ 2147483647 w 386"/>
                <a:gd name="T75" fmla="*/ 0 h 41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6"/>
                <a:gd name="T115" fmla="*/ 0 h 410"/>
                <a:gd name="T116" fmla="*/ 386 w 386"/>
                <a:gd name="T117" fmla="*/ 410 h 41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6" h="410">
                  <a:moveTo>
                    <a:pt x="323" y="0"/>
                  </a:moveTo>
                  <a:lnTo>
                    <a:pt x="340" y="4"/>
                  </a:lnTo>
                  <a:lnTo>
                    <a:pt x="357" y="15"/>
                  </a:lnTo>
                  <a:lnTo>
                    <a:pt x="375" y="32"/>
                  </a:lnTo>
                  <a:lnTo>
                    <a:pt x="385" y="47"/>
                  </a:lnTo>
                  <a:lnTo>
                    <a:pt x="386" y="61"/>
                  </a:lnTo>
                  <a:lnTo>
                    <a:pt x="383" y="73"/>
                  </a:lnTo>
                  <a:lnTo>
                    <a:pt x="375" y="84"/>
                  </a:lnTo>
                  <a:lnTo>
                    <a:pt x="365" y="94"/>
                  </a:lnTo>
                  <a:lnTo>
                    <a:pt x="355" y="101"/>
                  </a:lnTo>
                  <a:lnTo>
                    <a:pt x="344" y="106"/>
                  </a:lnTo>
                  <a:lnTo>
                    <a:pt x="334" y="110"/>
                  </a:lnTo>
                  <a:lnTo>
                    <a:pt x="327" y="113"/>
                  </a:lnTo>
                  <a:lnTo>
                    <a:pt x="325" y="113"/>
                  </a:lnTo>
                  <a:lnTo>
                    <a:pt x="322" y="116"/>
                  </a:lnTo>
                  <a:lnTo>
                    <a:pt x="316" y="123"/>
                  </a:lnTo>
                  <a:lnTo>
                    <a:pt x="307" y="132"/>
                  </a:lnTo>
                  <a:lnTo>
                    <a:pt x="293" y="144"/>
                  </a:lnTo>
                  <a:lnTo>
                    <a:pt x="275" y="158"/>
                  </a:lnTo>
                  <a:lnTo>
                    <a:pt x="256" y="173"/>
                  </a:lnTo>
                  <a:lnTo>
                    <a:pt x="233" y="187"/>
                  </a:lnTo>
                  <a:lnTo>
                    <a:pt x="207" y="200"/>
                  </a:lnTo>
                  <a:lnTo>
                    <a:pt x="199" y="218"/>
                  </a:lnTo>
                  <a:lnTo>
                    <a:pt x="188" y="236"/>
                  </a:lnTo>
                  <a:lnTo>
                    <a:pt x="175" y="255"/>
                  </a:lnTo>
                  <a:lnTo>
                    <a:pt x="161" y="271"/>
                  </a:lnTo>
                  <a:lnTo>
                    <a:pt x="146" y="288"/>
                  </a:lnTo>
                  <a:lnTo>
                    <a:pt x="131" y="303"/>
                  </a:lnTo>
                  <a:lnTo>
                    <a:pt x="119" y="315"/>
                  </a:lnTo>
                  <a:lnTo>
                    <a:pt x="109" y="324"/>
                  </a:lnTo>
                  <a:lnTo>
                    <a:pt x="102" y="330"/>
                  </a:lnTo>
                  <a:lnTo>
                    <a:pt x="100" y="333"/>
                  </a:lnTo>
                  <a:lnTo>
                    <a:pt x="0" y="410"/>
                  </a:lnTo>
                  <a:lnTo>
                    <a:pt x="288" y="8"/>
                  </a:lnTo>
                  <a:lnTo>
                    <a:pt x="290" y="7"/>
                  </a:lnTo>
                  <a:lnTo>
                    <a:pt x="299" y="4"/>
                  </a:lnTo>
                  <a:lnTo>
                    <a:pt x="310" y="1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4" name="Freeform 577"/>
            <p:cNvSpPr>
              <a:spLocks/>
            </p:cNvSpPr>
            <p:nvPr/>
          </p:nvSpPr>
          <p:spPr bwMode="auto">
            <a:xfrm rot="1114411" flipH="1">
              <a:off x="1910522" y="4276719"/>
              <a:ext cx="467355" cy="533564"/>
            </a:xfrm>
            <a:custGeom>
              <a:avLst/>
              <a:gdLst>
                <a:gd name="T0" fmla="*/ 532597202 w 840"/>
                <a:gd name="T1" fmla="*/ 3532984 h 959"/>
                <a:gd name="T2" fmla="*/ 576759467 w 840"/>
                <a:gd name="T3" fmla="*/ 34446870 h 959"/>
                <a:gd name="T4" fmla="*/ 593540850 w 840"/>
                <a:gd name="T5" fmla="*/ 48578805 h 959"/>
                <a:gd name="T6" fmla="*/ 616505228 w 840"/>
                <a:gd name="T7" fmla="*/ 54761248 h 959"/>
                <a:gd name="T8" fmla="*/ 659784527 w 840"/>
                <a:gd name="T9" fmla="*/ 78609166 h 959"/>
                <a:gd name="T10" fmla="*/ 685398363 w 840"/>
                <a:gd name="T11" fmla="*/ 123654431 h 959"/>
                <a:gd name="T12" fmla="*/ 715428703 w 840"/>
                <a:gd name="T13" fmla="*/ 151918301 h 959"/>
                <a:gd name="T14" fmla="*/ 739276605 w 840"/>
                <a:gd name="T15" fmla="*/ 167816727 h 959"/>
                <a:gd name="T16" fmla="*/ 739276605 w 840"/>
                <a:gd name="T17" fmla="*/ 196964121 h 959"/>
                <a:gd name="T18" fmla="*/ 715428703 w 840"/>
                <a:gd name="T19" fmla="*/ 264090812 h 959"/>
                <a:gd name="T20" fmla="*/ 649185583 w 840"/>
                <a:gd name="T21" fmla="*/ 359481373 h 959"/>
                <a:gd name="T22" fmla="*/ 622688224 w 840"/>
                <a:gd name="T23" fmla="*/ 393044718 h 959"/>
                <a:gd name="T24" fmla="*/ 582941906 w 840"/>
                <a:gd name="T25" fmla="*/ 446039474 h 959"/>
                <a:gd name="T26" fmla="*/ 544079113 w 840"/>
                <a:gd name="T27" fmla="*/ 498150706 h 959"/>
                <a:gd name="T28" fmla="*/ 521114734 w 840"/>
                <a:gd name="T29" fmla="*/ 529064592 h 959"/>
                <a:gd name="T30" fmla="*/ 514048772 w 840"/>
                <a:gd name="T31" fmla="*/ 541430035 h 959"/>
                <a:gd name="T32" fmla="*/ 492850884 w 840"/>
                <a:gd name="T33" fmla="*/ 578526364 h 959"/>
                <a:gd name="T34" fmla="*/ 463704067 w 840"/>
                <a:gd name="T35" fmla="*/ 620038645 h 959"/>
                <a:gd name="T36" fmla="*/ 434556694 w 840"/>
                <a:gd name="T37" fmla="*/ 640353580 h 959"/>
                <a:gd name="T38" fmla="*/ 401876895 w 840"/>
                <a:gd name="T39" fmla="*/ 670383942 h 959"/>
                <a:gd name="T40" fmla="*/ 380679008 w 840"/>
                <a:gd name="T41" fmla="*/ 695997795 h 959"/>
                <a:gd name="T42" fmla="*/ 374496013 w 840"/>
                <a:gd name="T43" fmla="*/ 710129730 h 959"/>
                <a:gd name="T44" fmla="*/ 353298125 w 840"/>
                <a:gd name="T45" fmla="*/ 754292027 h 959"/>
                <a:gd name="T46" fmla="*/ 320618327 w 840"/>
                <a:gd name="T47" fmla="*/ 809936799 h 959"/>
                <a:gd name="T48" fmla="*/ 284404991 w 840"/>
                <a:gd name="T49" fmla="*/ 845266636 h 959"/>
                <a:gd name="T50" fmla="*/ 242009216 w 840"/>
                <a:gd name="T51" fmla="*/ 839083637 h 959"/>
                <a:gd name="T52" fmla="*/ 218161870 w 840"/>
                <a:gd name="T53" fmla="*/ 816119242 h 959"/>
                <a:gd name="T54" fmla="*/ 212862399 w 840"/>
                <a:gd name="T55" fmla="*/ 809936799 h 959"/>
                <a:gd name="T56" fmla="*/ 189014497 w 840"/>
                <a:gd name="T57" fmla="*/ 811703291 h 959"/>
                <a:gd name="T58" fmla="*/ 145735755 w 840"/>
                <a:gd name="T59" fmla="*/ 806403815 h 959"/>
                <a:gd name="T60" fmla="*/ 93624003 w 840"/>
                <a:gd name="T61" fmla="*/ 783439421 h 959"/>
                <a:gd name="T62" fmla="*/ 44162266 w 840"/>
                <a:gd name="T63" fmla="*/ 733977649 h 959"/>
                <a:gd name="T64" fmla="*/ 7065963 w 840"/>
                <a:gd name="T65" fmla="*/ 644769531 h 959"/>
                <a:gd name="T66" fmla="*/ 30913864 w 840"/>
                <a:gd name="T67" fmla="*/ 562627938 h 959"/>
                <a:gd name="T68" fmla="*/ 60060681 w 840"/>
                <a:gd name="T69" fmla="*/ 498150706 h 959"/>
                <a:gd name="T70" fmla="*/ 70659625 w 840"/>
                <a:gd name="T71" fmla="*/ 458404918 h 959"/>
                <a:gd name="T72" fmla="*/ 80375602 w 840"/>
                <a:gd name="T73" fmla="*/ 447805966 h 959"/>
                <a:gd name="T74" fmla="*/ 116588381 w 840"/>
                <a:gd name="T75" fmla="*/ 407176653 h 959"/>
                <a:gd name="T76" fmla="*/ 166050119 w 840"/>
                <a:gd name="T77" fmla="*/ 337399947 h 959"/>
                <a:gd name="T78" fmla="*/ 205796436 w 840"/>
                <a:gd name="T79" fmla="*/ 294121174 h 959"/>
                <a:gd name="T80" fmla="*/ 251725192 w 840"/>
                <a:gd name="T81" fmla="*/ 252608337 h 959"/>
                <a:gd name="T82" fmla="*/ 301186930 w 840"/>
                <a:gd name="T83" fmla="*/ 200497105 h 959"/>
                <a:gd name="T84" fmla="*/ 340049724 w 840"/>
                <a:gd name="T85" fmla="*/ 157217776 h 959"/>
                <a:gd name="T86" fmla="*/ 355064616 w 840"/>
                <a:gd name="T87" fmla="*/ 138669890 h 959"/>
                <a:gd name="T88" fmla="*/ 506982809 w 840"/>
                <a:gd name="T89" fmla="*/ 1766492 h 9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0"/>
                <a:gd name="T136" fmla="*/ 0 h 959"/>
                <a:gd name="T137" fmla="*/ 840 w 840"/>
                <a:gd name="T138" fmla="*/ 959 h 9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0" h="959">
                  <a:moveTo>
                    <a:pt x="581" y="0"/>
                  </a:moveTo>
                  <a:lnTo>
                    <a:pt x="590" y="0"/>
                  </a:lnTo>
                  <a:lnTo>
                    <a:pt x="603" y="4"/>
                  </a:lnTo>
                  <a:lnTo>
                    <a:pt x="618" y="14"/>
                  </a:lnTo>
                  <a:lnTo>
                    <a:pt x="638" y="28"/>
                  </a:lnTo>
                  <a:lnTo>
                    <a:pt x="653" y="39"/>
                  </a:lnTo>
                  <a:lnTo>
                    <a:pt x="664" y="48"/>
                  </a:lnTo>
                  <a:lnTo>
                    <a:pt x="670" y="54"/>
                  </a:lnTo>
                  <a:lnTo>
                    <a:pt x="672" y="55"/>
                  </a:lnTo>
                  <a:lnTo>
                    <a:pt x="676" y="56"/>
                  </a:lnTo>
                  <a:lnTo>
                    <a:pt x="685" y="58"/>
                  </a:lnTo>
                  <a:lnTo>
                    <a:pt x="698" y="62"/>
                  </a:lnTo>
                  <a:lnTo>
                    <a:pt x="715" y="69"/>
                  </a:lnTo>
                  <a:lnTo>
                    <a:pt x="731" y="77"/>
                  </a:lnTo>
                  <a:lnTo>
                    <a:pt x="747" y="89"/>
                  </a:lnTo>
                  <a:lnTo>
                    <a:pt x="760" y="103"/>
                  </a:lnTo>
                  <a:lnTo>
                    <a:pt x="768" y="122"/>
                  </a:lnTo>
                  <a:lnTo>
                    <a:pt x="776" y="140"/>
                  </a:lnTo>
                  <a:lnTo>
                    <a:pt x="785" y="153"/>
                  </a:lnTo>
                  <a:lnTo>
                    <a:pt x="798" y="164"/>
                  </a:lnTo>
                  <a:lnTo>
                    <a:pt x="810" y="172"/>
                  </a:lnTo>
                  <a:lnTo>
                    <a:pt x="821" y="179"/>
                  </a:lnTo>
                  <a:lnTo>
                    <a:pt x="832" y="185"/>
                  </a:lnTo>
                  <a:lnTo>
                    <a:pt x="837" y="190"/>
                  </a:lnTo>
                  <a:lnTo>
                    <a:pt x="840" y="197"/>
                  </a:lnTo>
                  <a:lnTo>
                    <a:pt x="840" y="206"/>
                  </a:lnTo>
                  <a:lnTo>
                    <a:pt x="837" y="223"/>
                  </a:lnTo>
                  <a:lnTo>
                    <a:pt x="832" y="243"/>
                  </a:lnTo>
                  <a:lnTo>
                    <a:pt x="824" y="269"/>
                  </a:lnTo>
                  <a:lnTo>
                    <a:pt x="810" y="299"/>
                  </a:lnTo>
                  <a:lnTo>
                    <a:pt x="791" y="332"/>
                  </a:lnTo>
                  <a:lnTo>
                    <a:pt x="766" y="369"/>
                  </a:lnTo>
                  <a:lnTo>
                    <a:pt x="735" y="407"/>
                  </a:lnTo>
                  <a:lnTo>
                    <a:pt x="728" y="416"/>
                  </a:lnTo>
                  <a:lnTo>
                    <a:pt x="717" y="429"/>
                  </a:lnTo>
                  <a:lnTo>
                    <a:pt x="705" y="445"/>
                  </a:lnTo>
                  <a:lnTo>
                    <a:pt x="690" y="464"/>
                  </a:lnTo>
                  <a:lnTo>
                    <a:pt x="675" y="485"/>
                  </a:lnTo>
                  <a:lnTo>
                    <a:pt x="660" y="505"/>
                  </a:lnTo>
                  <a:lnTo>
                    <a:pt x="644" y="526"/>
                  </a:lnTo>
                  <a:lnTo>
                    <a:pt x="630" y="546"/>
                  </a:lnTo>
                  <a:lnTo>
                    <a:pt x="616" y="564"/>
                  </a:lnTo>
                  <a:lnTo>
                    <a:pt x="605" y="579"/>
                  </a:lnTo>
                  <a:lnTo>
                    <a:pt x="596" y="591"/>
                  </a:lnTo>
                  <a:lnTo>
                    <a:pt x="590" y="599"/>
                  </a:lnTo>
                  <a:lnTo>
                    <a:pt x="588" y="602"/>
                  </a:lnTo>
                  <a:lnTo>
                    <a:pt x="586" y="605"/>
                  </a:lnTo>
                  <a:lnTo>
                    <a:pt x="582" y="613"/>
                  </a:lnTo>
                  <a:lnTo>
                    <a:pt x="575" y="625"/>
                  </a:lnTo>
                  <a:lnTo>
                    <a:pt x="567" y="639"/>
                  </a:lnTo>
                  <a:lnTo>
                    <a:pt x="558" y="655"/>
                  </a:lnTo>
                  <a:lnTo>
                    <a:pt x="547" y="673"/>
                  </a:lnTo>
                  <a:lnTo>
                    <a:pt x="536" y="688"/>
                  </a:lnTo>
                  <a:lnTo>
                    <a:pt x="525" y="702"/>
                  </a:lnTo>
                  <a:lnTo>
                    <a:pt x="514" y="713"/>
                  </a:lnTo>
                  <a:lnTo>
                    <a:pt x="505" y="719"/>
                  </a:lnTo>
                  <a:lnTo>
                    <a:pt x="492" y="725"/>
                  </a:lnTo>
                  <a:lnTo>
                    <a:pt x="480" y="736"/>
                  </a:lnTo>
                  <a:lnTo>
                    <a:pt x="468" y="747"/>
                  </a:lnTo>
                  <a:lnTo>
                    <a:pt x="455" y="759"/>
                  </a:lnTo>
                  <a:lnTo>
                    <a:pt x="445" y="771"/>
                  </a:lnTo>
                  <a:lnTo>
                    <a:pt x="436" y="781"/>
                  </a:lnTo>
                  <a:lnTo>
                    <a:pt x="431" y="788"/>
                  </a:lnTo>
                  <a:lnTo>
                    <a:pt x="430" y="790"/>
                  </a:lnTo>
                  <a:lnTo>
                    <a:pt x="428" y="794"/>
                  </a:lnTo>
                  <a:lnTo>
                    <a:pt x="424" y="804"/>
                  </a:lnTo>
                  <a:lnTo>
                    <a:pt x="417" y="818"/>
                  </a:lnTo>
                  <a:lnTo>
                    <a:pt x="409" y="835"/>
                  </a:lnTo>
                  <a:lnTo>
                    <a:pt x="400" y="854"/>
                  </a:lnTo>
                  <a:lnTo>
                    <a:pt x="389" y="876"/>
                  </a:lnTo>
                  <a:lnTo>
                    <a:pt x="376" y="897"/>
                  </a:lnTo>
                  <a:lnTo>
                    <a:pt x="363" y="917"/>
                  </a:lnTo>
                  <a:lnTo>
                    <a:pt x="349" y="934"/>
                  </a:lnTo>
                  <a:lnTo>
                    <a:pt x="335" y="947"/>
                  </a:lnTo>
                  <a:lnTo>
                    <a:pt x="322" y="957"/>
                  </a:lnTo>
                  <a:lnTo>
                    <a:pt x="310" y="959"/>
                  </a:lnTo>
                  <a:lnTo>
                    <a:pt x="289" y="955"/>
                  </a:lnTo>
                  <a:lnTo>
                    <a:pt x="274" y="950"/>
                  </a:lnTo>
                  <a:lnTo>
                    <a:pt x="262" y="942"/>
                  </a:lnTo>
                  <a:lnTo>
                    <a:pt x="254" y="932"/>
                  </a:lnTo>
                  <a:lnTo>
                    <a:pt x="247" y="924"/>
                  </a:lnTo>
                  <a:lnTo>
                    <a:pt x="244" y="919"/>
                  </a:lnTo>
                  <a:lnTo>
                    <a:pt x="243" y="917"/>
                  </a:lnTo>
                  <a:lnTo>
                    <a:pt x="241" y="917"/>
                  </a:lnTo>
                  <a:lnTo>
                    <a:pt x="236" y="919"/>
                  </a:lnTo>
                  <a:lnTo>
                    <a:pt x="226" y="919"/>
                  </a:lnTo>
                  <a:lnTo>
                    <a:pt x="214" y="919"/>
                  </a:lnTo>
                  <a:lnTo>
                    <a:pt x="199" y="919"/>
                  </a:lnTo>
                  <a:lnTo>
                    <a:pt x="183" y="917"/>
                  </a:lnTo>
                  <a:lnTo>
                    <a:pt x="165" y="913"/>
                  </a:lnTo>
                  <a:lnTo>
                    <a:pt x="146" y="908"/>
                  </a:lnTo>
                  <a:lnTo>
                    <a:pt x="127" y="899"/>
                  </a:lnTo>
                  <a:lnTo>
                    <a:pt x="106" y="887"/>
                  </a:lnTo>
                  <a:lnTo>
                    <a:pt x="87" y="873"/>
                  </a:lnTo>
                  <a:lnTo>
                    <a:pt x="68" y="854"/>
                  </a:lnTo>
                  <a:lnTo>
                    <a:pt x="50" y="831"/>
                  </a:lnTo>
                  <a:lnTo>
                    <a:pt x="34" y="803"/>
                  </a:lnTo>
                  <a:lnTo>
                    <a:pt x="20" y="770"/>
                  </a:lnTo>
                  <a:lnTo>
                    <a:pt x="8" y="730"/>
                  </a:lnTo>
                  <a:lnTo>
                    <a:pt x="0" y="685"/>
                  </a:lnTo>
                  <a:lnTo>
                    <a:pt x="19" y="662"/>
                  </a:lnTo>
                  <a:lnTo>
                    <a:pt x="35" y="637"/>
                  </a:lnTo>
                  <a:lnTo>
                    <a:pt x="49" y="612"/>
                  </a:lnTo>
                  <a:lnTo>
                    <a:pt x="60" y="587"/>
                  </a:lnTo>
                  <a:lnTo>
                    <a:pt x="68" y="564"/>
                  </a:lnTo>
                  <a:lnTo>
                    <a:pt x="74" y="545"/>
                  </a:lnTo>
                  <a:lnTo>
                    <a:pt x="78" y="528"/>
                  </a:lnTo>
                  <a:lnTo>
                    <a:pt x="80" y="519"/>
                  </a:lnTo>
                  <a:lnTo>
                    <a:pt x="82" y="515"/>
                  </a:lnTo>
                  <a:lnTo>
                    <a:pt x="83" y="512"/>
                  </a:lnTo>
                  <a:lnTo>
                    <a:pt x="91" y="507"/>
                  </a:lnTo>
                  <a:lnTo>
                    <a:pt x="102" y="496"/>
                  </a:lnTo>
                  <a:lnTo>
                    <a:pt x="116" y="481"/>
                  </a:lnTo>
                  <a:lnTo>
                    <a:pt x="132" y="461"/>
                  </a:lnTo>
                  <a:lnTo>
                    <a:pt x="150" y="440"/>
                  </a:lnTo>
                  <a:lnTo>
                    <a:pt x="169" y="412"/>
                  </a:lnTo>
                  <a:lnTo>
                    <a:pt x="188" y="382"/>
                  </a:lnTo>
                  <a:lnTo>
                    <a:pt x="207" y="350"/>
                  </a:lnTo>
                  <a:lnTo>
                    <a:pt x="220" y="343"/>
                  </a:lnTo>
                  <a:lnTo>
                    <a:pt x="233" y="333"/>
                  </a:lnTo>
                  <a:lnTo>
                    <a:pt x="250" y="320"/>
                  </a:lnTo>
                  <a:lnTo>
                    <a:pt x="267" y="303"/>
                  </a:lnTo>
                  <a:lnTo>
                    <a:pt x="285" y="286"/>
                  </a:lnTo>
                  <a:lnTo>
                    <a:pt x="304" y="266"/>
                  </a:lnTo>
                  <a:lnTo>
                    <a:pt x="323" y="247"/>
                  </a:lnTo>
                  <a:lnTo>
                    <a:pt x="341" y="227"/>
                  </a:lnTo>
                  <a:lnTo>
                    <a:pt x="357" y="209"/>
                  </a:lnTo>
                  <a:lnTo>
                    <a:pt x="372" y="193"/>
                  </a:lnTo>
                  <a:lnTo>
                    <a:pt x="385" y="178"/>
                  </a:lnTo>
                  <a:lnTo>
                    <a:pt x="394" y="167"/>
                  </a:lnTo>
                  <a:lnTo>
                    <a:pt x="400" y="160"/>
                  </a:lnTo>
                  <a:lnTo>
                    <a:pt x="402" y="157"/>
                  </a:lnTo>
                  <a:lnTo>
                    <a:pt x="570" y="4"/>
                  </a:lnTo>
                  <a:lnTo>
                    <a:pt x="571" y="3"/>
                  </a:lnTo>
                  <a:lnTo>
                    <a:pt x="574" y="2"/>
                  </a:lnTo>
                  <a:lnTo>
                    <a:pt x="581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5" name="Freeform 714"/>
            <p:cNvSpPr>
              <a:spLocks/>
            </p:cNvSpPr>
            <p:nvPr/>
          </p:nvSpPr>
          <p:spPr bwMode="auto">
            <a:xfrm rot="1114411" flipH="1">
              <a:off x="1836427" y="4331750"/>
              <a:ext cx="307676" cy="338833"/>
            </a:xfrm>
            <a:custGeom>
              <a:avLst/>
              <a:gdLst>
                <a:gd name="T0" fmla="*/ 2147483647 w 553"/>
                <a:gd name="T1" fmla="*/ 2147483647 h 609"/>
                <a:gd name="T2" fmla="*/ 2147483647 w 553"/>
                <a:gd name="T3" fmla="*/ 2147483647 h 609"/>
                <a:gd name="T4" fmla="*/ 2147483647 w 553"/>
                <a:gd name="T5" fmla="*/ 2147483647 h 609"/>
                <a:gd name="T6" fmla="*/ 2147483647 w 553"/>
                <a:gd name="T7" fmla="*/ 2147483647 h 609"/>
                <a:gd name="T8" fmla="*/ 2147483647 w 553"/>
                <a:gd name="T9" fmla="*/ 2147483647 h 609"/>
                <a:gd name="T10" fmla="*/ 2147483647 w 553"/>
                <a:gd name="T11" fmla="*/ 2147483647 h 609"/>
                <a:gd name="T12" fmla="*/ 2147483647 w 553"/>
                <a:gd name="T13" fmla="*/ 2147483647 h 609"/>
                <a:gd name="T14" fmla="*/ 2147483647 w 553"/>
                <a:gd name="T15" fmla="*/ 2147483647 h 609"/>
                <a:gd name="T16" fmla="*/ 2147483647 w 553"/>
                <a:gd name="T17" fmla="*/ 2147483647 h 609"/>
                <a:gd name="T18" fmla="*/ 2147483647 w 553"/>
                <a:gd name="T19" fmla="*/ 2147483647 h 609"/>
                <a:gd name="T20" fmla="*/ 2147483647 w 553"/>
                <a:gd name="T21" fmla="*/ 2147483647 h 609"/>
                <a:gd name="T22" fmla="*/ 2147483647 w 553"/>
                <a:gd name="T23" fmla="*/ 2147483647 h 609"/>
                <a:gd name="T24" fmla="*/ 2147483647 w 553"/>
                <a:gd name="T25" fmla="*/ 2147483647 h 609"/>
                <a:gd name="T26" fmla="*/ 2147483647 w 553"/>
                <a:gd name="T27" fmla="*/ 2147483647 h 609"/>
                <a:gd name="T28" fmla="*/ 2147483647 w 553"/>
                <a:gd name="T29" fmla="*/ 2147483647 h 609"/>
                <a:gd name="T30" fmla="*/ 2147483647 w 553"/>
                <a:gd name="T31" fmla="*/ 2147483647 h 609"/>
                <a:gd name="T32" fmla="*/ 2147483647 w 553"/>
                <a:gd name="T33" fmla="*/ 2147483647 h 609"/>
                <a:gd name="T34" fmla="*/ 2147483647 w 553"/>
                <a:gd name="T35" fmla="*/ 2147483647 h 609"/>
                <a:gd name="T36" fmla="*/ 2147483647 w 553"/>
                <a:gd name="T37" fmla="*/ 2147483647 h 609"/>
                <a:gd name="T38" fmla="*/ 2147483647 w 553"/>
                <a:gd name="T39" fmla="*/ 2147483647 h 609"/>
                <a:gd name="T40" fmla="*/ 2147483647 w 553"/>
                <a:gd name="T41" fmla="*/ 2147483647 h 609"/>
                <a:gd name="T42" fmla="*/ 2147483647 w 553"/>
                <a:gd name="T43" fmla="*/ 2147483647 h 609"/>
                <a:gd name="T44" fmla="*/ 2147483647 w 553"/>
                <a:gd name="T45" fmla="*/ 2147483647 h 609"/>
                <a:gd name="T46" fmla="*/ 2147483647 w 553"/>
                <a:gd name="T47" fmla="*/ 2147483647 h 609"/>
                <a:gd name="T48" fmla="*/ 2147483647 w 553"/>
                <a:gd name="T49" fmla="*/ 2147483647 h 609"/>
                <a:gd name="T50" fmla="*/ 2147483647 w 553"/>
                <a:gd name="T51" fmla="*/ 2147483647 h 609"/>
                <a:gd name="T52" fmla="*/ 2147483647 w 553"/>
                <a:gd name="T53" fmla="*/ 2147483647 h 609"/>
                <a:gd name="T54" fmla="*/ 2147483647 w 553"/>
                <a:gd name="T55" fmla="*/ 2147483647 h 609"/>
                <a:gd name="T56" fmla="*/ 2147483647 w 553"/>
                <a:gd name="T57" fmla="*/ 2147483647 h 609"/>
                <a:gd name="T58" fmla="*/ 2147483647 w 553"/>
                <a:gd name="T59" fmla="*/ 2147483647 h 609"/>
                <a:gd name="T60" fmla="*/ 2147483647 w 553"/>
                <a:gd name="T61" fmla="*/ 2147483647 h 609"/>
                <a:gd name="T62" fmla="*/ 2147483647 w 553"/>
                <a:gd name="T63" fmla="*/ 2147483647 h 609"/>
                <a:gd name="T64" fmla="*/ 2147483647 w 553"/>
                <a:gd name="T65" fmla="*/ 2147483647 h 609"/>
                <a:gd name="T66" fmla="*/ 2147483647 w 553"/>
                <a:gd name="T67" fmla="*/ 2147483647 h 609"/>
                <a:gd name="T68" fmla="*/ 2147483647 w 553"/>
                <a:gd name="T69" fmla="*/ 2147483647 h 609"/>
                <a:gd name="T70" fmla="*/ 2147483647 w 553"/>
                <a:gd name="T71" fmla="*/ 2147483647 h 609"/>
                <a:gd name="T72" fmla="*/ 2147483647 w 553"/>
                <a:gd name="T73" fmla="*/ 2147483647 h 609"/>
                <a:gd name="T74" fmla="*/ 2147483647 w 553"/>
                <a:gd name="T75" fmla="*/ 2147483647 h 609"/>
                <a:gd name="T76" fmla="*/ 2147483647 w 553"/>
                <a:gd name="T77" fmla="*/ 2147483647 h 609"/>
                <a:gd name="T78" fmla="*/ 2147483647 w 553"/>
                <a:gd name="T79" fmla="*/ 2147483647 h 609"/>
                <a:gd name="T80" fmla="*/ 2147483647 w 553"/>
                <a:gd name="T81" fmla="*/ 2147483647 h 609"/>
                <a:gd name="T82" fmla="*/ 2147483647 w 553"/>
                <a:gd name="T83" fmla="*/ 2147483647 h 609"/>
                <a:gd name="T84" fmla="*/ 2147483647 w 553"/>
                <a:gd name="T85" fmla="*/ 2147483647 h 609"/>
                <a:gd name="T86" fmla="*/ 2147483647 w 553"/>
                <a:gd name="T87" fmla="*/ 2147483647 h 609"/>
                <a:gd name="T88" fmla="*/ 2147483647 w 553"/>
                <a:gd name="T89" fmla="*/ 2147483647 h 609"/>
                <a:gd name="T90" fmla="*/ 2147483647 w 553"/>
                <a:gd name="T91" fmla="*/ 2147483647 h 609"/>
                <a:gd name="T92" fmla="*/ 2147483647 w 553"/>
                <a:gd name="T93" fmla="*/ 2147483647 h 609"/>
                <a:gd name="T94" fmla="*/ 2147483647 w 553"/>
                <a:gd name="T95" fmla="*/ 2147483647 h 609"/>
                <a:gd name="T96" fmla="*/ 2147483647 w 553"/>
                <a:gd name="T97" fmla="*/ 2147483647 h 609"/>
                <a:gd name="T98" fmla="*/ 2147483647 w 553"/>
                <a:gd name="T99" fmla="*/ 2147483647 h 609"/>
                <a:gd name="T100" fmla="*/ 2147483647 w 553"/>
                <a:gd name="T101" fmla="*/ 2147483647 h 609"/>
                <a:gd name="T102" fmla="*/ 2147483647 w 553"/>
                <a:gd name="T103" fmla="*/ 2147483647 h 609"/>
                <a:gd name="T104" fmla="*/ 2147483647 w 553"/>
                <a:gd name="T105" fmla="*/ 2147483647 h 60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53"/>
                <a:gd name="T160" fmla="*/ 0 h 609"/>
                <a:gd name="T161" fmla="*/ 553 w 553"/>
                <a:gd name="T162" fmla="*/ 609 h 60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53" h="609">
                  <a:moveTo>
                    <a:pt x="422" y="0"/>
                  </a:moveTo>
                  <a:lnTo>
                    <a:pt x="432" y="2"/>
                  </a:lnTo>
                  <a:lnTo>
                    <a:pt x="443" y="9"/>
                  </a:lnTo>
                  <a:lnTo>
                    <a:pt x="459" y="13"/>
                  </a:lnTo>
                  <a:lnTo>
                    <a:pt x="471" y="18"/>
                  </a:lnTo>
                  <a:lnTo>
                    <a:pt x="478" y="21"/>
                  </a:lnTo>
                  <a:lnTo>
                    <a:pt x="481" y="22"/>
                  </a:lnTo>
                  <a:lnTo>
                    <a:pt x="482" y="24"/>
                  </a:lnTo>
                  <a:lnTo>
                    <a:pt x="484" y="28"/>
                  </a:lnTo>
                  <a:lnTo>
                    <a:pt x="485" y="33"/>
                  </a:lnTo>
                  <a:lnTo>
                    <a:pt x="485" y="41"/>
                  </a:lnTo>
                  <a:lnTo>
                    <a:pt x="481" y="52"/>
                  </a:lnTo>
                  <a:lnTo>
                    <a:pt x="473" y="64"/>
                  </a:lnTo>
                  <a:lnTo>
                    <a:pt x="463" y="93"/>
                  </a:lnTo>
                  <a:lnTo>
                    <a:pt x="452" y="115"/>
                  </a:lnTo>
                  <a:lnTo>
                    <a:pt x="445" y="130"/>
                  </a:lnTo>
                  <a:lnTo>
                    <a:pt x="440" y="138"/>
                  </a:lnTo>
                  <a:lnTo>
                    <a:pt x="437" y="141"/>
                  </a:lnTo>
                  <a:lnTo>
                    <a:pt x="437" y="144"/>
                  </a:lnTo>
                  <a:lnTo>
                    <a:pt x="437" y="150"/>
                  </a:lnTo>
                  <a:lnTo>
                    <a:pt x="437" y="160"/>
                  </a:lnTo>
                  <a:lnTo>
                    <a:pt x="435" y="172"/>
                  </a:lnTo>
                  <a:lnTo>
                    <a:pt x="430" y="185"/>
                  </a:lnTo>
                  <a:lnTo>
                    <a:pt x="422" y="195"/>
                  </a:lnTo>
                  <a:lnTo>
                    <a:pt x="410" y="205"/>
                  </a:lnTo>
                  <a:lnTo>
                    <a:pt x="407" y="208"/>
                  </a:lnTo>
                  <a:lnTo>
                    <a:pt x="406" y="212"/>
                  </a:lnTo>
                  <a:lnTo>
                    <a:pt x="405" y="219"/>
                  </a:lnTo>
                  <a:lnTo>
                    <a:pt x="402" y="225"/>
                  </a:lnTo>
                  <a:lnTo>
                    <a:pt x="396" y="232"/>
                  </a:lnTo>
                  <a:lnTo>
                    <a:pt x="387" y="239"/>
                  </a:lnTo>
                  <a:lnTo>
                    <a:pt x="372" y="245"/>
                  </a:lnTo>
                  <a:lnTo>
                    <a:pt x="369" y="246"/>
                  </a:lnTo>
                  <a:lnTo>
                    <a:pt x="364" y="251"/>
                  </a:lnTo>
                  <a:lnTo>
                    <a:pt x="357" y="260"/>
                  </a:lnTo>
                  <a:lnTo>
                    <a:pt x="349" y="269"/>
                  </a:lnTo>
                  <a:lnTo>
                    <a:pt x="340" y="280"/>
                  </a:lnTo>
                  <a:lnTo>
                    <a:pt x="335" y="291"/>
                  </a:lnTo>
                  <a:lnTo>
                    <a:pt x="334" y="301"/>
                  </a:lnTo>
                  <a:lnTo>
                    <a:pt x="331" y="311"/>
                  </a:lnTo>
                  <a:lnTo>
                    <a:pt x="324" y="322"/>
                  </a:lnTo>
                  <a:lnTo>
                    <a:pt x="315" y="335"/>
                  </a:lnTo>
                  <a:lnTo>
                    <a:pt x="305" y="346"/>
                  </a:lnTo>
                  <a:lnTo>
                    <a:pt x="297" y="354"/>
                  </a:lnTo>
                  <a:lnTo>
                    <a:pt x="290" y="361"/>
                  </a:lnTo>
                  <a:lnTo>
                    <a:pt x="287" y="363"/>
                  </a:lnTo>
                  <a:lnTo>
                    <a:pt x="286" y="366"/>
                  </a:lnTo>
                  <a:lnTo>
                    <a:pt x="282" y="374"/>
                  </a:lnTo>
                  <a:lnTo>
                    <a:pt x="275" y="386"/>
                  </a:lnTo>
                  <a:lnTo>
                    <a:pt x="265" y="401"/>
                  </a:lnTo>
                  <a:lnTo>
                    <a:pt x="252" y="416"/>
                  </a:lnTo>
                  <a:lnTo>
                    <a:pt x="235" y="433"/>
                  </a:lnTo>
                  <a:lnTo>
                    <a:pt x="216" y="448"/>
                  </a:lnTo>
                  <a:lnTo>
                    <a:pt x="193" y="459"/>
                  </a:lnTo>
                  <a:lnTo>
                    <a:pt x="167" y="467"/>
                  </a:lnTo>
                  <a:lnTo>
                    <a:pt x="154" y="471"/>
                  </a:lnTo>
                  <a:lnTo>
                    <a:pt x="147" y="478"/>
                  </a:lnTo>
                  <a:lnTo>
                    <a:pt x="145" y="486"/>
                  </a:lnTo>
                  <a:lnTo>
                    <a:pt x="145" y="494"/>
                  </a:lnTo>
                  <a:lnTo>
                    <a:pt x="150" y="502"/>
                  </a:lnTo>
                  <a:lnTo>
                    <a:pt x="152" y="511"/>
                  </a:lnTo>
                  <a:lnTo>
                    <a:pt x="156" y="515"/>
                  </a:lnTo>
                  <a:lnTo>
                    <a:pt x="158" y="517"/>
                  </a:lnTo>
                  <a:lnTo>
                    <a:pt x="159" y="519"/>
                  </a:lnTo>
                  <a:lnTo>
                    <a:pt x="166" y="524"/>
                  </a:lnTo>
                  <a:lnTo>
                    <a:pt x="175" y="530"/>
                  </a:lnTo>
                  <a:lnTo>
                    <a:pt x="186" y="537"/>
                  </a:lnTo>
                  <a:lnTo>
                    <a:pt x="199" y="541"/>
                  </a:lnTo>
                  <a:lnTo>
                    <a:pt x="210" y="542"/>
                  </a:lnTo>
                  <a:lnTo>
                    <a:pt x="219" y="539"/>
                  </a:lnTo>
                  <a:lnTo>
                    <a:pt x="229" y="532"/>
                  </a:lnTo>
                  <a:lnTo>
                    <a:pt x="241" y="523"/>
                  </a:lnTo>
                  <a:lnTo>
                    <a:pt x="255" y="513"/>
                  </a:lnTo>
                  <a:lnTo>
                    <a:pt x="268" y="502"/>
                  </a:lnTo>
                  <a:lnTo>
                    <a:pt x="282" y="494"/>
                  </a:lnTo>
                  <a:lnTo>
                    <a:pt x="294" y="486"/>
                  </a:lnTo>
                  <a:lnTo>
                    <a:pt x="304" y="482"/>
                  </a:lnTo>
                  <a:lnTo>
                    <a:pt x="309" y="481"/>
                  </a:lnTo>
                  <a:lnTo>
                    <a:pt x="315" y="481"/>
                  </a:lnTo>
                  <a:lnTo>
                    <a:pt x="323" y="476"/>
                  </a:lnTo>
                  <a:lnTo>
                    <a:pt x="330" y="471"/>
                  </a:lnTo>
                  <a:lnTo>
                    <a:pt x="335" y="466"/>
                  </a:lnTo>
                  <a:lnTo>
                    <a:pt x="339" y="460"/>
                  </a:lnTo>
                  <a:lnTo>
                    <a:pt x="342" y="459"/>
                  </a:lnTo>
                  <a:lnTo>
                    <a:pt x="345" y="457"/>
                  </a:lnTo>
                  <a:lnTo>
                    <a:pt x="353" y="453"/>
                  </a:lnTo>
                  <a:lnTo>
                    <a:pt x="365" y="449"/>
                  </a:lnTo>
                  <a:lnTo>
                    <a:pt x="380" y="445"/>
                  </a:lnTo>
                  <a:lnTo>
                    <a:pt x="399" y="444"/>
                  </a:lnTo>
                  <a:lnTo>
                    <a:pt x="420" y="446"/>
                  </a:lnTo>
                  <a:lnTo>
                    <a:pt x="429" y="446"/>
                  </a:lnTo>
                  <a:lnTo>
                    <a:pt x="436" y="444"/>
                  </a:lnTo>
                  <a:lnTo>
                    <a:pt x="440" y="438"/>
                  </a:lnTo>
                  <a:lnTo>
                    <a:pt x="443" y="431"/>
                  </a:lnTo>
                  <a:lnTo>
                    <a:pt x="443" y="425"/>
                  </a:lnTo>
                  <a:lnTo>
                    <a:pt x="443" y="421"/>
                  </a:lnTo>
                  <a:lnTo>
                    <a:pt x="443" y="419"/>
                  </a:lnTo>
                  <a:lnTo>
                    <a:pt x="445" y="416"/>
                  </a:lnTo>
                  <a:lnTo>
                    <a:pt x="450" y="410"/>
                  </a:lnTo>
                  <a:lnTo>
                    <a:pt x="456" y="401"/>
                  </a:lnTo>
                  <a:lnTo>
                    <a:pt x="466" y="393"/>
                  </a:lnTo>
                  <a:lnTo>
                    <a:pt x="478" y="385"/>
                  </a:lnTo>
                  <a:lnTo>
                    <a:pt x="492" y="380"/>
                  </a:lnTo>
                  <a:lnTo>
                    <a:pt x="507" y="378"/>
                  </a:lnTo>
                  <a:lnTo>
                    <a:pt x="523" y="382"/>
                  </a:lnTo>
                  <a:lnTo>
                    <a:pt x="540" y="392"/>
                  </a:lnTo>
                  <a:lnTo>
                    <a:pt x="549" y="403"/>
                  </a:lnTo>
                  <a:lnTo>
                    <a:pt x="553" y="414"/>
                  </a:lnTo>
                  <a:lnTo>
                    <a:pt x="553" y="423"/>
                  </a:lnTo>
                  <a:lnTo>
                    <a:pt x="552" y="431"/>
                  </a:lnTo>
                  <a:lnTo>
                    <a:pt x="550" y="437"/>
                  </a:lnTo>
                  <a:lnTo>
                    <a:pt x="549" y="438"/>
                  </a:lnTo>
                  <a:lnTo>
                    <a:pt x="548" y="442"/>
                  </a:lnTo>
                  <a:lnTo>
                    <a:pt x="545" y="452"/>
                  </a:lnTo>
                  <a:lnTo>
                    <a:pt x="541" y="464"/>
                  </a:lnTo>
                  <a:lnTo>
                    <a:pt x="535" y="478"/>
                  </a:lnTo>
                  <a:lnTo>
                    <a:pt x="530" y="491"/>
                  </a:lnTo>
                  <a:lnTo>
                    <a:pt x="526" y="502"/>
                  </a:lnTo>
                  <a:lnTo>
                    <a:pt x="519" y="511"/>
                  </a:lnTo>
                  <a:lnTo>
                    <a:pt x="508" y="517"/>
                  </a:lnTo>
                  <a:lnTo>
                    <a:pt x="496" y="522"/>
                  </a:lnTo>
                  <a:lnTo>
                    <a:pt x="484" y="524"/>
                  </a:lnTo>
                  <a:lnTo>
                    <a:pt x="474" y="526"/>
                  </a:lnTo>
                  <a:lnTo>
                    <a:pt x="471" y="527"/>
                  </a:lnTo>
                  <a:lnTo>
                    <a:pt x="469" y="527"/>
                  </a:lnTo>
                  <a:lnTo>
                    <a:pt x="463" y="527"/>
                  </a:lnTo>
                  <a:lnTo>
                    <a:pt x="455" y="527"/>
                  </a:lnTo>
                  <a:lnTo>
                    <a:pt x="448" y="524"/>
                  </a:lnTo>
                  <a:lnTo>
                    <a:pt x="441" y="520"/>
                  </a:lnTo>
                  <a:lnTo>
                    <a:pt x="440" y="513"/>
                  </a:lnTo>
                  <a:lnTo>
                    <a:pt x="436" y="505"/>
                  </a:lnTo>
                  <a:lnTo>
                    <a:pt x="429" y="502"/>
                  </a:lnTo>
                  <a:lnTo>
                    <a:pt x="420" y="501"/>
                  </a:lnTo>
                  <a:lnTo>
                    <a:pt x="410" y="504"/>
                  </a:lnTo>
                  <a:lnTo>
                    <a:pt x="403" y="509"/>
                  </a:lnTo>
                  <a:lnTo>
                    <a:pt x="399" y="517"/>
                  </a:lnTo>
                  <a:lnTo>
                    <a:pt x="398" y="527"/>
                  </a:lnTo>
                  <a:lnTo>
                    <a:pt x="396" y="537"/>
                  </a:lnTo>
                  <a:lnTo>
                    <a:pt x="392" y="547"/>
                  </a:lnTo>
                  <a:lnTo>
                    <a:pt x="385" y="556"/>
                  </a:lnTo>
                  <a:lnTo>
                    <a:pt x="376" y="562"/>
                  </a:lnTo>
                  <a:lnTo>
                    <a:pt x="364" y="565"/>
                  </a:lnTo>
                  <a:lnTo>
                    <a:pt x="345" y="567"/>
                  </a:lnTo>
                  <a:lnTo>
                    <a:pt x="324" y="569"/>
                  </a:lnTo>
                  <a:lnTo>
                    <a:pt x="305" y="573"/>
                  </a:lnTo>
                  <a:lnTo>
                    <a:pt x="287" y="579"/>
                  </a:lnTo>
                  <a:lnTo>
                    <a:pt x="274" y="587"/>
                  </a:lnTo>
                  <a:lnTo>
                    <a:pt x="261" y="592"/>
                  </a:lnTo>
                  <a:lnTo>
                    <a:pt x="246" y="597"/>
                  </a:lnTo>
                  <a:lnTo>
                    <a:pt x="231" y="597"/>
                  </a:lnTo>
                  <a:lnTo>
                    <a:pt x="219" y="597"/>
                  </a:lnTo>
                  <a:lnTo>
                    <a:pt x="210" y="594"/>
                  </a:lnTo>
                  <a:lnTo>
                    <a:pt x="205" y="591"/>
                  </a:lnTo>
                  <a:lnTo>
                    <a:pt x="203" y="587"/>
                  </a:lnTo>
                  <a:lnTo>
                    <a:pt x="193" y="580"/>
                  </a:lnTo>
                  <a:lnTo>
                    <a:pt x="181" y="573"/>
                  </a:lnTo>
                  <a:lnTo>
                    <a:pt x="167" y="567"/>
                  </a:lnTo>
                  <a:lnTo>
                    <a:pt x="152" y="562"/>
                  </a:lnTo>
                  <a:lnTo>
                    <a:pt x="140" y="561"/>
                  </a:lnTo>
                  <a:lnTo>
                    <a:pt x="124" y="562"/>
                  </a:lnTo>
                  <a:lnTo>
                    <a:pt x="103" y="567"/>
                  </a:lnTo>
                  <a:lnTo>
                    <a:pt x="80" y="573"/>
                  </a:lnTo>
                  <a:lnTo>
                    <a:pt x="57" y="580"/>
                  </a:lnTo>
                  <a:lnTo>
                    <a:pt x="38" y="590"/>
                  </a:lnTo>
                  <a:lnTo>
                    <a:pt x="25" y="599"/>
                  </a:lnTo>
                  <a:lnTo>
                    <a:pt x="17" y="606"/>
                  </a:lnTo>
                  <a:lnTo>
                    <a:pt x="9" y="609"/>
                  </a:lnTo>
                  <a:lnTo>
                    <a:pt x="4" y="609"/>
                  </a:lnTo>
                  <a:lnTo>
                    <a:pt x="0" y="605"/>
                  </a:lnTo>
                  <a:lnTo>
                    <a:pt x="0" y="597"/>
                  </a:lnTo>
                  <a:lnTo>
                    <a:pt x="4" y="587"/>
                  </a:lnTo>
                  <a:lnTo>
                    <a:pt x="10" y="577"/>
                  </a:lnTo>
                  <a:lnTo>
                    <a:pt x="21" y="567"/>
                  </a:lnTo>
                  <a:lnTo>
                    <a:pt x="34" y="556"/>
                  </a:lnTo>
                  <a:lnTo>
                    <a:pt x="46" y="546"/>
                  </a:lnTo>
                  <a:lnTo>
                    <a:pt x="60" y="537"/>
                  </a:lnTo>
                  <a:lnTo>
                    <a:pt x="69" y="528"/>
                  </a:lnTo>
                  <a:lnTo>
                    <a:pt x="77" y="523"/>
                  </a:lnTo>
                  <a:lnTo>
                    <a:pt x="80" y="520"/>
                  </a:lnTo>
                  <a:lnTo>
                    <a:pt x="83" y="519"/>
                  </a:lnTo>
                  <a:lnTo>
                    <a:pt x="90" y="512"/>
                  </a:lnTo>
                  <a:lnTo>
                    <a:pt x="99" y="502"/>
                  </a:lnTo>
                  <a:lnTo>
                    <a:pt x="110" y="490"/>
                  </a:lnTo>
                  <a:lnTo>
                    <a:pt x="121" y="475"/>
                  </a:lnTo>
                  <a:lnTo>
                    <a:pt x="129" y="457"/>
                  </a:lnTo>
                  <a:lnTo>
                    <a:pt x="136" y="444"/>
                  </a:lnTo>
                  <a:lnTo>
                    <a:pt x="144" y="429"/>
                  </a:lnTo>
                  <a:lnTo>
                    <a:pt x="155" y="412"/>
                  </a:lnTo>
                  <a:lnTo>
                    <a:pt x="167" y="395"/>
                  </a:lnTo>
                  <a:lnTo>
                    <a:pt x="180" y="377"/>
                  </a:lnTo>
                  <a:lnTo>
                    <a:pt x="192" y="362"/>
                  </a:lnTo>
                  <a:lnTo>
                    <a:pt x="203" y="348"/>
                  </a:lnTo>
                  <a:lnTo>
                    <a:pt x="211" y="336"/>
                  </a:lnTo>
                  <a:lnTo>
                    <a:pt x="218" y="329"/>
                  </a:lnTo>
                  <a:lnTo>
                    <a:pt x="219" y="326"/>
                  </a:lnTo>
                  <a:lnTo>
                    <a:pt x="334" y="183"/>
                  </a:lnTo>
                  <a:lnTo>
                    <a:pt x="335" y="179"/>
                  </a:lnTo>
                  <a:lnTo>
                    <a:pt x="340" y="172"/>
                  </a:lnTo>
                  <a:lnTo>
                    <a:pt x="349" y="160"/>
                  </a:lnTo>
                  <a:lnTo>
                    <a:pt x="358" y="145"/>
                  </a:lnTo>
                  <a:lnTo>
                    <a:pt x="369" y="129"/>
                  </a:lnTo>
                  <a:lnTo>
                    <a:pt x="379" y="111"/>
                  </a:lnTo>
                  <a:lnTo>
                    <a:pt x="387" y="95"/>
                  </a:lnTo>
                  <a:lnTo>
                    <a:pt x="392" y="81"/>
                  </a:lnTo>
                  <a:lnTo>
                    <a:pt x="395" y="69"/>
                  </a:lnTo>
                  <a:lnTo>
                    <a:pt x="398" y="54"/>
                  </a:lnTo>
                  <a:lnTo>
                    <a:pt x="400" y="39"/>
                  </a:lnTo>
                  <a:lnTo>
                    <a:pt x="403" y="26"/>
                  </a:lnTo>
                  <a:lnTo>
                    <a:pt x="407" y="15"/>
                  </a:lnTo>
                  <a:lnTo>
                    <a:pt x="410" y="9"/>
                  </a:lnTo>
                  <a:lnTo>
                    <a:pt x="410" y="6"/>
                  </a:lnTo>
                  <a:lnTo>
                    <a:pt x="411" y="4"/>
                  </a:lnTo>
                  <a:lnTo>
                    <a:pt x="413" y="2"/>
                  </a:lnTo>
                  <a:lnTo>
                    <a:pt x="417" y="0"/>
                  </a:lnTo>
                  <a:lnTo>
                    <a:pt x="42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6" name="Freeform 715"/>
            <p:cNvSpPr>
              <a:spLocks/>
            </p:cNvSpPr>
            <p:nvPr/>
          </p:nvSpPr>
          <p:spPr bwMode="auto">
            <a:xfrm rot="1114411" flipH="1">
              <a:off x="1671035" y="4328937"/>
              <a:ext cx="496843" cy="482934"/>
            </a:xfrm>
            <a:custGeom>
              <a:avLst/>
              <a:gdLst>
                <a:gd name="T0" fmla="*/ 539663300 w 893"/>
                <a:gd name="T1" fmla="*/ 7065970 h 868"/>
                <a:gd name="T2" fmla="*/ 580292594 w 893"/>
                <a:gd name="T3" fmla="*/ 25614419 h 868"/>
                <a:gd name="T4" fmla="*/ 612089434 w 893"/>
                <a:gd name="T5" fmla="*/ 46812328 h 868"/>
                <a:gd name="T6" fmla="*/ 657134678 w 893"/>
                <a:gd name="T7" fmla="*/ 66243745 h 868"/>
                <a:gd name="T8" fmla="*/ 695997481 w 893"/>
                <a:gd name="T9" fmla="*/ 78609192 h 868"/>
                <a:gd name="T10" fmla="*/ 710129410 w 893"/>
                <a:gd name="T11" fmla="*/ 82142177 h 868"/>
                <a:gd name="T12" fmla="*/ 734860285 w 893"/>
                <a:gd name="T13" fmla="*/ 103340087 h 868"/>
                <a:gd name="T14" fmla="*/ 757824669 w 893"/>
                <a:gd name="T15" fmla="*/ 128953949 h 868"/>
                <a:gd name="T16" fmla="*/ 785205559 w 893"/>
                <a:gd name="T17" fmla="*/ 161634338 h 868"/>
                <a:gd name="T18" fmla="*/ 781672576 w 893"/>
                <a:gd name="T19" fmla="*/ 204913125 h 868"/>
                <a:gd name="T20" fmla="*/ 759591160 w 893"/>
                <a:gd name="T21" fmla="*/ 240242974 h 868"/>
                <a:gd name="T22" fmla="*/ 758708193 w 893"/>
                <a:gd name="T23" fmla="*/ 248192468 h 868"/>
                <a:gd name="T24" fmla="*/ 759591160 w 893"/>
                <a:gd name="T25" fmla="*/ 253491945 h 868"/>
                <a:gd name="T26" fmla="*/ 754291687 w 893"/>
                <a:gd name="T27" fmla="*/ 295004240 h 868"/>
                <a:gd name="T28" fmla="*/ 734860285 w 893"/>
                <a:gd name="T29" fmla="*/ 347999013 h 868"/>
                <a:gd name="T30" fmla="*/ 701296955 w 893"/>
                <a:gd name="T31" fmla="*/ 409826249 h 868"/>
                <a:gd name="T32" fmla="*/ 657134678 w 893"/>
                <a:gd name="T33" fmla="*/ 482252440 h 868"/>
                <a:gd name="T34" fmla="*/ 635936785 w 893"/>
                <a:gd name="T35" fmla="*/ 529947736 h 868"/>
                <a:gd name="T36" fmla="*/ 619155398 w 893"/>
                <a:gd name="T37" fmla="*/ 561744600 h 868"/>
                <a:gd name="T38" fmla="*/ 612089434 w 893"/>
                <a:gd name="T39" fmla="*/ 612089913 h 868"/>
                <a:gd name="T40" fmla="*/ 563510651 w 893"/>
                <a:gd name="T41" fmla="*/ 672150657 h 868"/>
                <a:gd name="T42" fmla="*/ 523764880 w 893"/>
                <a:gd name="T43" fmla="*/ 714546476 h 868"/>
                <a:gd name="T44" fmla="*/ 515815392 w 893"/>
                <a:gd name="T45" fmla="*/ 738393846 h 868"/>
                <a:gd name="T46" fmla="*/ 515815392 w 893"/>
                <a:gd name="T47" fmla="*/ 760475280 h 868"/>
                <a:gd name="T48" fmla="*/ 484018553 w 893"/>
                <a:gd name="T49" fmla="*/ 766657725 h 868"/>
                <a:gd name="T50" fmla="*/ 451338746 w 893"/>
                <a:gd name="T51" fmla="*/ 757825263 h 868"/>
                <a:gd name="T52" fmla="*/ 440739800 w 893"/>
                <a:gd name="T53" fmla="*/ 734860861 h 868"/>
                <a:gd name="T54" fmla="*/ 407176470 w 893"/>
                <a:gd name="T55" fmla="*/ 711896459 h 868"/>
                <a:gd name="T56" fmla="*/ 380679104 w 893"/>
                <a:gd name="T57" fmla="*/ 703947521 h 868"/>
                <a:gd name="T58" fmla="*/ 347115773 w 893"/>
                <a:gd name="T59" fmla="*/ 672150657 h 868"/>
                <a:gd name="T60" fmla="*/ 295004009 w 893"/>
                <a:gd name="T61" fmla="*/ 637703776 h 868"/>
                <a:gd name="T62" fmla="*/ 237593327 w 893"/>
                <a:gd name="T63" fmla="*/ 620922376 h 868"/>
                <a:gd name="T64" fmla="*/ 196080509 w 893"/>
                <a:gd name="T65" fmla="*/ 591774972 h 868"/>
                <a:gd name="T66" fmla="*/ 158101229 w 893"/>
                <a:gd name="T67" fmla="*/ 579409525 h 868"/>
                <a:gd name="T68" fmla="*/ 119238425 w 893"/>
                <a:gd name="T69" fmla="*/ 595307957 h 868"/>
                <a:gd name="T70" fmla="*/ 106872988 w 893"/>
                <a:gd name="T71" fmla="*/ 625338329 h 868"/>
                <a:gd name="T72" fmla="*/ 133370354 w 893"/>
                <a:gd name="T73" fmla="*/ 665084687 h 868"/>
                <a:gd name="T74" fmla="*/ 135136845 w 893"/>
                <a:gd name="T75" fmla="*/ 688049089 h 868"/>
                <a:gd name="T76" fmla="*/ 118354902 w 893"/>
                <a:gd name="T77" fmla="*/ 700414536 h 868"/>
                <a:gd name="T78" fmla="*/ 105989464 w 893"/>
                <a:gd name="T79" fmla="*/ 702181029 h 868"/>
                <a:gd name="T80" fmla="*/ 80375622 w 893"/>
                <a:gd name="T81" fmla="*/ 697764519 h 868"/>
                <a:gd name="T82" fmla="*/ 29147381 w 893"/>
                <a:gd name="T83" fmla="*/ 673917149 h 868"/>
                <a:gd name="T84" fmla="*/ 12365437 w 893"/>
                <a:gd name="T85" fmla="*/ 626221853 h 868"/>
                <a:gd name="T86" fmla="*/ 43279309 w 893"/>
                <a:gd name="T87" fmla="*/ 575876540 h 868"/>
                <a:gd name="T88" fmla="*/ 68893152 w 893"/>
                <a:gd name="T89" fmla="*/ 526414751 h 868"/>
                <a:gd name="T90" fmla="*/ 78609131 w 893"/>
                <a:gd name="T91" fmla="*/ 503450349 h 868"/>
                <a:gd name="T92" fmla="*/ 99807024 w 893"/>
                <a:gd name="T93" fmla="*/ 495501412 h 868"/>
                <a:gd name="T94" fmla="*/ 148385250 w 893"/>
                <a:gd name="T95" fmla="*/ 475186470 h 868"/>
                <a:gd name="T96" fmla="*/ 189898068 w 893"/>
                <a:gd name="T97" fmla="*/ 453988561 h 868"/>
                <a:gd name="T98" fmla="*/ 201379982 w 893"/>
                <a:gd name="T99" fmla="*/ 438973653 h 868"/>
                <a:gd name="T100" fmla="*/ 198730523 w 893"/>
                <a:gd name="T101" fmla="*/ 406293264 h 868"/>
                <a:gd name="T102" fmla="*/ 209329470 w 893"/>
                <a:gd name="T103" fmla="*/ 372729908 h 868"/>
                <a:gd name="T104" fmla="*/ 241126309 w 893"/>
                <a:gd name="T105" fmla="*/ 350649030 h 868"/>
                <a:gd name="T106" fmla="*/ 291471026 w 893"/>
                <a:gd name="T107" fmla="*/ 306486719 h 868"/>
                <a:gd name="T108" fmla="*/ 347998741 w 893"/>
                <a:gd name="T109" fmla="*/ 247308944 h 868"/>
                <a:gd name="T110" fmla="*/ 393927508 w 893"/>
                <a:gd name="T111" fmla="*/ 192547677 h 868"/>
                <a:gd name="T112" fmla="*/ 413358910 w 893"/>
                <a:gd name="T113" fmla="*/ 155451336 h 868"/>
                <a:gd name="T114" fmla="*/ 438089785 w 893"/>
                <a:gd name="T115" fmla="*/ 108639564 h 868"/>
                <a:gd name="T116" fmla="*/ 470770148 w 893"/>
                <a:gd name="T117" fmla="*/ 55644790 h 868"/>
                <a:gd name="T118" fmla="*/ 496383991 w 893"/>
                <a:gd name="T119" fmla="*/ 16781957 h 868"/>
                <a:gd name="T120" fmla="*/ 502566987 w 893"/>
                <a:gd name="T121" fmla="*/ 7065970 h 868"/>
                <a:gd name="T122" fmla="*/ 516698916 w 893"/>
                <a:gd name="T123" fmla="*/ 0 h 86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93"/>
                <a:gd name="T187" fmla="*/ 0 h 868"/>
                <a:gd name="T188" fmla="*/ 893 w 893"/>
                <a:gd name="T189" fmla="*/ 868 h 86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93" h="868">
                  <a:moveTo>
                    <a:pt x="585" y="0"/>
                  </a:moveTo>
                  <a:lnTo>
                    <a:pt x="596" y="1"/>
                  </a:lnTo>
                  <a:lnTo>
                    <a:pt x="611" y="8"/>
                  </a:lnTo>
                  <a:lnTo>
                    <a:pt x="629" y="16"/>
                  </a:lnTo>
                  <a:lnTo>
                    <a:pt x="644" y="23"/>
                  </a:lnTo>
                  <a:lnTo>
                    <a:pt x="657" y="29"/>
                  </a:lnTo>
                  <a:lnTo>
                    <a:pt x="671" y="35"/>
                  </a:lnTo>
                  <a:lnTo>
                    <a:pt x="682" y="45"/>
                  </a:lnTo>
                  <a:lnTo>
                    <a:pt x="693" y="53"/>
                  </a:lnTo>
                  <a:lnTo>
                    <a:pt x="708" y="61"/>
                  </a:lnTo>
                  <a:lnTo>
                    <a:pt x="725" y="68"/>
                  </a:lnTo>
                  <a:lnTo>
                    <a:pt x="744" y="75"/>
                  </a:lnTo>
                  <a:lnTo>
                    <a:pt x="762" y="81"/>
                  </a:lnTo>
                  <a:lnTo>
                    <a:pt x="779" y="86"/>
                  </a:lnTo>
                  <a:lnTo>
                    <a:pt x="788" y="89"/>
                  </a:lnTo>
                  <a:lnTo>
                    <a:pt x="792" y="90"/>
                  </a:lnTo>
                  <a:lnTo>
                    <a:pt x="796" y="90"/>
                  </a:lnTo>
                  <a:lnTo>
                    <a:pt x="804" y="93"/>
                  </a:lnTo>
                  <a:lnTo>
                    <a:pt x="815" y="97"/>
                  </a:lnTo>
                  <a:lnTo>
                    <a:pt x="825" y="105"/>
                  </a:lnTo>
                  <a:lnTo>
                    <a:pt x="832" y="117"/>
                  </a:lnTo>
                  <a:lnTo>
                    <a:pt x="837" y="126"/>
                  </a:lnTo>
                  <a:lnTo>
                    <a:pt x="847" y="135"/>
                  </a:lnTo>
                  <a:lnTo>
                    <a:pt x="858" y="146"/>
                  </a:lnTo>
                  <a:lnTo>
                    <a:pt x="869" y="157"/>
                  </a:lnTo>
                  <a:lnTo>
                    <a:pt x="879" y="169"/>
                  </a:lnTo>
                  <a:lnTo>
                    <a:pt x="889" y="183"/>
                  </a:lnTo>
                  <a:lnTo>
                    <a:pt x="893" y="198"/>
                  </a:lnTo>
                  <a:lnTo>
                    <a:pt x="892" y="214"/>
                  </a:lnTo>
                  <a:lnTo>
                    <a:pt x="885" y="232"/>
                  </a:lnTo>
                  <a:lnTo>
                    <a:pt x="873" y="250"/>
                  </a:lnTo>
                  <a:lnTo>
                    <a:pt x="866" y="262"/>
                  </a:lnTo>
                  <a:lnTo>
                    <a:pt x="860" y="272"/>
                  </a:lnTo>
                  <a:lnTo>
                    <a:pt x="859" y="277"/>
                  </a:lnTo>
                  <a:lnTo>
                    <a:pt x="859" y="280"/>
                  </a:lnTo>
                  <a:lnTo>
                    <a:pt x="859" y="281"/>
                  </a:lnTo>
                  <a:lnTo>
                    <a:pt x="860" y="281"/>
                  </a:lnTo>
                  <a:lnTo>
                    <a:pt x="860" y="287"/>
                  </a:lnTo>
                  <a:lnTo>
                    <a:pt x="859" y="297"/>
                  </a:lnTo>
                  <a:lnTo>
                    <a:pt x="856" y="314"/>
                  </a:lnTo>
                  <a:lnTo>
                    <a:pt x="854" y="334"/>
                  </a:lnTo>
                  <a:lnTo>
                    <a:pt x="848" y="355"/>
                  </a:lnTo>
                  <a:lnTo>
                    <a:pt x="841" y="375"/>
                  </a:lnTo>
                  <a:lnTo>
                    <a:pt x="832" y="394"/>
                  </a:lnTo>
                  <a:lnTo>
                    <a:pt x="821" y="413"/>
                  </a:lnTo>
                  <a:lnTo>
                    <a:pt x="807" y="437"/>
                  </a:lnTo>
                  <a:lnTo>
                    <a:pt x="794" y="464"/>
                  </a:lnTo>
                  <a:lnTo>
                    <a:pt x="777" y="491"/>
                  </a:lnTo>
                  <a:lnTo>
                    <a:pt x="761" y="520"/>
                  </a:lnTo>
                  <a:lnTo>
                    <a:pt x="744" y="546"/>
                  </a:lnTo>
                  <a:lnTo>
                    <a:pt x="728" y="568"/>
                  </a:lnTo>
                  <a:lnTo>
                    <a:pt x="725" y="585"/>
                  </a:lnTo>
                  <a:lnTo>
                    <a:pt x="720" y="600"/>
                  </a:lnTo>
                  <a:lnTo>
                    <a:pt x="712" y="613"/>
                  </a:lnTo>
                  <a:lnTo>
                    <a:pt x="705" y="623"/>
                  </a:lnTo>
                  <a:lnTo>
                    <a:pt x="701" y="636"/>
                  </a:lnTo>
                  <a:lnTo>
                    <a:pt x="701" y="648"/>
                  </a:lnTo>
                  <a:lnTo>
                    <a:pt x="701" y="670"/>
                  </a:lnTo>
                  <a:lnTo>
                    <a:pt x="693" y="693"/>
                  </a:lnTo>
                  <a:lnTo>
                    <a:pt x="678" y="715"/>
                  </a:lnTo>
                  <a:lnTo>
                    <a:pt x="659" y="738"/>
                  </a:lnTo>
                  <a:lnTo>
                    <a:pt x="638" y="761"/>
                  </a:lnTo>
                  <a:lnTo>
                    <a:pt x="615" y="783"/>
                  </a:lnTo>
                  <a:lnTo>
                    <a:pt x="594" y="806"/>
                  </a:lnTo>
                  <a:lnTo>
                    <a:pt x="593" y="809"/>
                  </a:lnTo>
                  <a:lnTo>
                    <a:pt x="590" y="816"/>
                  </a:lnTo>
                  <a:lnTo>
                    <a:pt x="586" y="825"/>
                  </a:lnTo>
                  <a:lnTo>
                    <a:pt x="584" y="836"/>
                  </a:lnTo>
                  <a:lnTo>
                    <a:pt x="582" y="847"/>
                  </a:lnTo>
                  <a:lnTo>
                    <a:pt x="585" y="855"/>
                  </a:lnTo>
                  <a:lnTo>
                    <a:pt x="584" y="861"/>
                  </a:lnTo>
                  <a:lnTo>
                    <a:pt x="575" y="865"/>
                  </a:lnTo>
                  <a:lnTo>
                    <a:pt x="563" y="866"/>
                  </a:lnTo>
                  <a:lnTo>
                    <a:pt x="548" y="868"/>
                  </a:lnTo>
                  <a:lnTo>
                    <a:pt x="533" y="866"/>
                  </a:lnTo>
                  <a:lnTo>
                    <a:pt x="519" y="864"/>
                  </a:lnTo>
                  <a:lnTo>
                    <a:pt x="511" y="858"/>
                  </a:lnTo>
                  <a:lnTo>
                    <a:pt x="509" y="851"/>
                  </a:lnTo>
                  <a:lnTo>
                    <a:pt x="507" y="843"/>
                  </a:lnTo>
                  <a:lnTo>
                    <a:pt x="499" y="832"/>
                  </a:lnTo>
                  <a:lnTo>
                    <a:pt x="488" y="823"/>
                  </a:lnTo>
                  <a:lnTo>
                    <a:pt x="474" y="814"/>
                  </a:lnTo>
                  <a:lnTo>
                    <a:pt x="461" y="806"/>
                  </a:lnTo>
                  <a:lnTo>
                    <a:pt x="449" y="802"/>
                  </a:lnTo>
                  <a:lnTo>
                    <a:pt x="439" y="799"/>
                  </a:lnTo>
                  <a:lnTo>
                    <a:pt x="431" y="797"/>
                  </a:lnTo>
                  <a:lnTo>
                    <a:pt x="420" y="789"/>
                  </a:lnTo>
                  <a:lnTo>
                    <a:pt x="408" y="775"/>
                  </a:lnTo>
                  <a:lnTo>
                    <a:pt x="393" y="761"/>
                  </a:lnTo>
                  <a:lnTo>
                    <a:pt x="375" y="746"/>
                  </a:lnTo>
                  <a:lnTo>
                    <a:pt x="356" y="733"/>
                  </a:lnTo>
                  <a:lnTo>
                    <a:pt x="334" y="722"/>
                  </a:lnTo>
                  <a:lnTo>
                    <a:pt x="311" y="716"/>
                  </a:lnTo>
                  <a:lnTo>
                    <a:pt x="288" y="711"/>
                  </a:lnTo>
                  <a:lnTo>
                    <a:pt x="269" y="703"/>
                  </a:lnTo>
                  <a:lnTo>
                    <a:pt x="251" y="692"/>
                  </a:lnTo>
                  <a:lnTo>
                    <a:pt x="236" y="679"/>
                  </a:lnTo>
                  <a:lnTo>
                    <a:pt x="222" y="670"/>
                  </a:lnTo>
                  <a:lnTo>
                    <a:pt x="209" y="660"/>
                  </a:lnTo>
                  <a:lnTo>
                    <a:pt x="194" y="656"/>
                  </a:lnTo>
                  <a:lnTo>
                    <a:pt x="179" y="656"/>
                  </a:lnTo>
                  <a:lnTo>
                    <a:pt x="162" y="660"/>
                  </a:lnTo>
                  <a:lnTo>
                    <a:pt x="147" y="666"/>
                  </a:lnTo>
                  <a:lnTo>
                    <a:pt x="135" y="674"/>
                  </a:lnTo>
                  <a:lnTo>
                    <a:pt x="125" y="684"/>
                  </a:lnTo>
                  <a:lnTo>
                    <a:pt x="120" y="696"/>
                  </a:lnTo>
                  <a:lnTo>
                    <a:pt x="121" y="708"/>
                  </a:lnTo>
                  <a:lnTo>
                    <a:pt x="127" y="723"/>
                  </a:lnTo>
                  <a:lnTo>
                    <a:pt x="140" y="739"/>
                  </a:lnTo>
                  <a:lnTo>
                    <a:pt x="151" y="753"/>
                  </a:lnTo>
                  <a:lnTo>
                    <a:pt x="155" y="764"/>
                  </a:lnTo>
                  <a:lnTo>
                    <a:pt x="157" y="772"/>
                  </a:lnTo>
                  <a:lnTo>
                    <a:pt x="153" y="779"/>
                  </a:lnTo>
                  <a:lnTo>
                    <a:pt x="147" y="784"/>
                  </a:lnTo>
                  <a:lnTo>
                    <a:pt x="140" y="790"/>
                  </a:lnTo>
                  <a:lnTo>
                    <a:pt x="134" y="793"/>
                  </a:lnTo>
                  <a:lnTo>
                    <a:pt x="127" y="794"/>
                  </a:lnTo>
                  <a:lnTo>
                    <a:pt x="123" y="795"/>
                  </a:lnTo>
                  <a:lnTo>
                    <a:pt x="120" y="795"/>
                  </a:lnTo>
                  <a:lnTo>
                    <a:pt x="116" y="795"/>
                  </a:lnTo>
                  <a:lnTo>
                    <a:pt x="106" y="794"/>
                  </a:lnTo>
                  <a:lnTo>
                    <a:pt x="91" y="790"/>
                  </a:lnTo>
                  <a:lnTo>
                    <a:pt x="72" y="784"/>
                  </a:lnTo>
                  <a:lnTo>
                    <a:pt x="52" y="775"/>
                  </a:lnTo>
                  <a:lnTo>
                    <a:pt x="33" y="763"/>
                  </a:lnTo>
                  <a:lnTo>
                    <a:pt x="15" y="745"/>
                  </a:lnTo>
                  <a:lnTo>
                    <a:pt x="0" y="724"/>
                  </a:lnTo>
                  <a:lnTo>
                    <a:pt x="14" y="709"/>
                  </a:lnTo>
                  <a:lnTo>
                    <a:pt x="26" y="692"/>
                  </a:lnTo>
                  <a:lnTo>
                    <a:pt x="38" y="673"/>
                  </a:lnTo>
                  <a:lnTo>
                    <a:pt x="49" y="652"/>
                  </a:lnTo>
                  <a:lnTo>
                    <a:pt x="60" y="632"/>
                  </a:lnTo>
                  <a:lnTo>
                    <a:pt x="69" y="613"/>
                  </a:lnTo>
                  <a:lnTo>
                    <a:pt x="78" y="596"/>
                  </a:lnTo>
                  <a:lnTo>
                    <a:pt x="83" y="583"/>
                  </a:lnTo>
                  <a:lnTo>
                    <a:pt x="87" y="574"/>
                  </a:lnTo>
                  <a:lnTo>
                    <a:pt x="89" y="570"/>
                  </a:lnTo>
                  <a:lnTo>
                    <a:pt x="91" y="569"/>
                  </a:lnTo>
                  <a:lnTo>
                    <a:pt x="101" y="566"/>
                  </a:lnTo>
                  <a:lnTo>
                    <a:pt x="113" y="561"/>
                  </a:lnTo>
                  <a:lnTo>
                    <a:pt x="129" y="554"/>
                  </a:lnTo>
                  <a:lnTo>
                    <a:pt x="149" y="546"/>
                  </a:lnTo>
                  <a:lnTo>
                    <a:pt x="168" y="538"/>
                  </a:lnTo>
                  <a:lnTo>
                    <a:pt x="185" y="529"/>
                  </a:lnTo>
                  <a:lnTo>
                    <a:pt x="202" y="521"/>
                  </a:lnTo>
                  <a:lnTo>
                    <a:pt x="215" y="514"/>
                  </a:lnTo>
                  <a:lnTo>
                    <a:pt x="225" y="508"/>
                  </a:lnTo>
                  <a:lnTo>
                    <a:pt x="229" y="503"/>
                  </a:lnTo>
                  <a:lnTo>
                    <a:pt x="228" y="497"/>
                  </a:lnTo>
                  <a:lnTo>
                    <a:pt x="228" y="487"/>
                  </a:lnTo>
                  <a:lnTo>
                    <a:pt x="226" y="473"/>
                  </a:lnTo>
                  <a:lnTo>
                    <a:pt x="225" y="460"/>
                  </a:lnTo>
                  <a:lnTo>
                    <a:pt x="226" y="445"/>
                  </a:lnTo>
                  <a:lnTo>
                    <a:pt x="230" y="432"/>
                  </a:lnTo>
                  <a:lnTo>
                    <a:pt x="237" y="422"/>
                  </a:lnTo>
                  <a:lnTo>
                    <a:pt x="248" y="413"/>
                  </a:lnTo>
                  <a:lnTo>
                    <a:pt x="259" y="408"/>
                  </a:lnTo>
                  <a:lnTo>
                    <a:pt x="273" y="397"/>
                  </a:lnTo>
                  <a:lnTo>
                    <a:pt x="290" y="383"/>
                  </a:lnTo>
                  <a:lnTo>
                    <a:pt x="309" y="366"/>
                  </a:lnTo>
                  <a:lnTo>
                    <a:pt x="330" y="347"/>
                  </a:lnTo>
                  <a:lnTo>
                    <a:pt x="352" y="325"/>
                  </a:lnTo>
                  <a:lnTo>
                    <a:pt x="374" y="303"/>
                  </a:lnTo>
                  <a:lnTo>
                    <a:pt x="394" y="280"/>
                  </a:lnTo>
                  <a:lnTo>
                    <a:pt x="414" y="258"/>
                  </a:lnTo>
                  <a:lnTo>
                    <a:pt x="431" y="237"/>
                  </a:lnTo>
                  <a:lnTo>
                    <a:pt x="446" y="218"/>
                  </a:lnTo>
                  <a:lnTo>
                    <a:pt x="457" y="202"/>
                  </a:lnTo>
                  <a:lnTo>
                    <a:pt x="462" y="190"/>
                  </a:lnTo>
                  <a:lnTo>
                    <a:pt x="468" y="176"/>
                  </a:lnTo>
                  <a:lnTo>
                    <a:pt x="476" y="160"/>
                  </a:lnTo>
                  <a:lnTo>
                    <a:pt x="485" y="142"/>
                  </a:lnTo>
                  <a:lnTo>
                    <a:pt x="496" y="123"/>
                  </a:lnTo>
                  <a:lnTo>
                    <a:pt x="509" y="102"/>
                  </a:lnTo>
                  <a:lnTo>
                    <a:pt x="521" y="82"/>
                  </a:lnTo>
                  <a:lnTo>
                    <a:pt x="533" y="63"/>
                  </a:lnTo>
                  <a:lnTo>
                    <a:pt x="544" y="46"/>
                  </a:lnTo>
                  <a:lnTo>
                    <a:pt x="554" y="31"/>
                  </a:lnTo>
                  <a:lnTo>
                    <a:pt x="562" y="19"/>
                  </a:lnTo>
                  <a:lnTo>
                    <a:pt x="567" y="12"/>
                  </a:lnTo>
                  <a:lnTo>
                    <a:pt x="569" y="10"/>
                  </a:lnTo>
                  <a:lnTo>
                    <a:pt x="569" y="8"/>
                  </a:lnTo>
                  <a:lnTo>
                    <a:pt x="573" y="5"/>
                  </a:lnTo>
                  <a:lnTo>
                    <a:pt x="577" y="1"/>
                  </a:lnTo>
                  <a:lnTo>
                    <a:pt x="585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902"/>
            <p:cNvSpPr>
              <a:spLocks/>
            </p:cNvSpPr>
            <p:nvPr/>
          </p:nvSpPr>
          <p:spPr bwMode="auto">
            <a:xfrm rot="1114411" flipH="1">
              <a:off x="1764865" y="4694888"/>
              <a:ext cx="272192" cy="225368"/>
            </a:xfrm>
            <a:custGeom>
              <a:avLst/>
              <a:gdLst>
                <a:gd name="T0" fmla="*/ 158750 w 487"/>
                <a:gd name="T1" fmla="*/ 0 h 405"/>
                <a:gd name="T2" fmla="*/ 177800 w 487"/>
                <a:gd name="T3" fmla="*/ 4763 h 405"/>
                <a:gd name="T4" fmla="*/ 223838 w 487"/>
                <a:gd name="T5" fmla="*/ 17463 h 405"/>
                <a:gd name="T6" fmla="*/ 273050 w 487"/>
                <a:gd name="T7" fmla="*/ 36513 h 405"/>
                <a:gd name="T8" fmla="*/ 301625 w 487"/>
                <a:gd name="T9" fmla="*/ 61913 h 405"/>
                <a:gd name="T10" fmla="*/ 368300 w 487"/>
                <a:gd name="T11" fmla="*/ 82550 h 405"/>
                <a:gd name="T12" fmla="*/ 427038 w 487"/>
                <a:gd name="T13" fmla="*/ 122238 h 405"/>
                <a:gd name="T14" fmla="*/ 476250 w 487"/>
                <a:gd name="T15" fmla="*/ 166688 h 405"/>
                <a:gd name="T16" fmla="*/ 508000 w 487"/>
                <a:gd name="T17" fmla="*/ 201613 h 405"/>
                <a:gd name="T18" fmla="*/ 520700 w 487"/>
                <a:gd name="T19" fmla="*/ 217488 h 405"/>
                <a:gd name="T20" fmla="*/ 538163 w 487"/>
                <a:gd name="T21" fmla="*/ 223838 h 405"/>
                <a:gd name="T22" fmla="*/ 581025 w 487"/>
                <a:gd name="T23" fmla="*/ 241300 h 405"/>
                <a:gd name="T24" fmla="*/ 627063 w 487"/>
                <a:gd name="T25" fmla="*/ 266700 h 405"/>
                <a:gd name="T26" fmla="*/ 657225 w 487"/>
                <a:gd name="T27" fmla="*/ 303213 h 405"/>
                <a:gd name="T28" fmla="*/ 674688 w 487"/>
                <a:gd name="T29" fmla="*/ 330200 h 405"/>
                <a:gd name="T30" fmla="*/ 695325 w 487"/>
                <a:gd name="T31" fmla="*/ 330200 h 405"/>
                <a:gd name="T32" fmla="*/ 719138 w 487"/>
                <a:gd name="T33" fmla="*/ 320675 h 405"/>
                <a:gd name="T34" fmla="*/ 754063 w 487"/>
                <a:gd name="T35" fmla="*/ 331788 h 405"/>
                <a:gd name="T36" fmla="*/ 773113 w 487"/>
                <a:gd name="T37" fmla="*/ 366713 h 405"/>
                <a:gd name="T38" fmla="*/ 769938 w 487"/>
                <a:gd name="T39" fmla="*/ 414338 h 405"/>
                <a:gd name="T40" fmla="*/ 754063 w 487"/>
                <a:gd name="T41" fmla="*/ 463550 h 405"/>
                <a:gd name="T42" fmla="*/ 736600 w 487"/>
                <a:gd name="T43" fmla="*/ 500063 h 405"/>
                <a:gd name="T44" fmla="*/ 730250 w 487"/>
                <a:gd name="T45" fmla="*/ 515938 h 405"/>
                <a:gd name="T46" fmla="*/ 738188 w 487"/>
                <a:gd name="T47" fmla="*/ 557213 h 405"/>
                <a:gd name="T48" fmla="*/ 712788 w 487"/>
                <a:gd name="T49" fmla="*/ 588963 h 405"/>
                <a:gd name="T50" fmla="*/ 663575 w 487"/>
                <a:gd name="T51" fmla="*/ 612775 h 405"/>
                <a:gd name="T52" fmla="*/ 612775 w 487"/>
                <a:gd name="T53" fmla="*/ 630238 h 405"/>
                <a:gd name="T54" fmla="*/ 579438 w 487"/>
                <a:gd name="T55" fmla="*/ 639763 h 405"/>
                <a:gd name="T56" fmla="*/ 568325 w 487"/>
                <a:gd name="T57" fmla="*/ 641350 h 405"/>
                <a:gd name="T58" fmla="*/ 522288 w 487"/>
                <a:gd name="T59" fmla="*/ 642938 h 405"/>
                <a:gd name="T60" fmla="*/ 439738 w 487"/>
                <a:gd name="T61" fmla="*/ 635000 h 405"/>
                <a:gd name="T62" fmla="*/ 330200 w 487"/>
                <a:gd name="T63" fmla="*/ 603250 h 405"/>
                <a:gd name="T64" fmla="*/ 252413 w 487"/>
                <a:gd name="T65" fmla="*/ 563563 h 405"/>
                <a:gd name="T66" fmla="*/ 207963 w 487"/>
                <a:gd name="T67" fmla="*/ 522288 h 405"/>
                <a:gd name="T68" fmla="*/ 157163 w 487"/>
                <a:gd name="T69" fmla="*/ 466725 h 405"/>
                <a:gd name="T70" fmla="*/ 115888 w 487"/>
                <a:gd name="T71" fmla="*/ 407988 h 405"/>
                <a:gd name="T72" fmla="*/ 93663 w 487"/>
                <a:gd name="T73" fmla="*/ 357188 h 405"/>
                <a:gd name="T74" fmla="*/ 63500 w 487"/>
                <a:gd name="T75" fmla="*/ 307975 h 405"/>
                <a:gd name="T76" fmla="*/ 33338 w 487"/>
                <a:gd name="T77" fmla="*/ 265113 h 405"/>
                <a:gd name="T78" fmla="*/ 11113 w 487"/>
                <a:gd name="T79" fmla="*/ 236538 h 405"/>
                <a:gd name="T80" fmla="*/ 11113 w 487"/>
                <a:gd name="T81" fmla="*/ 228600 h 405"/>
                <a:gd name="T82" fmla="*/ 33338 w 487"/>
                <a:gd name="T83" fmla="*/ 195263 h 405"/>
                <a:gd name="T84" fmla="*/ 28575 w 487"/>
                <a:gd name="T85" fmla="*/ 141288 h 405"/>
                <a:gd name="T86" fmla="*/ 3175 w 487"/>
                <a:gd name="T87" fmla="*/ 87313 h 405"/>
                <a:gd name="T88" fmla="*/ 7938 w 487"/>
                <a:gd name="T89" fmla="*/ 47625 h 405"/>
                <a:gd name="T90" fmla="*/ 34925 w 487"/>
                <a:gd name="T91" fmla="*/ 23813 h 405"/>
                <a:gd name="T92" fmla="*/ 74613 w 487"/>
                <a:gd name="T93" fmla="*/ 9525 h 405"/>
                <a:gd name="T94" fmla="*/ 112713 w 487"/>
                <a:gd name="T95" fmla="*/ 3175 h 405"/>
                <a:gd name="T96" fmla="*/ 146050 w 487"/>
                <a:gd name="T97" fmla="*/ 0 h 40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87"/>
                <a:gd name="T148" fmla="*/ 0 h 405"/>
                <a:gd name="T149" fmla="*/ 487 w 487"/>
                <a:gd name="T150" fmla="*/ 405 h 40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87" h="405">
                  <a:moveTo>
                    <a:pt x="97" y="0"/>
                  </a:moveTo>
                  <a:lnTo>
                    <a:pt x="100" y="0"/>
                  </a:lnTo>
                  <a:lnTo>
                    <a:pt x="103" y="2"/>
                  </a:lnTo>
                  <a:lnTo>
                    <a:pt x="112" y="3"/>
                  </a:lnTo>
                  <a:lnTo>
                    <a:pt x="126" y="7"/>
                  </a:lnTo>
                  <a:lnTo>
                    <a:pt x="141" y="11"/>
                  </a:lnTo>
                  <a:lnTo>
                    <a:pt x="157" y="17"/>
                  </a:lnTo>
                  <a:lnTo>
                    <a:pt x="172" y="23"/>
                  </a:lnTo>
                  <a:lnTo>
                    <a:pt x="183" y="30"/>
                  </a:lnTo>
                  <a:lnTo>
                    <a:pt x="190" y="39"/>
                  </a:lnTo>
                  <a:lnTo>
                    <a:pt x="210" y="44"/>
                  </a:lnTo>
                  <a:lnTo>
                    <a:pt x="232" y="52"/>
                  </a:lnTo>
                  <a:lnTo>
                    <a:pt x="251" y="64"/>
                  </a:lnTo>
                  <a:lnTo>
                    <a:pt x="269" y="77"/>
                  </a:lnTo>
                  <a:lnTo>
                    <a:pt x="285" y="92"/>
                  </a:lnTo>
                  <a:lnTo>
                    <a:pt x="300" y="105"/>
                  </a:lnTo>
                  <a:lnTo>
                    <a:pt x="311" y="118"/>
                  </a:lnTo>
                  <a:lnTo>
                    <a:pt x="320" y="127"/>
                  </a:lnTo>
                  <a:lnTo>
                    <a:pt x="325" y="134"/>
                  </a:lnTo>
                  <a:lnTo>
                    <a:pt x="328" y="137"/>
                  </a:lnTo>
                  <a:lnTo>
                    <a:pt x="330" y="138"/>
                  </a:lnTo>
                  <a:lnTo>
                    <a:pt x="339" y="141"/>
                  </a:lnTo>
                  <a:lnTo>
                    <a:pt x="351" y="145"/>
                  </a:lnTo>
                  <a:lnTo>
                    <a:pt x="366" y="152"/>
                  </a:lnTo>
                  <a:lnTo>
                    <a:pt x="381" y="159"/>
                  </a:lnTo>
                  <a:lnTo>
                    <a:pt x="395" y="168"/>
                  </a:lnTo>
                  <a:lnTo>
                    <a:pt x="407" y="179"/>
                  </a:lnTo>
                  <a:lnTo>
                    <a:pt x="414" y="191"/>
                  </a:lnTo>
                  <a:lnTo>
                    <a:pt x="419" y="202"/>
                  </a:lnTo>
                  <a:lnTo>
                    <a:pt x="425" y="208"/>
                  </a:lnTo>
                  <a:lnTo>
                    <a:pt x="431" y="209"/>
                  </a:lnTo>
                  <a:lnTo>
                    <a:pt x="438" y="208"/>
                  </a:lnTo>
                  <a:lnTo>
                    <a:pt x="446" y="205"/>
                  </a:lnTo>
                  <a:lnTo>
                    <a:pt x="453" y="202"/>
                  </a:lnTo>
                  <a:lnTo>
                    <a:pt x="461" y="204"/>
                  </a:lnTo>
                  <a:lnTo>
                    <a:pt x="475" y="209"/>
                  </a:lnTo>
                  <a:lnTo>
                    <a:pt x="483" y="219"/>
                  </a:lnTo>
                  <a:lnTo>
                    <a:pt x="487" y="231"/>
                  </a:lnTo>
                  <a:lnTo>
                    <a:pt x="487" y="246"/>
                  </a:lnTo>
                  <a:lnTo>
                    <a:pt x="485" y="261"/>
                  </a:lnTo>
                  <a:lnTo>
                    <a:pt x="480" y="277"/>
                  </a:lnTo>
                  <a:lnTo>
                    <a:pt x="475" y="292"/>
                  </a:lnTo>
                  <a:lnTo>
                    <a:pt x="470" y="305"/>
                  </a:lnTo>
                  <a:lnTo>
                    <a:pt x="464" y="315"/>
                  </a:lnTo>
                  <a:lnTo>
                    <a:pt x="461" y="322"/>
                  </a:lnTo>
                  <a:lnTo>
                    <a:pt x="460" y="325"/>
                  </a:lnTo>
                  <a:lnTo>
                    <a:pt x="467" y="339"/>
                  </a:lnTo>
                  <a:lnTo>
                    <a:pt x="465" y="351"/>
                  </a:lnTo>
                  <a:lnTo>
                    <a:pt x="460" y="362"/>
                  </a:lnTo>
                  <a:lnTo>
                    <a:pt x="449" y="371"/>
                  </a:lnTo>
                  <a:lnTo>
                    <a:pt x="434" y="380"/>
                  </a:lnTo>
                  <a:lnTo>
                    <a:pt x="418" y="386"/>
                  </a:lnTo>
                  <a:lnTo>
                    <a:pt x="401" y="393"/>
                  </a:lnTo>
                  <a:lnTo>
                    <a:pt x="386" y="397"/>
                  </a:lnTo>
                  <a:lnTo>
                    <a:pt x="373" y="400"/>
                  </a:lnTo>
                  <a:lnTo>
                    <a:pt x="365" y="403"/>
                  </a:lnTo>
                  <a:lnTo>
                    <a:pt x="362" y="403"/>
                  </a:lnTo>
                  <a:lnTo>
                    <a:pt x="358" y="404"/>
                  </a:lnTo>
                  <a:lnTo>
                    <a:pt x="347" y="404"/>
                  </a:lnTo>
                  <a:lnTo>
                    <a:pt x="329" y="405"/>
                  </a:lnTo>
                  <a:lnTo>
                    <a:pt x="306" y="404"/>
                  </a:lnTo>
                  <a:lnTo>
                    <a:pt x="277" y="400"/>
                  </a:lnTo>
                  <a:lnTo>
                    <a:pt x="245" y="392"/>
                  </a:lnTo>
                  <a:lnTo>
                    <a:pt x="208" y="380"/>
                  </a:lnTo>
                  <a:lnTo>
                    <a:pt x="167" y="360"/>
                  </a:lnTo>
                  <a:lnTo>
                    <a:pt x="159" y="355"/>
                  </a:lnTo>
                  <a:lnTo>
                    <a:pt x="146" y="344"/>
                  </a:lnTo>
                  <a:lnTo>
                    <a:pt x="131" y="329"/>
                  </a:lnTo>
                  <a:lnTo>
                    <a:pt x="115" y="311"/>
                  </a:lnTo>
                  <a:lnTo>
                    <a:pt x="99" y="294"/>
                  </a:lnTo>
                  <a:lnTo>
                    <a:pt x="85" y="275"/>
                  </a:lnTo>
                  <a:lnTo>
                    <a:pt x="73" y="257"/>
                  </a:lnTo>
                  <a:lnTo>
                    <a:pt x="66" y="240"/>
                  </a:lnTo>
                  <a:lnTo>
                    <a:pt x="59" y="225"/>
                  </a:lnTo>
                  <a:lnTo>
                    <a:pt x="50" y="210"/>
                  </a:lnTo>
                  <a:lnTo>
                    <a:pt x="40" y="194"/>
                  </a:lnTo>
                  <a:lnTo>
                    <a:pt x="30" y="179"/>
                  </a:lnTo>
                  <a:lnTo>
                    <a:pt x="21" y="167"/>
                  </a:lnTo>
                  <a:lnTo>
                    <a:pt x="13" y="156"/>
                  </a:lnTo>
                  <a:lnTo>
                    <a:pt x="7" y="149"/>
                  </a:lnTo>
                  <a:lnTo>
                    <a:pt x="6" y="146"/>
                  </a:lnTo>
                  <a:lnTo>
                    <a:pt x="7" y="144"/>
                  </a:lnTo>
                  <a:lnTo>
                    <a:pt x="11" y="135"/>
                  </a:lnTo>
                  <a:lnTo>
                    <a:pt x="21" y="123"/>
                  </a:lnTo>
                  <a:lnTo>
                    <a:pt x="36" y="111"/>
                  </a:lnTo>
                  <a:lnTo>
                    <a:pt x="18" y="89"/>
                  </a:lnTo>
                  <a:lnTo>
                    <a:pt x="6" y="71"/>
                  </a:lnTo>
                  <a:lnTo>
                    <a:pt x="2" y="55"/>
                  </a:lnTo>
                  <a:lnTo>
                    <a:pt x="0" y="41"/>
                  </a:lnTo>
                  <a:lnTo>
                    <a:pt x="5" y="30"/>
                  </a:lnTo>
                  <a:lnTo>
                    <a:pt x="13" y="22"/>
                  </a:lnTo>
                  <a:lnTo>
                    <a:pt x="22" y="15"/>
                  </a:lnTo>
                  <a:lnTo>
                    <a:pt x="33" y="10"/>
                  </a:lnTo>
                  <a:lnTo>
                    <a:pt x="47" y="6"/>
                  </a:lnTo>
                  <a:lnTo>
                    <a:pt x="59" y="3"/>
                  </a:lnTo>
                  <a:lnTo>
                    <a:pt x="71" y="2"/>
                  </a:lnTo>
                  <a:lnTo>
                    <a:pt x="82" y="2"/>
                  </a:lnTo>
                  <a:lnTo>
                    <a:pt x="92" y="0"/>
                  </a:lnTo>
                  <a:lnTo>
                    <a:pt x="9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Calibri" pitchFamily="27" charset="0"/>
                <a:ea typeface="ＭＳ Ｐゴシック" pitchFamily="27" charset="-128"/>
                <a:cs typeface="ＭＳ Ｐゴシック" pitchFamily="27" charset="-128"/>
              </a:endParaRPr>
            </a:p>
          </p:txBody>
        </p:sp>
        <p:sp>
          <p:nvSpPr>
            <p:cNvPr id="13368" name="Freeform 1001"/>
            <p:cNvSpPr>
              <a:spLocks/>
            </p:cNvSpPr>
            <p:nvPr/>
          </p:nvSpPr>
          <p:spPr bwMode="auto">
            <a:xfrm rot="1114411" flipH="1">
              <a:off x="1788305" y="4848166"/>
              <a:ext cx="163018" cy="120734"/>
            </a:xfrm>
            <a:custGeom>
              <a:avLst/>
              <a:gdLst>
                <a:gd name="T0" fmla="*/ 0 w 293"/>
                <a:gd name="T1" fmla="*/ 0 h 217"/>
                <a:gd name="T2" fmla="*/ 2147483647 w 293"/>
                <a:gd name="T3" fmla="*/ 2147483647 h 217"/>
                <a:gd name="T4" fmla="*/ 2147483647 w 293"/>
                <a:gd name="T5" fmla="*/ 2147483647 h 217"/>
                <a:gd name="T6" fmla="*/ 2147483647 w 293"/>
                <a:gd name="T7" fmla="*/ 2147483647 h 217"/>
                <a:gd name="T8" fmla="*/ 2147483647 w 293"/>
                <a:gd name="T9" fmla="*/ 2147483647 h 217"/>
                <a:gd name="T10" fmla="*/ 2147483647 w 293"/>
                <a:gd name="T11" fmla="*/ 2147483647 h 217"/>
                <a:gd name="T12" fmla="*/ 2147483647 w 293"/>
                <a:gd name="T13" fmla="*/ 2147483647 h 217"/>
                <a:gd name="T14" fmla="*/ 2147483647 w 293"/>
                <a:gd name="T15" fmla="*/ 2147483647 h 217"/>
                <a:gd name="T16" fmla="*/ 2147483647 w 293"/>
                <a:gd name="T17" fmla="*/ 2147483647 h 217"/>
                <a:gd name="T18" fmla="*/ 2147483647 w 293"/>
                <a:gd name="T19" fmla="*/ 2147483647 h 217"/>
                <a:gd name="T20" fmla="*/ 2147483647 w 293"/>
                <a:gd name="T21" fmla="*/ 2147483647 h 217"/>
                <a:gd name="T22" fmla="*/ 2147483647 w 293"/>
                <a:gd name="T23" fmla="*/ 2147483647 h 217"/>
                <a:gd name="T24" fmla="*/ 2147483647 w 293"/>
                <a:gd name="T25" fmla="*/ 2147483647 h 217"/>
                <a:gd name="T26" fmla="*/ 2147483647 w 293"/>
                <a:gd name="T27" fmla="*/ 2147483647 h 217"/>
                <a:gd name="T28" fmla="*/ 2147483647 w 293"/>
                <a:gd name="T29" fmla="*/ 2147483647 h 217"/>
                <a:gd name="T30" fmla="*/ 2147483647 w 293"/>
                <a:gd name="T31" fmla="*/ 2147483647 h 217"/>
                <a:gd name="T32" fmla="*/ 2147483647 w 293"/>
                <a:gd name="T33" fmla="*/ 2147483647 h 217"/>
                <a:gd name="T34" fmla="*/ 2147483647 w 293"/>
                <a:gd name="T35" fmla="*/ 2147483647 h 217"/>
                <a:gd name="T36" fmla="*/ 2147483647 w 293"/>
                <a:gd name="T37" fmla="*/ 2147483647 h 217"/>
                <a:gd name="T38" fmla="*/ 2147483647 w 293"/>
                <a:gd name="T39" fmla="*/ 2147483647 h 217"/>
                <a:gd name="T40" fmla="*/ 2147483647 w 293"/>
                <a:gd name="T41" fmla="*/ 2147483647 h 217"/>
                <a:gd name="T42" fmla="*/ 2147483647 w 293"/>
                <a:gd name="T43" fmla="*/ 2147483647 h 217"/>
                <a:gd name="T44" fmla="*/ 2147483647 w 293"/>
                <a:gd name="T45" fmla="*/ 2147483647 h 217"/>
                <a:gd name="T46" fmla="*/ 2147483647 w 293"/>
                <a:gd name="T47" fmla="*/ 2147483647 h 217"/>
                <a:gd name="T48" fmla="*/ 2147483647 w 293"/>
                <a:gd name="T49" fmla="*/ 2147483647 h 217"/>
                <a:gd name="T50" fmla="*/ 2147483647 w 293"/>
                <a:gd name="T51" fmla="*/ 2147483647 h 217"/>
                <a:gd name="T52" fmla="*/ 2147483647 w 293"/>
                <a:gd name="T53" fmla="*/ 2147483647 h 217"/>
                <a:gd name="T54" fmla="*/ 2147483647 w 293"/>
                <a:gd name="T55" fmla="*/ 2147483647 h 217"/>
                <a:gd name="T56" fmla="*/ 2147483647 w 293"/>
                <a:gd name="T57" fmla="*/ 2147483647 h 217"/>
                <a:gd name="T58" fmla="*/ 2147483647 w 293"/>
                <a:gd name="T59" fmla="*/ 2147483647 h 217"/>
                <a:gd name="T60" fmla="*/ 2147483647 w 293"/>
                <a:gd name="T61" fmla="*/ 2147483647 h 217"/>
                <a:gd name="T62" fmla="*/ 2147483647 w 293"/>
                <a:gd name="T63" fmla="*/ 2147483647 h 217"/>
                <a:gd name="T64" fmla="*/ 2147483647 w 293"/>
                <a:gd name="T65" fmla="*/ 2147483647 h 217"/>
                <a:gd name="T66" fmla="*/ 0 w 293"/>
                <a:gd name="T67" fmla="*/ 2147483647 h 217"/>
                <a:gd name="T68" fmla="*/ 0 w 293"/>
                <a:gd name="T69" fmla="*/ 0 h 21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3"/>
                <a:gd name="T106" fmla="*/ 0 h 217"/>
                <a:gd name="T107" fmla="*/ 293 w 293"/>
                <a:gd name="T108" fmla="*/ 217 h 21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3" h="217">
                  <a:moveTo>
                    <a:pt x="0" y="0"/>
                  </a:moveTo>
                  <a:lnTo>
                    <a:pt x="1" y="3"/>
                  </a:lnTo>
                  <a:lnTo>
                    <a:pt x="7" y="10"/>
                  </a:lnTo>
                  <a:lnTo>
                    <a:pt x="16" y="21"/>
                  </a:lnTo>
                  <a:lnTo>
                    <a:pt x="28" y="33"/>
                  </a:lnTo>
                  <a:lnTo>
                    <a:pt x="46" y="48"/>
                  </a:lnTo>
                  <a:lnTo>
                    <a:pt x="65" y="65"/>
                  </a:lnTo>
                  <a:lnTo>
                    <a:pt x="88" y="80"/>
                  </a:lnTo>
                  <a:lnTo>
                    <a:pt x="114" y="93"/>
                  </a:lnTo>
                  <a:lnTo>
                    <a:pt x="144" y="105"/>
                  </a:lnTo>
                  <a:lnTo>
                    <a:pt x="177" y="114"/>
                  </a:lnTo>
                  <a:lnTo>
                    <a:pt x="213" y="119"/>
                  </a:lnTo>
                  <a:lnTo>
                    <a:pt x="252" y="118"/>
                  </a:lnTo>
                  <a:lnTo>
                    <a:pt x="293" y="112"/>
                  </a:lnTo>
                  <a:lnTo>
                    <a:pt x="281" y="142"/>
                  </a:lnTo>
                  <a:lnTo>
                    <a:pt x="266" y="167"/>
                  </a:lnTo>
                  <a:lnTo>
                    <a:pt x="248" y="186"/>
                  </a:lnTo>
                  <a:lnTo>
                    <a:pt x="229" y="200"/>
                  </a:lnTo>
                  <a:lnTo>
                    <a:pt x="208" y="209"/>
                  </a:lnTo>
                  <a:lnTo>
                    <a:pt x="185" y="216"/>
                  </a:lnTo>
                  <a:lnTo>
                    <a:pt x="163" y="217"/>
                  </a:lnTo>
                  <a:lnTo>
                    <a:pt x="140" y="216"/>
                  </a:lnTo>
                  <a:lnTo>
                    <a:pt x="117" y="212"/>
                  </a:lnTo>
                  <a:lnTo>
                    <a:pt x="95" y="204"/>
                  </a:lnTo>
                  <a:lnTo>
                    <a:pt x="76" y="193"/>
                  </a:lnTo>
                  <a:lnTo>
                    <a:pt x="61" y="176"/>
                  </a:lnTo>
                  <a:lnTo>
                    <a:pt x="46" y="155"/>
                  </a:lnTo>
                  <a:lnTo>
                    <a:pt x="35" y="130"/>
                  </a:lnTo>
                  <a:lnTo>
                    <a:pt x="24" y="104"/>
                  </a:lnTo>
                  <a:lnTo>
                    <a:pt x="16" y="78"/>
                  </a:lnTo>
                  <a:lnTo>
                    <a:pt x="9" y="54"/>
                  </a:lnTo>
                  <a:lnTo>
                    <a:pt x="5" y="33"/>
                  </a:lnTo>
                  <a:lnTo>
                    <a:pt x="1" y="1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E6365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1037"/>
            <p:cNvSpPr>
              <a:spLocks/>
            </p:cNvSpPr>
            <p:nvPr/>
          </p:nvSpPr>
          <p:spPr bwMode="auto">
            <a:xfrm rot="1114411" flipH="1">
              <a:off x="1458885" y="4717425"/>
              <a:ext cx="298471" cy="223489"/>
            </a:xfrm>
            <a:custGeom>
              <a:avLst/>
              <a:gdLst>
                <a:gd name="T0" fmla="*/ 95250 w 536"/>
                <a:gd name="T1" fmla="*/ 1588 h 401"/>
                <a:gd name="T2" fmla="*/ 117475 w 536"/>
                <a:gd name="T3" fmla="*/ 12700 h 401"/>
                <a:gd name="T4" fmla="*/ 128588 w 536"/>
                <a:gd name="T5" fmla="*/ 17463 h 401"/>
                <a:gd name="T6" fmla="*/ 152400 w 536"/>
                <a:gd name="T7" fmla="*/ 23813 h 401"/>
                <a:gd name="T8" fmla="*/ 206375 w 536"/>
                <a:gd name="T9" fmla="*/ 38100 h 401"/>
                <a:gd name="T10" fmla="*/ 268288 w 536"/>
                <a:gd name="T11" fmla="*/ 60325 h 401"/>
                <a:gd name="T12" fmla="*/ 315913 w 536"/>
                <a:gd name="T13" fmla="*/ 84138 h 401"/>
                <a:gd name="T14" fmla="*/ 366713 w 536"/>
                <a:gd name="T15" fmla="*/ 103188 h 401"/>
                <a:gd name="T16" fmla="*/ 434975 w 536"/>
                <a:gd name="T17" fmla="*/ 130175 h 401"/>
                <a:gd name="T18" fmla="*/ 492125 w 536"/>
                <a:gd name="T19" fmla="*/ 160338 h 401"/>
                <a:gd name="T20" fmla="*/ 528638 w 536"/>
                <a:gd name="T21" fmla="*/ 187325 h 401"/>
                <a:gd name="T22" fmla="*/ 544513 w 536"/>
                <a:gd name="T23" fmla="*/ 198438 h 401"/>
                <a:gd name="T24" fmla="*/ 565150 w 536"/>
                <a:gd name="T25" fmla="*/ 198438 h 401"/>
                <a:gd name="T26" fmla="*/ 615950 w 536"/>
                <a:gd name="T27" fmla="*/ 204788 h 401"/>
                <a:gd name="T28" fmla="*/ 673100 w 536"/>
                <a:gd name="T29" fmla="*/ 215900 h 401"/>
                <a:gd name="T30" fmla="*/ 719138 w 536"/>
                <a:gd name="T31" fmla="*/ 239713 h 401"/>
                <a:gd name="T32" fmla="*/ 741363 w 536"/>
                <a:gd name="T33" fmla="*/ 276225 h 401"/>
                <a:gd name="T34" fmla="*/ 765175 w 536"/>
                <a:gd name="T35" fmla="*/ 285750 h 401"/>
                <a:gd name="T36" fmla="*/ 792163 w 536"/>
                <a:gd name="T37" fmla="*/ 280988 h 401"/>
                <a:gd name="T38" fmla="*/ 827088 w 536"/>
                <a:gd name="T39" fmla="*/ 288925 h 401"/>
                <a:gd name="T40" fmla="*/ 849313 w 536"/>
                <a:gd name="T41" fmla="*/ 320675 h 401"/>
                <a:gd name="T42" fmla="*/ 849313 w 536"/>
                <a:gd name="T43" fmla="*/ 358775 h 401"/>
                <a:gd name="T44" fmla="*/ 838200 w 536"/>
                <a:gd name="T45" fmla="*/ 398463 h 401"/>
                <a:gd name="T46" fmla="*/ 823913 w 536"/>
                <a:gd name="T47" fmla="*/ 428625 h 401"/>
                <a:gd name="T48" fmla="*/ 815975 w 536"/>
                <a:gd name="T49" fmla="*/ 439738 h 401"/>
                <a:gd name="T50" fmla="*/ 831850 w 536"/>
                <a:gd name="T51" fmla="*/ 495300 h 401"/>
                <a:gd name="T52" fmla="*/ 801688 w 536"/>
                <a:gd name="T53" fmla="*/ 544513 h 401"/>
                <a:gd name="T54" fmla="*/ 752475 w 536"/>
                <a:gd name="T55" fmla="*/ 588963 h 401"/>
                <a:gd name="T56" fmla="*/ 700088 w 536"/>
                <a:gd name="T57" fmla="*/ 615950 h 401"/>
                <a:gd name="T58" fmla="*/ 663575 w 536"/>
                <a:gd name="T59" fmla="*/ 630238 h 401"/>
                <a:gd name="T60" fmla="*/ 598488 w 536"/>
                <a:gd name="T61" fmla="*/ 636588 h 401"/>
                <a:gd name="T62" fmla="*/ 504825 w 536"/>
                <a:gd name="T63" fmla="*/ 623888 h 401"/>
                <a:gd name="T64" fmla="*/ 392113 w 536"/>
                <a:gd name="T65" fmla="*/ 582613 h 401"/>
                <a:gd name="T66" fmla="*/ 296863 w 536"/>
                <a:gd name="T67" fmla="*/ 525463 h 401"/>
                <a:gd name="T68" fmla="*/ 260350 w 536"/>
                <a:gd name="T69" fmla="*/ 484188 h 401"/>
                <a:gd name="T70" fmla="*/ 254000 w 536"/>
                <a:gd name="T71" fmla="*/ 441325 h 401"/>
                <a:gd name="T72" fmla="*/ 249238 w 536"/>
                <a:gd name="T73" fmla="*/ 398463 h 401"/>
                <a:gd name="T74" fmla="*/ 214313 w 536"/>
                <a:gd name="T75" fmla="*/ 357188 h 401"/>
                <a:gd name="T76" fmla="*/ 163513 w 536"/>
                <a:gd name="T77" fmla="*/ 306388 h 401"/>
                <a:gd name="T78" fmla="*/ 106363 w 536"/>
                <a:gd name="T79" fmla="*/ 255588 h 401"/>
                <a:gd name="T80" fmla="*/ 53975 w 536"/>
                <a:gd name="T81" fmla="*/ 211138 h 401"/>
                <a:gd name="T82" fmla="*/ 15875 w 536"/>
                <a:gd name="T83" fmla="*/ 179388 h 401"/>
                <a:gd name="T84" fmla="*/ 0 w 536"/>
                <a:gd name="T85" fmla="*/ 166688 h 401"/>
                <a:gd name="T86" fmla="*/ 9525 w 536"/>
                <a:gd name="T87" fmla="*/ 150813 h 401"/>
                <a:gd name="T88" fmla="*/ 28575 w 536"/>
                <a:gd name="T89" fmla="*/ 101600 h 401"/>
                <a:gd name="T90" fmla="*/ 39688 w 536"/>
                <a:gd name="T91" fmla="*/ 33338 h 401"/>
                <a:gd name="T92" fmla="*/ 57150 w 536"/>
                <a:gd name="T93" fmla="*/ 3175 h 401"/>
                <a:gd name="T94" fmla="*/ 82550 w 536"/>
                <a:gd name="T95" fmla="*/ 0 h 40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36"/>
                <a:gd name="T145" fmla="*/ 0 h 401"/>
                <a:gd name="T146" fmla="*/ 536 w 536"/>
                <a:gd name="T147" fmla="*/ 401 h 40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36" h="401">
                  <a:moveTo>
                    <a:pt x="52" y="0"/>
                  </a:moveTo>
                  <a:lnTo>
                    <a:pt x="60" y="1"/>
                  </a:lnTo>
                  <a:lnTo>
                    <a:pt x="67" y="4"/>
                  </a:lnTo>
                  <a:lnTo>
                    <a:pt x="74" y="8"/>
                  </a:lnTo>
                  <a:lnTo>
                    <a:pt x="78" y="9"/>
                  </a:lnTo>
                  <a:lnTo>
                    <a:pt x="81" y="11"/>
                  </a:lnTo>
                  <a:lnTo>
                    <a:pt x="85" y="12"/>
                  </a:lnTo>
                  <a:lnTo>
                    <a:pt x="96" y="15"/>
                  </a:lnTo>
                  <a:lnTo>
                    <a:pt x="111" y="19"/>
                  </a:lnTo>
                  <a:lnTo>
                    <a:pt x="130" y="24"/>
                  </a:lnTo>
                  <a:lnTo>
                    <a:pt x="150" y="31"/>
                  </a:lnTo>
                  <a:lnTo>
                    <a:pt x="169" y="38"/>
                  </a:lnTo>
                  <a:lnTo>
                    <a:pt x="187" y="46"/>
                  </a:lnTo>
                  <a:lnTo>
                    <a:pt x="199" y="53"/>
                  </a:lnTo>
                  <a:lnTo>
                    <a:pt x="206" y="61"/>
                  </a:lnTo>
                  <a:lnTo>
                    <a:pt x="231" y="65"/>
                  </a:lnTo>
                  <a:lnTo>
                    <a:pt x="253" y="73"/>
                  </a:lnTo>
                  <a:lnTo>
                    <a:pt x="274" y="82"/>
                  </a:lnTo>
                  <a:lnTo>
                    <a:pt x="294" y="91"/>
                  </a:lnTo>
                  <a:lnTo>
                    <a:pt x="310" y="101"/>
                  </a:lnTo>
                  <a:lnTo>
                    <a:pt x="324" y="110"/>
                  </a:lnTo>
                  <a:lnTo>
                    <a:pt x="333" y="118"/>
                  </a:lnTo>
                  <a:lnTo>
                    <a:pt x="340" y="122"/>
                  </a:lnTo>
                  <a:lnTo>
                    <a:pt x="343" y="125"/>
                  </a:lnTo>
                  <a:lnTo>
                    <a:pt x="345" y="125"/>
                  </a:lnTo>
                  <a:lnTo>
                    <a:pt x="356" y="125"/>
                  </a:lnTo>
                  <a:lnTo>
                    <a:pt x="370" y="127"/>
                  </a:lnTo>
                  <a:lnTo>
                    <a:pt x="388" y="129"/>
                  </a:lnTo>
                  <a:lnTo>
                    <a:pt x="407" y="132"/>
                  </a:lnTo>
                  <a:lnTo>
                    <a:pt x="424" y="136"/>
                  </a:lnTo>
                  <a:lnTo>
                    <a:pt x="441" y="143"/>
                  </a:lnTo>
                  <a:lnTo>
                    <a:pt x="453" y="151"/>
                  </a:lnTo>
                  <a:lnTo>
                    <a:pt x="460" y="161"/>
                  </a:lnTo>
                  <a:lnTo>
                    <a:pt x="467" y="174"/>
                  </a:lnTo>
                  <a:lnTo>
                    <a:pt x="474" y="180"/>
                  </a:lnTo>
                  <a:lnTo>
                    <a:pt x="482" y="180"/>
                  </a:lnTo>
                  <a:lnTo>
                    <a:pt x="490" y="178"/>
                  </a:lnTo>
                  <a:lnTo>
                    <a:pt x="499" y="177"/>
                  </a:lnTo>
                  <a:lnTo>
                    <a:pt x="508" y="177"/>
                  </a:lnTo>
                  <a:lnTo>
                    <a:pt x="521" y="182"/>
                  </a:lnTo>
                  <a:lnTo>
                    <a:pt x="531" y="191"/>
                  </a:lnTo>
                  <a:lnTo>
                    <a:pt x="535" y="202"/>
                  </a:lnTo>
                  <a:lnTo>
                    <a:pt x="536" y="212"/>
                  </a:lnTo>
                  <a:lnTo>
                    <a:pt x="535" y="226"/>
                  </a:lnTo>
                  <a:lnTo>
                    <a:pt x="532" y="238"/>
                  </a:lnTo>
                  <a:lnTo>
                    <a:pt x="528" y="251"/>
                  </a:lnTo>
                  <a:lnTo>
                    <a:pt x="523" y="260"/>
                  </a:lnTo>
                  <a:lnTo>
                    <a:pt x="519" y="270"/>
                  </a:lnTo>
                  <a:lnTo>
                    <a:pt x="516" y="275"/>
                  </a:lnTo>
                  <a:lnTo>
                    <a:pt x="514" y="277"/>
                  </a:lnTo>
                  <a:lnTo>
                    <a:pt x="524" y="294"/>
                  </a:lnTo>
                  <a:lnTo>
                    <a:pt x="524" y="312"/>
                  </a:lnTo>
                  <a:lnTo>
                    <a:pt x="517" y="328"/>
                  </a:lnTo>
                  <a:lnTo>
                    <a:pt x="505" y="343"/>
                  </a:lnTo>
                  <a:lnTo>
                    <a:pt x="490" y="357"/>
                  </a:lnTo>
                  <a:lnTo>
                    <a:pt x="474" y="371"/>
                  </a:lnTo>
                  <a:lnTo>
                    <a:pt x="456" y="380"/>
                  </a:lnTo>
                  <a:lnTo>
                    <a:pt x="441" y="388"/>
                  </a:lnTo>
                  <a:lnTo>
                    <a:pt x="430" y="393"/>
                  </a:lnTo>
                  <a:lnTo>
                    <a:pt x="418" y="397"/>
                  </a:lnTo>
                  <a:lnTo>
                    <a:pt x="400" y="399"/>
                  </a:lnTo>
                  <a:lnTo>
                    <a:pt x="377" y="401"/>
                  </a:lnTo>
                  <a:lnTo>
                    <a:pt x="349" y="398"/>
                  </a:lnTo>
                  <a:lnTo>
                    <a:pt x="318" y="393"/>
                  </a:lnTo>
                  <a:lnTo>
                    <a:pt x="284" y="383"/>
                  </a:lnTo>
                  <a:lnTo>
                    <a:pt x="247" y="367"/>
                  </a:lnTo>
                  <a:lnTo>
                    <a:pt x="208" y="345"/>
                  </a:lnTo>
                  <a:lnTo>
                    <a:pt x="187" y="331"/>
                  </a:lnTo>
                  <a:lnTo>
                    <a:pt x="174" y="318"/>
                  </a:lnTo>
                  <a:lnTo>
                    <a:pt x="164" y="305"/>
                  </a:lnTo>
                  <a:lnTo>
                    <a:pt x="160" y="292"/>
                  </a:lnTo>
                  <a:lnTo>
                    <a:pt x="160" y="278"/>
                  </a:lnTo>
                  <a:lnTo>
                    <a:pt x="163" y="262"/>
                  </a:lnTo>
                  <a:lnTo>
                    <a:pt x="157" y="251"/>
                  </a:lnTo>
                  <a:lnTo>
                    <a:pt x="148" y="238"/>
                  </a:lnTo>
                  <a:lnTo>
                    <a:pt x="135" y="225"/>
                  </a:lnTo>
                  <a:lnTo>
                    <a:pt x="119" y="208"/>
                  </a:lnTo>
                  <a:lnTo>
                    <a:pt x="103" y="193"/>
                  </a:lnTo>
                  <a:lnTo>
                    <a:pt x="85" y="177"/>
                  </a:lnTo>
                  <a:lnTo>
                    <a:pt x="67" y="161"/>
                  </a:lnTo>
                  <a:lnTo>
                    <a:pt x="49" y="146"/>
                  </a:lnTo>
                  <a:lnTo>
                    <a:pt x="34" y="133"/>
                  </a:lnTo>
                  <a:lnTo>
                    <a:pt x="21" y="121"/>
                  </a:lnTo>
                  <a:lnTo>
                    <a:pt x="10" y="113"/>
                  </a:lnTo>
                  <a:lnTo>
                    <a:pt x="3" y="107"/>
                  </a:lnTo>
                  <a:lnTo>
                    <a:pt x="0" y="105"/>
                  </a:lnTo>
                  <a:lnTo>
                    <a:pt x="2" y="102"/>
                  </a:lnTo>
                  <a:lnTo>
                    <a:pt x="6" y="95"/>
                  </a:lnTo>
                  <a:lnTo>
                    <a:pt x="11" y="82"/>
                  </a:lnTo>
                  <a:lnTo>
                    <a:pt x="18" y="64"/>
                  </a:lnTo>
                  <a:lnTo>
                    <a:pt x="25" y="39"/>
                  </a:lnTo>
                  <a:lnTo>
                    <a:pt x="25" y="21"/>
                  </a:lnTo>
                  <a:lnTo>
                    <a:pt x="29" y="9"/>
                  </a:lnTo>
                  <a:lnTo>
                    <a:pt x="36" y="2"/>
                  </a:lnTo>
                  <a:lnTo>
                    <a:pt x="43" y="0"/>
                  </a:lnTo>
                  <a:lnTo>
                    <a:pt x="52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Calibri" pitchFamily="27" charset="0"/>
                <a:ea typeface="ＭＳ Ｐゴシック" pitchFamily="27" charset="-128"/>
                <a:cs typeface="ＭＳ Ｐゴシック" pitchFamily="27" charset="-128"/>
              </a:endParaRPr>
            </a:p>
          </p:txBody>
        </p:sp>
        <p:sp>
          <p:nvSpPr>
            <p:cNvPr id="13370" name="Freeform 1133"/>
            <p:cNvSpPr>
              <a:spLocks/>
            </p:cNvSpPr>
            <p:nvPr/>
          </p:nvSpPr>
          <p:spPr bwMode="auto">
            <a:xfrm rot="1114411" flipH="1">
              <a:off x="1493412" y="4881555"/>
              <a:ext cx="137425" cy="100148"/>
            </a:xfrm>
            <a:custGeom>
              <a:avLst/>
              <a:gdLst>
                <a:gd name="T0" fmla="*/ 2147483647 w 247"/>
                <a:gd name="T1" fmla="*/ 0 h 180"/>
                <a:gd name="T2" fmla="*/ 2147483647 w 247"/>
                <a:gd name="T3" fmla="*/ 2147483647 h 180"/>
                <a:gd name="T4" fmla="*/ 2147483647 w 247"/>
                <a:gd name="T5" fmla="*/ 2147483647 h 180"/>
                <a:gd name="T6" fmla="*/ 2147483647 w 247"/>
                <a:gd name="T7" fmla="*/ 2147483647 h 180"/>
                <a:gd name="T8" fmla="*/ 2147483647 w 247"/>
                <a:gd name="T9" fmla="*/ 2147483647 h 180"/>
                <a:gd name="T10" fmla="*/ 2147483647 w 247"/>
                <a:gd name="T11" fmla="*/ 2147483647 h 180"/>
                <a:gd name="T12" fmla="*/ 2147483647 w 247"/>
                <a:gd name="T13" fmla="*/ 2147483647 h 180"/>
                <a:gd name="T14" fmla="*/ 2147483647 w 247"/>
                <a:gd name="T15" fmla="*/ 2147483647 h 180"/>
                <a:gd name="T16" fmla="*/ 2147483647 w 247"/>
                <a:gd name="T17" fmla="*/ 2147483647 h 180"/>
                <a:gd name="T18" fmla="*/ 2147483647 w 247"/>
                <a:gd name="T19" fmla="*/ 2147483647 h 180"/>
                <a:gd name="T20" fmla="*/ 2147483647 w 247"/>
                <a:gd name="T21" fmla="*/ 2147483647 h 180"/>
                <a:gd name="T22" fmla="*/ 2147483647 w 247"/>
                <a:gd name="T23" fmla="*/ 2147483647 h 180"/>
                <a:gd name="T24" fmla="*/ 2147483647 w 247"/>
                <a:gd name="T25" fmla="*/ 2147483647 h 180"/>
                <a:gd name="T26" fmla="*/ 2147483647 w 247"/>
                <a:gd name="T27" fmla="*/ 2147483647 h 180"/>
                <a:gd name="T28" fmla="*/ 2147483647 w 247"/>
                <a:gd name="T29" fmla="*/ 2147483647 h 180"/>
                <a:gd name="T30" fmla="*/ 2147483647 w 247"/>
                <a:gd name="T31" fmla="*/ 2147483647 h 180"/>
                <a:gd name="T32" fmla="*/ 2147483647 w 247"/>
                <a:gd name="T33" fmla="*/ 2147483647 h 180"/>
                <a:gd name="T34" fmla="*/ 2147483647 w 247"/>
                <a:gd name="T35" fmla="*/ 2147483647 h 180"/>
                <a:gd name="T36" fmla="*/ 2147483647 w 247"/>
                <a:gd name="T37" fmla="*/ 2147483647 h 180"/>
                <a:gd name="T38" fmla="*/ 2147483647 w 247"/>
                <a:gd name="T39" fmla="*/ 2147483647 h 180"/>
                <a:gd name="T40" fmla="*/ 2147483647 w 247"/>
                <a:gd name="T41" fmla="*/ 2147483647 h 180"/>
                <a:gd name="T42" fmla="*/ 2147483647 w 247"/>
                <a:gd name="T43" fmla="*/ 2147483647 h 180"/>
                <a:gd name="T44" fmla="*/ 2147483647 w 247"/>
                <a:gd name="T45" fmla="*/ 2147483647 h 180"/>
                <a:gd name="T46" fmla="*/ 2147483647 w 247"/>
                <a:gd name="T47" fmla="*/ 2147483647 h 180"/>
                <a:gd name="T48" fmla="*/ 2147483647 w 247"/>
                <a:gd name="T49" fmla="*/ 2147483647 h 180"/>
                <a:gd name="T50" fmla="*/ 2147483647 w 247"/>
                <a:gd name="T51" fmla="*/ 2147483647 h 180"/>
                <a:gd name="T52" fmla="*/ 2147483647 w 247"/>
                <a:gd name="T53" fmla="*/ 2147483647 h 180"/>
                <a:gd name="T54" fmla="*/ 2147483647 w 247"/>
                <a:gd name="T55" fmla="*/ 2147483647 h 180"/>
                <a:gd name="T56" fmla="*/ 2147483647 w 247"/>
                <a:gd name="T57" fmla="*/ 2147483647 h 180"/>
                <a:gd name="T58" fmla="*/ 0 w 247"/>
                <a:gd name="T59" fmla="*/ 2147483647 h 180"/>
                <a:gd name="T60" fmla="*/ 0 w 247"/>
                <a:gd name="T61" fmla="*/ 2147483647 h 180"/>
                <a:gd name="T62" fmla="*/ 2147483647 w 247"/>
                <a:gd name="T63" fmla="*/ 2147483647 h 180"/>
                <a:gd name="T64" fmla="*/ 2147483647 w 247"/>
                <a:gd name="T65" fmla="*/ 0 h 1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7"/>
                <a:gd name="T100" fmla="*/ 0 h 180"/>
                <a:gd name="T101" fmla="*/ 247 w 247"/>
                <a:gd name="T102" fmla="*/ 180 h 1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7" h="180">
                  <a:moveTo>
                    <a:pt x="2" y="0"/>
                  </a:moveTo>
                  <a:lnTo>
                    <a:pt x="4" y="2"/>
                  </a:lnTo>
                  <a:lnTo>
                    <a:pt x="11" y="9"/>
                  </a:lnTo>
                  <a:lnTo>
                    <a:pt x="24" y="19"/>
                  </a:lnTo>
                  <a:lnTo>
                    <a:pt x="40" y="31"/>
                  </a:lnTo>
                  <a:lnTo>
                    <a:pt x="60" y="45"/>
                  </a:lnTo>
                  <a:lnTo>
                    <a:pt x="85" y="58"/>
                  </a:lnTo>
                  <a:lnTo>
                    <a:pt x="112" y="69"/>
                  </a:lnTo>
                  <a:lnTo>
                    <a:pt x="142" y="80"/>
                  </a:lnTo>
                  <a:lnTo>
                    <a:pt x="175" y="87"/>
                  </a:lnTo>
                  <a:lnTo>
                    <a:pt x="210" y="88"/>
                  </a:lnTo>
                  <a:lnTo>
                    <a:pt x="247" y="86"/>
                  </a:lnTo>
                  <a:lnTo>
                    <a:pt x="235" y="116"/>
                  </a:lnTo>
                  <a:lnTo>
                    <a:pt x="221" y="139"/>
                  </a:lnTo>
                  <a:lnTo>
                    <a:pt x="205" y="157"/>
                  </a:lnTo>
                  <a:lnTo>
                    <a:pt x="187" y="169"/>
                  </a:lnTo>
                  <a:lnTo>
                    <a:pt x="168" y="176"/>
                  </a:lnTo>
                  <a:lnTo>
                    <a:pt x="149" y="180"/>
                  </a:lnTo>
                  <a:lnTo>
                    <a:pt x="127" y="178"/>
                  </a:lnTo>
                  <a:lnTo>
                    <a:pt x="107" y="176"/>
                  </a:lnTo>
                  <a:lnTo>
                    <a:pt x="85" y="170"/>
                  </a:lnTo>
                  <a:lnTo>
                    <a:pt x="63" y="162"/>
                  </a:lnTo>
                  <a:lnTo>
                    <a:pt x="45" y="153"/>
                  </a:lnTo>
                  <a:lnTo>
                    <a:pt x="32" y="138"/>
                  </a:lnTo>
                  <a:lnTo>
                    <a:pt x="21" y="121"/>
                  </a:lnTo>
                  <a:lnTo>
                    <a:pt x="13" y="101"/>
                  </a:lnTo>
                  <a:lnTo>
                    <a:pt x="7" y="80"/>
                  </a:lnTo>
                  <a:lnTo>
                    <a:pt x="3" y="61"/>
                  </a:lnTo>
                  <a:lnTo>
                    <a:pt x="2" y="42"/>
                  </a:lnTo>
                  <a:lnTo>
                    <a:pt x="0" y="26"/>
                  </a:lnTo>
                  <a:lnTo>
                    <a:pt x="0" y="12"/>
                  </a:lnTo>
                  <a:lnTo>
                    <a:pt x="2" y="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4E6365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1166"/>
            <p:cNvSpPr>
              <a:spLocks/>
            </p:cNvSpPr>
            <p:nvPr/>
          </p:nvSpPr>
          <p:spPr bwMode="auto">
            <a:xfrm rot="1114411" flipH="1">
              <a:off x="1182939" y="4719302"/>
              <a:ext cx="274068" cy="214099"/>
            </a:xfrm>
            <a:custGeom>
              <a:avLst/>
              <a:gdLst>
                <a:gd name="T0" fmla="*/ 82550 w 493"/>
                <a:gd name="T1" fmla="*/ 4763 h 388"/>
                <a:gd name="T2" fmla="*/ 142875 w 493"/>
                <a:gd name="T3" fmla="*/ 22225 h 388"/>
                <a:gd name="T4" fmla="*/ 207963 w 493"/>
                <a:gd name="T5" fmla="*/ 47625 h 388"/>
                <a:gd name="T6" fmla="*/ 261938 w 493"/>
                <a:gd name="T7" fmla="*/ 77788 h 388"/>
                <a:gd name="T8" fmla="*/ 296863 w 493"/>
                <a:gd name="T9" fmla="*/ 104775 h 388"/>
                <a:gd name="T10" fmla="*/ 349250 w 493"/>
                <a:gd name="T11" fmla="*/ 119063 h 388"/>
                <a:gd name="T12" fmla="*/ 431800 w 493"/>
                <a:gd name="T13" fmla="*/ 142875 h 388"/>
                <a:gd name="T14" fmla="*/ 498475 w 493"/>
                <a:gd name="T15" fmla="*/ 169863 h 388"/>
                <a:gd name="T16" fmla="*/ 538163 w 493"/>
                <a:gd name="T17" fmla="*/ 185738 h 388"/>
                <a:gd name="T18" fmla="*/ 547688 w 493"/>
                <a:gd name="T19" fmla="*/ 190500 h 388"/>
                <a:gd name="T20" fmla="*/ 588963 w 493"/>
                <a:gd name="T21" fmla="*/ 200025 h 388"/>
                <a:gd name="T22" fmla="*/ 641350 w 493"/>
                <a:gd name="T23" fmla="*/ 219075 h 388"/>
                <a:gd name="T24" fmla="*/ 676275 w 493"/>
                <a:gd name="T25" fmla="*/ 255588 h 388"/>
                <a:gd name="T26" fmla="*/ 690563 w 493"/>
                <a:gd name="T27" fmla="*/ 277813 h 388"/>
                <a:gd name="T28" fmla="*/ 706438 w 493"/>
                <a:gd name="T29" fmla="*/ 271463 h 388"/>
                <a:gd name="T30" fmla="*/ 725488 w 493"/>
                <a:gd name="T31" fmla="*/ 255588 h 388"/>
                <a:gd name="T32" fmla="*/ 758825 w 493"/>
                <a:gd name="T33" fmla="*/ 265113 h 388"/>
                <a:gd name="T34" fmla="*/ 779463 w 493"/>
                <a:gd name="T35" fmla="*/ 301625 h 388"/>
                <a:gd name="T36" fmla="*/ 782638 w 493"/>
                <a:gd name="T37" fmla="*/ 350838 h 388"/>
                <a:gd name="T38" fmla="*/ 776288 w 493"/>
                <a:gd name="T39" fmla="*/ 407988 h 388"/>
                <a:gd name="T40" fmla="*/ 762000 w 493"/>
                <a:gd name="T41" fmla="*/ 455613 h 388"/>
                <a:gd name="T42" fmla="*/ 754063 w 493"/>
                <a:gd name="T43" fmla="*/ 482600 h 388"/>
                <a:gd name="T44" fmla="*/ 725488 w 493"/>
                <a:gd name="T45" fmla="*/ 528638 h 388"/>
                <a:gd name="T46" fmla="*/ 674688 w 493"/>
                <a:gd name="T47" fmla="*/ 581025 h 388"/>
                <a:gd name="T48" fmla="*/ 628650 w 493"/>
                <a:gd name="T49" fmla="*/ 604838 h 388"/>
                <a:gd name="T50" fmla="*/ 600075 w 493"/>
                <a:gd name="T51" fmla="*/ 611188 h 388"/>
                <a:gd name="T52" fmla="*/ 588963 w 493"/>
                <a:gd name="T53" fmla="*/ 612775 h 388"/>
                <a:gd name="T54" fmla="*/ 546100 w 493"/>
                <a:gd name="T55" fmla="*/ 615950 h 388"/>
                <a:gd name="T56" fmla="*/ 463550 w 493"/>
                <a:gd name="T57" fmla="*/ 606425 h 388"/>
                <a:gd name="T58" fmla="*/ 350838 w 493"/>
                <a:gd name="T59" fmla="*/ 574675 h 388"/>
                <a:gd name="T60" fmla="*/ 276225 w 493"/>
                <a:gd name="T61" fmla="*/ 539750 h 388"/>
                <a:gd name="T62" fmla="*/ 242888 w 493"/>
                <a:gd name="T63" fmla="*/ 517525 h 388"/>
                <a:gd name="T64" fmla="*/ 207963 w 493"/>
                <a:gd name="T65" fmla="*/ 479425 h 388"/>
                <a:gd name="T66" fmla="*/ 184150 w 493"/>
                <a:gd name="T67" fmla="*/ 414338 h 388"/>
                <a:gd name="T68" fmla="*/ 174625 w 493"/>
                <a:gd name="T69" fmla="*/ 349250 h 388"/>
                <a:gd name="T70" fmla="*/ 141288 w 493"/>
                <a:gd name="T71" fmla="*/ 304800 h 388"/>
                <a:gd name="T72" fmla="*/ 95250 w 493"/>
                <a:gd name="T73" fmla="*/ 265113 h 388"/>
                <a:gd name="T74" fmla="*/ 50800 w 493"/>
                <a:gd name="T75" fmla="*/ 227013 h 388"/>
                <a:gd name="T76" fmla="*/ 20638 w 493"/>
                <a:gd name="T77" fmla="*/ 207963 h 388"/>
                <a:gd name="T78" fmla="*/ 0 w 493"/>
                <a:gd name="T79" fmla="*/ 176213 h 388"/>
                <a:gd name="T80" fmla="*/ 9525 w 493"/>
                <a:gd name="T81" fmla="*/ 161925 h 388"/>
                <a:gd name="T82" fmla="*/ 23813 w 493"/>
                <a:gd name="T83" fmla="*/ 128588 h 388"/>
                <a:gd name="T84" fmla="*/ 34925 w 493"/>
                <a:gd name="T85" fmla="*/ 82550 h 388"/>
                <a:gd name="T86" fmla="*/ 26988 w 493"/>
                <a:gd name="T87" fmla="*/ 39688 h 388"/>
                <a:gd name="T88" fmla="*/ 17463 w 493"/>
                <a:gd name="T89" fmla="*/ 9525 h 388"/>
                <a:gd name="T90" fmla="*/ 57150 w 493"/>
                <a:gd name="T91" fmla="*/ 0 h 38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93"/>
                <a:gd name="T139" fmla="*/ 0 h 388"/>
                <a:gd name="T140" fmla="*/ 493 w 493"/>
                <a:gd name="T141" fmla="*/ 388 h 38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93" h="388">
                  <a:moveTo>
                    <a:pt x="36" y="0"/>
                  </a:moveTo>
                  <a:lnTo>
                    <a:pt x="52" y="3"/>
                  </a:lnTo>
                  <a:lnTo>
                    <a:pt x="71" y="7"/>
                  </a:lnTo>
                  <a:lnTo>
                    <a:pt x="90" y="14"/>
                  </a:lnTo>
                  <a:lnTo>
                    <a:pt x="111" y="22"/>
                  </a:lnTo>
                  <a:lnTo>
                    <a:pt x="131" y="30"/>
                  </a:lnTo>
                  <a:lnTo>
                    <a:pt x="149" y="40"/>
                  </a:lnTo>
                  <a:lnTo>
                    <a:pt x="165" y="49"/>
                  </a:lnTo>
                  <a:lnTo>
                    <a:pt x="179" y="57"/>
                  </a:lnTo>
                  <a:lnTo>
                    <a:pt x="187" y="66"/>
                  </a:lnTo>
                  <a:lnTo>
                    <a:pt x="193" y="71"/>
                  </a:lnTo>
                  <a:lnTo>
                    <a:pt x="220" y="75"/>
                  </a:lnTo>
                  <a:lnTo>
                    <a:pt x="246" y="82"/>
                  </a:lnTo>
                  <a:lnTo>
                    <a:pt x="272" y="90"/>
                  </a:lnTo>
                  <a:lnTo>
                    <a:pt x="295" y="98"/>
                  </a:lnTo>
                  <a:lnTo>
                    <a:pt x="314" y="107"/>
                  </a:lnTo>
                  <a:lnTo>
                    <a:pt x="329" y="113"/>
                  </a:lnTo>
                  <a:lnTo>
                    <a:pt x="339" y="117"/>
                  </a:lnTo>
                  <a:lnTo>
                    <a:pt x="341" y="119"/>
                  </a:lnTo>
                  <a:lnTo>
                    <a:pt x="345" y="120"/>
                  </a:lnTo>
                  <a:lnTo>
                    <a:pt x="356" y="122"/>
                  </a:lnTo>
                  <a:lnTo>
                    <a:pt x="371" y="126"/>
                  </a:lnTo>
                  <a:lnTo>
                    <a:pt x="388" y="130"/>
                  </a:lnTo>
                  <a:lnTo>
                    <a:pt x="404" y="138"/>
                  </a:lnTo>
                  <a:lnTo>
                    <a:pt x="418" y="147"/>
                  </a:lnTo>
                  <a:lnTo>
                    <a:pt x="426" y="161"/>
                  </a:lnTo>
                  <a:lnTo>
                    <a:pt x="431" y="172"/>
                  </a:lnTo>
                  <a:lnTo>
                    <a:pt x="435" y="175"/>
                  </a:lnTo>
                  <a:lnTo>
                    <a:pt x="441" y="175"/>
                  </a:lnTo>
                  <a:lnTo>
                    <a:pt x="445" y="171"/>
                  </a:lnTo>
                  <a:lnTo>
                    <a:pt x="450" y="165"/>
                  </a:lnTo>
                  <a:lnTo>
                    <a:pt x="457" y="161"/>
                  </a:lnTo>
                  <a:lnTo>
                    <a:pt x="464" y="161"/>
                  </a:lnTo>
                  <a:lnTo>
                    <a:pt x="478" y="167"/>
                  </a:lnTo>
                  <a:lnTo>
                    <a:pt x="486" y="176"/>
                  </a:lnTo>
                  <a:lnTo>
                    <a:pt x="491" y="190"/>
                  </a:lnTo>
                  <a:lnTo>
                    <a:pt x="493" y="205"/>
                  </a:lnTo>
                  <a:lnTo>
                    <a:pt x="493" y="221"/>
                  </a:lnTo>
                  <a:lnTo>
                    <a:pt x="491" y="239"/>
                  </a:lnTo>
                  <a:lnTo>
                    <a:pt x="489" y="257"/>
                  </a:lnTo>
                  <a:lnTo>
                    <a:pt x="485" y="273"/>
                  </a:lnTo>
                  <a:lnTo>
                    <a:pt x="480" y="287"/>
                  </a:lnTo>
                  <a:lnTo>
                    <a:pt x="476" y="298"/>
                  </a:lnTo>
                  <a:lnTo>
                    <a:pt x="475" y="304"/>
                  </a:lnTo>
                  <a:lnTo>
                    <a:pt x="474" y="307"/>
                  </a:lnTo>
                  <a:lnTo>
                    <a:pt x="457" y="333"/>
                  </a:lnTo>
                  <a:lnTo>
                    <a:pt x="441" y="352"/>
                  </a:lnTo>
                  <a:lnTo>
                    <a:pt x="425" y="366"/>
                  </a:lnTo>
                  <a:lnTo>
                    <a:pt x="410" y="375"/>
                  </a:lnTo>
                  <a:lnTo>
                    <a:pt x="396" y="381"/>
                  </a:lnTo>
                  <a:lnTo>
                    <a:pt x="385" y="383"/>
                  </a:lnTo>
                  <a:lnTo>
                    <a:pt x="378" y="385"/>
                  </a:lnTo>
                  <a:lnTo>
                    <a:pt x="375" y="385"/>
                  </a:lnTo>
                  <a:lnTo>
                    <a:pt x="371" y="386"/>
                  </a:lnTo>
                  <a:lnTo>
                    <a:pt x="360" y="388"/>
                  </a:lnTo>
                  <a:lnTo>
                    <a:pt x="344" y="388"/>
                  </a:lnTo>
                  <a:lnTo>
                    <a:pt x="321" y="386"/>
                  </a:lnTo>
                  <a:lnTo>
                    <a:pt x="292" y="382"/>
                  </a:lnTo>
                  <a:lnTo>
                    <a:pt x="260" y="374"/>
                  </a:lnTo>
                  <a:lnTo>
                    <a:pt x="221" y="362"/>
                  </a:lnTo>
                  <a:lnTo>
                    <a:pt x="182" y="344"/>
                  </a:lnTo>
                  <a:lnTo>
                    <a:pt x="174" y="340"/>
                  </a:lnTo>
                  <a:lnTo>
                    <a:pt x="164" y="334"/>
                  </a:lnTo>
                  <a:lnTo>
                    <a:pt x="153" y="326"/>
                  </a:lnTo>
                  <a:lnTo>
                    <a:pt x="142" y="315"/>
                  </a:lnTo>
                  <a:lnTo>
                    <a:pt x="131" y="302"/>
                  </a:lnTo>
                  <a:lnTo>
                    <a:pt x="122" y="284"/>
                  </a:lnTo>
                  <a:lnTo>
                    <a:pt x="116" y="261"/>
                  </a:lnTo>
                  <a:lnTo>
                    <a:pt x="112" y="233"/>
                  </a:lnTo>
                  <a:lnTo>
                    <a:pt x="110" y="220"/>
                  </a:lnTo>
                  <a:lnTo>
                    <a:pt x="101" y="206"/>
                  </a:lnTo>
                  <a:lnTo>
                    <a:pt x="89" y="192"/>
                  </a:lnTo>
                  <a:lnTo>
                    <a:pt x="75" y="179"/>
                  </a:lnTo>
                  <a:lnTo>
                    <a:pt x="60" y="167"/>
                  </a:lnTo>
                  <a:lnTo>
                    <a:pt x="45" y="154"/>
                  </a:lnTo>
                  <a:lnTo>
                    <a:pt x="32" y="143"/>
                  </a:lnTo>
                  <a:lnTo>
                    <a:pt x="21" y="137"/>
                  </a:lnTo>
                  <a:lnTo>
                    <a:pt x="13" y="131"/>
                  </a:lnTo>
                  <a:lnTo>
                    <a:pt x="10" y="130"/>
                  </a:lnTo>
                  <a:lnTo>
                    <a:pt x="0" y="111"/>
                  </a:lnTo>
                  <a:lnTo>
                    <a:pt x="2" y="109"/>
                  </a:lnTo>
                  <a:lnTo>
                    <a:pt x="6" y="102"/>
                  </a:lnTo>
                  <a:lnTo>
                    <a:pt x="11" y="93"/>
                  </a:lnTo>
                  <a:lnTo>
                    <a:pt x="15" y="81"/>
                  </a:lnTo>
                  <a:lnTo>
                    <a:pt x="21" y="66"/>
                  </a:lnTo>
                  <a:lnTo>
                    <a:pt x="22" y="52"/>
                  </a:lnTo>
                  <a:lnTo>
                    <a:pt x="22" y="37"/>
                  </a:lnTo>
                  <a:lnTo>
                    <a:pt x="17" y="25"/>
                  </a:lnTo>
                  <a:lnTo>
                    <a:pt x="6" y="12"/>
                  </a:lnTo>
                  <a:lnTo>
                    <a:pt x="11" y="6"/>
                  </a:lnTo>
                  <a:lnTo>
                    <a:pt x="22" y="1"/>
                  </a:lnTo>
                  <a:lnTo>
                    <a:pt x="36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Calibri" pitchFamily="27" charset="0"/>
                <a:ea typeface="ＭＳ Ｐゴシック" pitchFamily="27" charset="-128"/>
                <a:cs typeface="ＭＳ Ｐゴシック" pitchFamily="27" charset="-128"/>
              </a:endParaRPr>
            </a:p>
          </p:txBody>
        </p:sp>
        <p:sp>
          <p:nvSpPr>
            <p:cNvPr id="13372" name="Freeform 1259"/>
            <p:cNvSpPr>
              <a:spLocks/>
            </p:cNvSpPr>
            <p:nvPr/>
          </p:nvSpPr>
          <p:spPr bwMode="auto">
            <a:xfrm rot="1114411" flipH="1">
              <a:off x="1210519" y="4873950"/>
              <a:ext cx="147440" cy="102930"/>
            </a:xfrm>
            <a:custGeom>
              <a:avLst/>
              <a:gdLst>
                <a:gd name="T0" fmla="*/ 2147483647 w 265"/>
                <a:gd name="T1" fmla="*/ 0 h 185"/>
                <a:gd name="T2" fmla="*/ 2147483647 w 265"/>
                <a:gd name="T3" fmla="*/ 2147483647 h 185"/>
                <a:gd name="T4" fmla="*/ 2147483647 w 265"/>
                <a:gd name="T5" fmla="*/ 2147483647 h 185"/>
                <a:gd name="T6" fmla="*/ 2147483647 w 265"/>
                <a:gd name="T7" fmla="*/ 2147483647 h 185"/>
                <a:gd name="T8" fmla="*/ 2147483647 w 265"/>
                <a:gd name="T9" fmla="*/ 2147483647 h 185"/>
                <a:gd name="T10" fmla="*/ 2147483647 w 265"/>
                <a:gd name="T11" fmla="*/ 2147483647 h 185"/>
                <a:gd name="T12" fmla="*/ 2147483647 w 265"/>
                <a:gd name="T13" fmla="*/ 2147483647 h 185"/>
                <a:gd name="T14" fmla="*/ 2147483647 w 265"/>
                <a:gd name="T15" fmla="*/ 2147483647 h 185"/>
                <a:gd name="T16" fmla="*/ 2147483647 w 265"/>
                <a:gd name="T17" fmla="*/ 2147483647 h 185"/>
                <a:gd name="T18" fmla="*/ 2147483647 w 265"/>
                <a:gd name="T19" fmla="*/ 2147483647 h 185"/>
                <a:gd name="T20" fmla="*/ 2147483647 w 265"/>
                <a:gd name="T21" fmla="*/ 2147483647 h 185"/>
                <a:gd name="T22" fmla="*/ 2147483647 w 265"/>
                <a:gd name="T23" fmla="*/ 2147483647 h 185"/>
                <a:gd name="T24" fmla="*/ 2147483647 w 265"/>
                <a:gd name="T25" fmla="*/ 2147483647 h 185"/>
                <a:gd name="T26" fmla="*/ 2147483647 w 265"/>
                <a:gd name="T27" fmla="*/ 2147483647 h 185"/>
                <a:gd name="T28" fmla="*/ 2147483647 w 265"/>
                <a:gd name="T29" fmla="*/ 2147483647 h 185"/>
                <a:gd name="T30" fmla="*/ 2147483647 w 265"/>
                <a:gd name="T31" fmla="*/ 2147483647 h 185"/>
                <a:gd name="T32" fmla="*/ 2147483647 w 265"/>
                <a:gd name="T33" fmla="*/ 2147483647 h 185"/>
                <a:gd name="T34" fmla="*/ 2147483647 w 265"/>
                <a:gd name="T35" fmla="*/ 2147483647 h 185"/>
                <a:gd name="T36" fmla="*/ 2147483647 w 265"/>
                <a:gd name="T37" fmla="*/ 2147483647 h 185"/>
                <a:gd name="T38" fmla="*/ 2147483647 w 265"/>
                <a:gd name="T39" fmla="*/ 2147483647 h 185"/>
                <a:gd name="T40" fmla="*/ 2147483647 w 265"/>
                <a:gd name="T41" fmla="*/ 2147483647 h 185"/>
                <a:gd name="T42" fmla="*/ 2147483647 w 265"/>
                <a:gd name="T43" fmla="*/ 2147483647 h 185"/>
                <a:gd name="T44" fmla="*/ 2147483647 w 265"/>
                <a:gd name="T45" fmla="*/ 2147483647 h 185"/>
                <a:gd name="T46" fmla="*/ 2147483647 w 265"/>
                <a:gd name="T47" fmla="*/ 2147483647 h 185"/>
                <a:gd name="T48" fmla="*/ 2147483647 w 265"/>
                <a:gd name="T49" fmla="*/ 2147483647 h 185"/>
                <a:gd name="T50" fmla="*/ 2147483647 w 265"/>
                <a:gd name="T51" fmla="*/ 2147483647 h 185"/>
                <a:gd name="T52" fmla="*/ 0 w 265"/>
                <a:gd name="T53" fmla="*/ 2147483647 h 185"/>
                <a:gd name="T54" fmla="*/ 2147483647 w 265"/>
                <a:gd name="T55" fmla="*/ 2147483647 h 185"/>
                <a:gd name="T56" fmla="*/ 2147483647 w 265"/>
                <a:gd name="T57" fmla="*/ 2147483647 h 185"/>
                <a:gd name="T58" fmla="*/ 2147483647 w 265"/>
                <a:gd name="T59" fmla="*/ 0 h 18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65"/>
                <a:gd name="T91" fmla="*/ 0 h 185"/>
                <a:gd name="T92" fmla="*/ 265 w 265"/>
                <a:gd name="T93" fmla="*/ 185 h 18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65" h="185">
                  <a:moveTo>
                    <a:pt x="3" y="0"/>
                  </a:moveTo>
                  <a:lnTo>
                    <a:pt x="15" y="13"/>
                  </a:lnTo>
                  <a:lnTo>
                    <a:pt x="31" y="30"/>
                  </a:lnTo>
                  <a:lnTo>
                    <a:pt x="55" y="46"/>
                  </a:lnTo>
                  <a:lnTo>
                    <a:pt x="82" y="61"/>
                  </a:lnTo>
                  <a:lnTo>
                    <a:pt x="113" y="75"/>
                  </a:lnTo>
                  <a:lnTo>
                    <a:pt x="149" y="87"/>
                  </a:lnTo>
                  <a:lnTo>
                    <a:pt x="186" y="94"/>
                  </a:lnTo>
                  <a:lnTo>
                    <a:pt x="225" y="97"/>
                  </a:lnTo>
                  <a:lnTo>
                    <a:pt x="265" y="92"/>
                  </a:lnTo>
                  <a:lnTo>
                    <a:pt x="252" y="121"/>
                  </a:lnTo>
                  <a:lnTo>
                    <a:pt x="237" y="146"/>
                  </a:lnTo>
                  <a:lnTo>
                    <a:pt x="220" y="162"/>
                  </a:lnTo>
                  <a:lnTo>
                    <a:pt x="199" y="174"/>
                  </a:lnTo>
                  <a:lnTo>
                    <a:pt x="177" y="182"/>
                  </a:lnTo>
                  <a:lnTo>
                    <a:pt x="154" y="185"/>
                  </a:lnTo>
                  <a:lnTo>
                    <a:pt x="131" y="185"/>
                  </a:lnTo>
                  <a:lnTo>
                    <a:pt x="106" y="181"/>
                  </a:lnTo>
                  <a:lnTo>
                    <a:pt x="83" y="176"/>
                  </a:lnTo>
                  <a:lnTo>
                    <a:pt x="61" y="169"/>
                  </a:lnTo>
                  <a:lnTo>
                    <a:pt x="42" y="158"/>
                  </a:lnTo>
                  <a:lnTo>
                    <a:pt x="27" y="143"/>
                  </a:lnTo>
                  <a:lnTo>
                    <a:pt x="16" y="127"/>
                  </a:lnTo>
                  <a:lnTo>
                    <a:pt x="8" y="107"/>
                  </a:lnTo>
                  <a:lnTo>
                    <a:pt x="4" y="88"/>
                  </a:lnTo>
                  <a:lnTo>
                    <a:pt x="1" y="68"/>
                  </a:lnTo>
                  <a:lnTo>
                    <a:pt x="0" y="47"/>
                  </a:lnTo>
                  <a:lnTo>
                    <a:pt x="1" y="30"/>
                  </a:lnTo>
                  <a:lnTo>
                    <a:pt x="1" y="1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4E6365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1289"/>
            <p:cNvSpPr>
              <a:spLocks/>
            </p:cNvSpPr>
            <p:nvPr/>
          </p:nvSpPr>
          <p:spPr bwMode="auto">
            <a:xfrm rot="1114411" flipH="1">
              <a:off x="908871" y="4719302"/>
              <a:ext cx="270314" cy="212222"/>
            </a:xfrm>
            <a:custGeom>
              <a:avLst/>
              <a:gdLst>
                <a:gd name="T0" fmla="*/ 6350 w 486"/>
                <a:gd name="T1" fmla="*/ 3175 h 381"/>
                <a:gd name="T2" fmla="*/ 47625 w 486"/>
                <a:gd name="T3" fmla="*/ 14288 h 381"/>
                <a:gd name="T4" fmla="*/ 111125 w 486"/>
                <a:gd name="T5" fmla="*/ 28575 h 381"/>
                <a:gd name="T6" fmla="*/ 182563 w 486"/>
                <a:gd name="T7" fmla="*/ 50800 h 381"/>
                <a:gd name="T8" fmla="*/ 238125 w 486"/>
                <a:gd name="T9" fmla="*/ 71438 h 381"/>
                <a:gd name="T10" fmla="*/ 266700 w 486"/>
                <a:gd name="T11" fmla="*/ 93663 h 381"/>
                <a:gd name="T12" fmla="*/ 354013 w 486"/>
                <a:gd name="T13" fmla="*/ 112713 h 381"/>
                <a:gd name="T14" fmla="*/ 427038 w 486"/>
                <a:gd name="T15" fmla="*/ 141288 h 381"/>
                <a:gd name="T16" fmla="*/ 479425 w 486"/>
                <a:gd name="T17" fmla="*/ 165100 h 381"/>
                <a:gd name="T18" fmla="*/ 498475 w 486"/>
                <a:gd name="T19" fmla="*/ 176213 h 381"/>
                <a:gd name="T20" fmla="*/ 522288 w 486"/>
                <a:gd name="T21" fmla="*/ 180975 h 381"/>
                <a:gd name="T22" fmla="*/ 574675 w 486"/>
                <a:gd name="T23" fmla="*/ 193675 h 381"/>
                <a:gd name="T24" fmla="*/ 625475 w 486"/>
                <a:gd name="T25" fmla="*/ 219075 h 381"/>
                <a:gd name="T26" fmla="*/ 658813 w 486"/>
                <a:gd name="T27" fmla="*/ 247650 h 381"/>
                <a:gd name="T28" fmla="*/ 690563 w 486"/>
                <a:gd name="T29" fmla="*/ 249238 h 381"/>
                <a:gd name="T30" fmla="*/ 728663 w 486"/>
                <a:gd name="T31" fmla="*/ 249238 h 381"/>
                <a:gd name="T32" fmla="*/ 760413 w 486"/>
                <a:gd name="T33" fmla="*/ 273050 h 381"/>
                <a:gd name="T34" fmla="*/ 771525 w 486"/>
                <a:gd name="T35" fmla="*/ 317500 h 381"/>
                <a:gd name="T36" fmla="*/ 765175 w 486"/>
                <a:gd name="T37" fmla="*/ 371475 h 381"/>
                <a:gd name="T38" fmla="*/ 752475 w 486"/>
                <a:gd name="T39" fmla="*/ 422275 h 381"/>
                <a:gd name="T40" fmla="*/ 738188 w 486"/>
                <a:gd name="T41" fmla="*/ 461963 h 381"/>
                <a:gd name="T42" fmla="*/ 731838 w 486"/>
                <a:gd name="T43" fmla="*/ 477838 h 381"/>
                <a:gd name="T44" fmla="*/ 717550 w 486"/>
                <a:gd name="T45" fmla="*/ 527050 h 381"/>
                <a:gd name="T46" fmla="*/ 681038 w 486"/>
                <a:gd name="T47" fmla="*/ 561975 h 381"/>
                <a:gd name="T48" fmla="*/ 633413 w 486"/>
                <a:gd name="T49" fmla="*/ 585788 h 381"/>
                <a:gd name="T50" fmla="*/ 593725 w 486"/>
                <a:gd name="T51" fmla="*/ 596900 h 381"/>
                <a:gd name="T52" fmla="*/ 576263 w 486"/>
                <a:gd name="T53" fmla="*/ 600075 h 381"/>
                <a:gd name="T54" fmla="*/ 557213 w 486"/>
                <a:gd name="T55" fmla="*/ 603250 h 381"/>
                <a:gd name="T56" fmla="*/ 503238 w 486"/>
                <a:gd name="T57" fmla="*/ 604838 h 381"/>
                <a:gd name="T58" fmla="*/ 422275 w 486"/>
                <a:gd name="T59" fmla="*/ 593725 h 381"/>
                <a:gd name="T60" fmla="*/ 323850 w 486"/>
                <a:gd name="T61" fmla="*/ 552450 h 381"/>
                <a:gd name="T62" fmla="*/ 211138 w 486"/>
                <a:gd name="T63" fmla="*/ 474663 h 381"/>
                <a:gd name="T64" fmla="*/ 184150 w 486"/>
                <a:gd name="T65" fmla="*/ 430213 h 381"/>
                <a:gd name="T66" fmla="*/ 163513 w 486"/>
                <a:gd name="T67" fmla="*/ 354013 h 381"/>
                <a:gd name="T68" fmla="*/ 119063 w 486"/>
                <a:gd name="T69" fmla="*/ 301625 h 381"/>
                <a:gd name="T70" fmla="*/ 58738 w 486"/>
                <a:gd name="T71" fmla="*/ 255588 h 381"/>
                <a:gd name="T72" fmla="*/ 3175 w 486"/>
                <a:gd name="T73" fmla="*/ 211138 h 381"/>
                <a:gd name="T74" fmla="*/ 4763 w 486"/>
                <a:gd name="T75" fmla="*/ 187325 h 381"/>
                <a:gd name="T76" fmla="*/ 17463 w 486"/>
                <a:gd name="T77" fmla="*/ 147638 h 381"/>
                <a:gd name="T78" fmla="*/ 30163 w 486"/>
                <a:gd name="T79" fmla="*/ 103188 h 381"/>
                <a:gd name="T80" fmla="*/ 22225 w 486"/>
                <a:gd name="T81" fmla="*/ 55563 h 381"/>
                <a:gd name="T82" fmla="*/ 6350 w 486"/>
                <a:gd name="T83" fmla="*/ 15875 h 381"/>
                <a:gd name="T84" fmla="*/ 0 w 486"/>
                <a:gd name="T85" fmla="*/ 0 h 38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86"/>
                <a:gd name="T130" fmla="*/ 0 h 381"/>
                <a:gd name="T131" fmla="*/ 486 w 486"/>
                <a:gd name="T132" fmla="*/ 381 h 38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86" h="381">
                  <a:moveTo>
                    <a:pt x="0" y="0"/>
                  </a:moveTo>
                  <a:lnTo>
                    <a:pt x="4" y="2"/>
                  </a:lnTo>
                  <a:lnTo>
                    <a:pt x="14" y="5"/>
                  </a:lnTo>
                  <a:lnTo>
                    <a:pt x="30" y="9"/>
                  </a:lnTo>
                  <a:lnTo>
                    <a:pt x="49" y="13"/>
                  </a:lnTo>
                  <a:lnTo>
                    <a:pt x="70" y="18"/>
                  </a:lnTo>
                  <a:lnTo>
                    <a:pt x="93" y="25"/>
                  </a:lnTo>
                  <a:lnTo>
                    <a:pt x="115" y="32"/>
                  </a:lnTo>
                  <a:lnTo>
                    <a:pt x="134" y="39"/>
                  </a:lnTo>
                  <a:lnTo>
                    <a:pt x="150" y="45"/>
                  </a:lnTo>
                  <a:lnTo>
                    <a:pt x="163" y="52"/>
                  </a:lnTo>
                  <a:lnTo>
                    <a:pt x="168" y="59"/>
                  </a:lnTo>
                  <a:lnTo>
                    <a:pt x="195" y="65"/>
                  </a:lnTo>
                  <a:lnTo>
                    <a:pt x="223" y="71"/>
                  </a:lnTo>
                  <a:lnTo>
                    <a:pt x="247" y="80"/>
                  </a:lnTo>
                  <a:lnTo>
                    <a:pt x="269" y="89"/>
                  </a:lnTo>
                  <a:lnTo>
                    <a:pt x="288" y="97"/>
                  </a:lnTo>
                  <a:lnTo>
                    <a:pt x="302" y="104"/>
                  </a:lnTo>
                  <a:lnTo>
                    <a:pt x="311" y="110"/>
                  </a:lnTo>
                  <a:lnTo>
                    <a:pt x="314" y="111"/>
                  </a:lnTo>
                  <a:lnTo>
                    <a:pt x="318" y="111"/>
                  </a:lnTo>
                  <a:lnTo>
                    <a:pt x="329" y="114"/>
                  </a:lnTo>
                  <a:lnTo>
                    <a:pt x="344" y="116"/>
                  </a:lnTo>
                  <a:lnTo>
                    <a:pt x="362" y="122"/>
                  </a:lnTo>
                  <a:lnTo>
                    <a:pt x="379" y="129"/>
                  </a:lnTo>
                  <a:lnTo>
                    <a:pt x="394" y="138"/>
                  </a:lnTo>
                  <a:lnTo>
                    <a:pt x="407" y="149"/>
                  </a:lnTo>
                  <a:lnTo>
                    <a:pt x="415" y="156"/>
                  </a:lnTo>
                  <a:lnTo>
                    <a:pt x="424" y="159"/>
                  </a:lnTo>
                  <a:lnTo>
                    <a:pt x="435" y="157"/>
                  </a:lnTo>
                  <a:lnTo>
                    <a:pt x="448" y="156"/>
                  </a:lnTo>
                  <a:lnTo>
                    <a:pt x="459" y="157"/>
                  </a:lnTo>
                  <a:lnTo>
                    <a:pt x="471" y="163"/>
                  </a:lnTo>
                  <a:lnTo>
                    <a:pt x="479" y="172"/>
                  </a:lnTo>
                  <a:lnTo>
                    <a:pt x="484" y="185"/>
                  </a:lnTo>
                  <a:lnTo>
                    <a:pt x="486" y="200"/>
                  </a:lnTo>
                  <a:lnTo>
                    <a:pt x="484" y="216"/>
                  </a:lnTo>
                  <a:lnTo>
                    <a:pt x="482" y="234"/>
                  </a:lnTo>
                  <a:lnTo>
                    <a:pt x="479" y="250"/>
                  </a:lnTo>
                  <a:lnTo>
                    <a:pt x="474" y="266"/>
                  </a:lnTo>
                  <a:lnTo>
                    <a:pt x="469" y="280"/>
                  </a:lnTo>
                  <a:lnTo>
                    <a:pt x="465" y="291"/>
                  </a:lnTo>
                  <a:lnTo>
                    <a:pt x="463" y="298"/>
                  </a:lnTo>
                  <a:lnTo>
                    <a:pt x="461" y="301"/>
                  </a:lnTo>
                  <a:lnTo>
                    <a:pt x="460" y="317"/>
                  </a:lnTo>
                  <a:lnTo>
                    <a:pt x="452" y="332"/>
                  </a:lnTo>
                  <a:lnTo>
                    <a:pt x="442" y="344"/>
                  </a:lnTo>
                  <a:lnTo>
                    <a:pt x="429" y="354"/>
                  </a:lnTo>
                  <a:lnTo>
                    <a:pt x="414" y="362"/>
                  </a:lnTo>
                  <a:lnTo>
                    <a:pt x="399" y="369"/>
                  </a:lnTo>
                  <a:lnTo>
                    <a:pt x="385" y="373"/>
                  </a:lnTo>
                  <a:lnTo>
                    <a:pt x="374" y="376"/>
                  </a:lnTo>
                  <a:lnTo>
                    <a:pt x="366" y="377"/>
                  </a:lnTo>
                  <a:lnTo>
                    <a:pt x="363" y="378"/>
                  </a:lnTo>
                  <a:lnTo>
                    <a:pt x="360" y="378"/>
                  </a:lnTo>
                  <a:lnTo>
                    <a:pt x="351" y="380"/>
                  </a:lnTo>
                  <a:lnTo>
                    <a:pt x="337" y="381"/>
                  </a:lnTo>
                  <a:lnTo>
                    <a:pt x="317" y="381"/>
                  </a:lnTo>
                  <a:lnTo>
                    <a:pt x="294" y="380"/>
                  </a:lnTo>
                  <a:lnTo>
                    <a:pt x="266" y="374"/>
                  </a:lnTo>
                  <a:lnTo>
                    <a:pt x="236" y="363"/>
                  </a:lnTo>
                  <a:lnTo>
                    <a:pt x="204" y="348"/>
                  </a:lnTo>
                  <a:lnTo>
                    <a:pt x="168" y="328"/>
                  </a:lnTo>
                  <a:lnTo>
                    <a:pt x="133" y="299"/>
                  </a:lnTo>
                  <a:lnTo>
                    <a:pt x="123" y="287"/>
                  </a:lnTo>
                  <a:lnTo>
                    <a:pt x="116" y="271"/>
                  </a:lnTo>
                  <a:lnTo>
                    <a:pt x="111" y="249"/>
                  </a:lnTo>
                  <a:lnTo>
                    <a:pt x="103" y="223"/>
                  </a:lnTo>
                  <a:lnTo>
                    <a:pt x="92" y="205"/>
                  </a:lnTo>
                  <a:lnTo>
                    <a:pt x="75" y="190"/>
                  </a:lnTo>
                  <a:lnTo>
                    <a:pt x="56" y="175"/>
                  </a:lnTo>
                  <a:lnTo>
                    <a:pt x="37" y="161"/>
                  </a:lnTo>
                  <a:lnTo>
                    <a:pt x="18" y="148"/>
                  </a:lnTo>
                  <a:lnTo>
                    <a:pt x="2" y="133"/>
                  </a:lnTo>
                  <a:lnTo>
                    <a:pt x="0" y="127"/>
                  </a:lnTo>
                  <a:lnTo>
                    <a:pt x="3" y="118"/>
                  </a:lnTo>
                  <a:lnTo>
                    <a:pt x="7" y="105"/>
                  </a:lnTo>
                  <a:lnTo>
                    <a:pt x="11" y="93"/>
                  </a:lnTo>
                  <a:lnTo>
                    <a:pt x="17" y="78"/>
                  </a:lnTo>
                  <a:lnTo>
                    <a:pt x="19" y="65"/>
                  </a:lnTo>
                  <a:lnTo>
                    <a:pt x="18" y="51"/>
                  </a:lnTo>
                  <a:lnTo>
                    <a:pt x="14" y="35"/>
                  </a:lnTo>
                  <a:lnTo>
                    <a:pt x="10" y="21"/>
                  </a:lnTo>
                  <a:lnTo>
                    <a:pt x="4" y="10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Calibri" pitchFamily="27" charset="0"/>
                <a:ea typeface="ＭＳ Ｐゴシック" pitchFamily="27" charset="-128"/>
                <a:cs typeface="ＭＳ Ｐゴシック" pitchFamily="27" charset="-128"/>
              </a:endParaRPr>
            </a:p>
          </p:txBody>
        </p:sp>
        <p:sp>
          <p:nvSpPr>
            <p:cNvPr id="13374" name="Freeform 1375"/>
            <p:cNvSpPr>
              <a:spLocks/>
            </p:cNvSpPr>
            <p:nvPr/>
          </p:nvSpPr>
          <p:spPr bwMode="auto">
            <a:xfrm rot="1114411" flipH="1">
              <a:off x="928468" y="4874383"/>
              <a:ext cx="147996" cy="104042"/>
            </a:xfrm>
            <a:custGeom>
              <a:avLst/>
              <a:gdLst>
                <a:gd name="T0" fmla="*/ 0 w 266"/>
                <a:gd name="T1" fmla="*/ 0 h 187"/>
                <a:gd name="T2" fmla="*/ 2147483647 w 266"/>
                <a:gd name="T3" fmla="*/ 2147483647 h 187"/>
                <a:gd name="T4" fmla="*/ 2147483647 w 266"/>
                <a:gd name="T5" fmla="*/ 2147483647 h 187"/>
                <a:gd name="T6" fmla="*/ 2147483647 w 266"/>
                <a:gd name="T7" fmla="*/ 2147483647 h 187"/>
                <a:gd name="T8" fmla="*/ 2147483647 w 266"/>
                <a:gd name="T9" fmla="*/ 2147483647 h 187"/>
                <a:gd name="T10" fmla="*/ 2147483647 w 266"/>
                <a:gd name="T11" fmla="*/ 2147483647 h 187"/>
                <a:gd name="T12" fmla="*/ 2147483647 w 266"/>
                <a:gd name="T13" fmla="*/ 2147483647 h 187"/>
                <a:gd name="T14" fmla="*/ 2147483647 w 266"/>
                <a:gd name="T15" fmla="*/ 2147483647 h 187"/>
                <a:gd name="T16" fmla="*/ 2147483647 w 266"/>
                <a:gd name="T17" fmla="*/ 2147483647 h 187"/>
                <a:gd name="T18" fmla="*/ 2147483647 w 266"/>
                <a:gd name="T19" fmla="*/ 2147483647 h 187"/>
                <a:gd name="T20" fmla="*/ 2147483647 w 266"/>
                <a:gd name="T21" fmla="*/ 2147483647 h 187"/>
                <a:gd name="T22" fmla="*/ 2147483647 w 266"/>
                <a:gd name="T23" fmla="*/ 2147483647 h 187"/>
                <a:gd name="T24" fmla="*/ 2147483647 w 266"/>
                <a:gd name="T25" fmla="*/ 2147483647 h 187"/>
                <a:gd name="T26" fmla="*/ 2147483647 w 266"/>
                <a:gd name="T27" fmla="*/ 2147483647 h 187"/>
                <a:gd name="T28" fmla="*/ 2147483647 w 266"/>
                <a:gd name="T29" fmla="*/ 2147483647 h 187"/>
                <a:gd name="T30" fmla="*/ 2147483647 w 266"/>
                <a:gd name="T31" fmla="*/ 2147483647 h 187"/>
                <a:gd name="T32" fmla="*/ 2147483647 w 266"/>
                <a:gd name="T33" fmla="*/ 2147483647 h 187"/>
                <a:gd name="T34" fmla="*/ 2147483647 w 266"/>
                <a:gd name="T35" fmla="*/ 2147483647 h 187"/>
                <a:gd name="T36" fmla="*/ 2147483647 w 266"/>
                <a:gd name="T37" fmla="*/ 2147483647 h 187"/>
                <a:gd name="T38" fmla="*/ 2147483647 w 266"/>
                <a:gd name="T39" fmla="*/ 2147483647 h 187"/>
                <a:gd name="T40" fmla="*/ 2147483647 w 266"/>
                <a:gd name="T41" fmla="*/ 2147483647 h 187"/>
                <a:gd name="T42" fmla="*/ 2147483647 w 266"/>
                <a:gd name="T43" fmla="*/ 2147483647 h 187"/>
                <a:gd name="T44" fmla="*/ 2147483647 w 266"/>
                <a:gd name="T45" fmla="*/ 2147483647 h 187"/>
                <a:gd name="T46" fmla="*/ 2147483647 w 266"/>
                <a:gd name="T47" fmla="*/ 2147483647 h 187"/>
                <a:gd name="T48" fmla="*/ 2147483647 w 266"/>
                <a:gd name="T49" fmla="*/ 2147483647 h 187"/>
                <a:gd name="T50" fmla="*/ 2147483647 w 266"/>
                <a:gd name="T51" fmla="*/ 2147483647 h 187"/>
                <a:gd name="T52" fmla="*/ 2147483647 w 266"/>
                <a:gd name="T53" fmla="*/ 2147483647 h 187"/>
                <a:gd name="T54" fmla="*/ 2147483647 w 266"/>
                <a:gd name="T55" fmla="*/ 2147483647 h 187"/>
                <a:gd name="T56" fmla="*/ 2147483647 w 266"/>
                <a:gd name="T57" fmla="*/ 2147483647 h 187"/>
                <a:gd name="T58" fmla="*/ 2147483647 w 266"/>
                <a:gd name="T59" fmla="*/ 2147483647 h 187"/>
                <a:gd name="T60" fmla="*/ 2147483647 w 266"/>
                <a:gd name="T61" fmla="*/ 2147483647 h 187"/>
                <a:gd name="T62" fmla="*/ 0 w 266"/>
                <a:gd name="T63" fmla="*/ 2147483647 h 187"/>
                <a:gd name="T64" fmla="*/ 0 w 266"/>
                <a:gd name="T65" fmla="*/ 2147483647 h 187"/>
                <a:gd name="T66" fmla="*/ 0 w 266"/>
                <a:gd name="T67" fmla="*/ 0 h 18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66"/>
                <a:gd name="T103" fmla="*/ 0 h 187"/>
                <a:gd name="T104" fmla="*/ 266 w 266"/>
                <a:gd name="T105" fmla="*/ 187 h 18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66" h="187">
                  <a:moveTo>
                    <a:pt x="0" y="0"/>
                  </a:moveTo>
                  <a:lnTo>
                    <a:pt x="2" y="3"/>
                  </a:lnTo>
                  <a:lnTo>
                    <a:pt x="9" y="8"/>
                  </a:lnTo>
                  <a:lnTo>
                    <a:pt x="20" y="18"/>
                  </a:lnTo>
                  <a:lnTo>
                    <a:pt x="37" y="30"/>
                  </a:lnTo>
                  <a:lnTo>
                    <a:pt x="54" y="42"/>
                  </a:lnTo>
                  <a:lnTo>
                    <a:pt x="77" y="56"/>
                  </a:lnTo>
                  <a:lnTo>
                    <a:pt x="102" y="67"/>
                  </a:lnTo>
                  <a:lnTo>
                    <a:pt x="131" y="78"/>
                  </a:lnTo>
                  <a:lnTo>
                    <a:pt x="161" y="85"/>
                  </a:lnTo>
                  <a:lnTo>
                    <a:pt x="193" y="89"/>
                  </a:lnTo>
                  <a:lnTo>
                    <a:pt x="229" y="87"/>
                  </a:lnTo>
                  <a:lnTo>
                    <a:pt x="266" y="81"/>
                  </a:lnTo>
                  <a:lnTo>
                    <a:pt x="253" y="112"/>
                  </a:lnTo>
                  <a:lnTo>
                    <a:pt x="238" y="135"/>
                  </a:lnTo>
                  <a:lnTo>
                    <a:pt x="221" y="154"/>
                  </a:lnTo>
                  <a:lnTo>
                    <a:pt x="202" y="169"/>
                  </a:lnTo>
                  <a:lnTo>
                    <a:pt x="180" y="179"/>
                  </a:lnTo>
                  <a:lnTo>
                    <a:pt x="158" y="184"/>
                  </a:lnTo>
                  <a:lnTo>
                    <a:pt x="135" y="187"/>
                  </a:lnTo>
                  <a:lnTo>
                    <a:pt x="112" y="186"/>
                  </a:lnTo>
                  <a:lnTo>
                    <a:pt x="90" y="180"/>
                  </a:lnTo>
                  <a:lnTo>
                    <a:pt x="68" y="173"/>
                  </a:lnTo>
                  <a:lnTo>
                    <a:pt x="50" y="162"/>
                  </a:lnTo>
                  <a:lnTo>
                    <a:pt x="35" y="147"/>
                  </a:lnTo>
                  <a:lnTo>
                    <a:pt x="24" y="130"/>
                  </a:lnTo>
                  <a:lnTo>
                    <a:pt x="16" y="109"/>
                  </a:lnTo>
                  <a:lnTo>
                    <a:pt x="9" y="87"/>
                  </a:lnTo>
                  <a:lnTo>
                    <a:pt x="5" y="66"/>
                  </a:lnTo>
                  <a:lnTo>
                    <a:pt x="2" y="45"/>
                  </a:lnTo>
                  <a:lnTo>
                    <a:pt x="1" y="27"/>
                  </a:lnTo>
                  <a:lnTo>
                    <a:pt x="0" y="12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E6365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75" name="Freeform 1409"/>
            <p:cNvSpPr>
              <a:spLocks/>
            </p:cNvSpPr>
            <p:nvPr/>
          </p:nvSpPr>
          <p:spPr bwMode="auto">
            <a:xfrm rot="1114411" flipH="1">
              <a:off x="1640732" y="4325484"/>
              <a:ext cx="157454" cy="303781"/>
            </a:xfrm>
            <a:custGeom>
              <a:avLst/>
              <a:gdLst>
                <a:gd name="T0" fmla="*/ 2147483647 w 283"/>
                <a:gd name="T1" fmla="*/ 0 h 546"/>
                <a:gd name="T2" fmla="*/ 2147483647 w 283"/>
                <a:gd name="T3" fmla="*/ 2147483647 h 546"/>
                <a:gd name="T4" fmla="*/ 2147483647 w 283"/>
                <a:gd name="T5" fmla="*/ 2147483647 h 546"/>
                <a:gd name="T6" fmla="*/ 2147483647 w 283"/>
                <a:gd name="T7" fmla="*/ 2147483647 h 546"/>
                <a:gd name="T8" fmla="*/ 2147483647 w 283"/>
                <a:gd name="T9" fmla="*/ 2147483647 h 546"/>
                <a:gd name="T10" fmla="*/ 2147483647 w 283"/>
                <a:gd name="T11" fmla="*/ 2147483647 h 546"/>
                <a:gd name="T12" fmla="*/ 2147483647 w 283"/>
                <a:gd name="T13" fmla="*/ 2147483647 h 546"/>
                <a:gd name="T14" fmla="*/ 2147483647 w 283"/>
                <a:gd name="T15" fmla="*/ 2147483647 h 546"/>
                <a:gd name="T16" fmla="*/ 2147483647 w 283"/>
                <a:gd name="T17" fmla="*/ 2147483647 h 546"/>
                <a:gd name="T18" fmla="*/ 2147483647 w 283"/>
                <a:gd name="T19" fmla="*/ 2147483647 h 546"/>
                <a:gd name="T20" fmla="*/ 2147483647 w 283"/>
                <a:gd name="T21" fmla="*/ 2147483647 h 546"/>
                <a:gd name="T22" fmla="*/ 2147483647 w 283"/>
                <a:gd name="T23" fmla="*/ 2147483647 h 546"/>
                <a:gd name="T24" fmla="*/ 2147483647 w 283"/>
                <a:gd name="T25" fmla="*/ 2147483647 h 546"/>
                <a:gd name="T26" fmla="*/ 2147483647 w 283"/>
                <a:gd name="T27" fmla="*/ 2147483647 h 546"/>
                <a:gd name="T28" fmla="*/ 2147483647 w 283"/>
                <a:gd name="T29" fmla="*/ 2147483647 h 546"/>
                <a:gd name="T30" fmla="*/ 2147483647 w 283"/>
                <a:gd name="T31" fmla="*/ 2147483647 h 546"/>
                <a:gd name="T32" fmla="*/ 2147483647 w 283"/>
                <a:gd name="T33" fmla="*/ 2147483647 h 546"/>
                <a:gd name="T34" fmla="*/ 2147483647 w 283"/>
                <a:gd name="T35" fmla="*/ 2147483647 h 546"/>
                <a:gd name="T36" fmla="*/ 2147483647 w 283"/>
                <a:gd name="T37" fmla="*/ 2147483647 h 546"/>
                <a:gd name="T38" fmla="*/ 2147483647 w 283"/>
                <a:gd name="T39" fmla="*/ 2147483647 h 546"/>
                <a:gd name="T40" fmla="*/ 2147483647 w 283"/>
                <a:gd name="T41" fmla="*/ 2147483647 h 546"/>
                <a:gd name="T42" fmla="*/ 2147483647 w 283"/>
                <a:gd name="T43" fmla="*/ 2147483647 h 546"/>
                <a:gd name="T44" fmla="*/ 2147483647 w 283"/>
                <a:gd name="T45" fmla="*/ 2147483647 h 546"/>
                <a:gd name="T46" fmla="*/ 2147483647 w 283"/>
                <a:gd name="T47" fmla="*/ 2147483647 h 546"/>
                <a:gd name="T48" fmla="*/ 2147483647 w 283"/>
                <a:gd name="T49" fmla="*/ 2147483647 h 546"/>
                <a:gd name="T50" fmla="*/ 2147483647 w 283"/>
                <a:gd name="T51" fmla="*/ 2147483647 h 546"/>
                <a:gd name="T52" fmla="*/ 2147483647 w 283"/>
                <a:gd name="T53" fmla="*/ 2147483647 h 546"/>
                <a:gd name="T54" fmla="*/ 2147483647 w 283"/>
                <a:gd name="T55" fmla="*/ 2147483647 h 546"/>
                <a:gd name="T56" fmla="*/ 2147483647 w 283"/>
                <a:gd name="T57" fmla="*/ 2147483647 h 546"/>
                <a:gd name="T58" fmla="*/ 2147483647 w 283"/>
                <a:gd name="T59" fmla="*/ 2147483647 h 546"/>
                <a:gd name="T60" fmla="*/ 2147483647 w 283"/>
                <a:gd name="T61" fmla="*/ 2147483647 h 546"/>
                <a:gd name="T62" fmla="*/ 2147483647 w 283"/>
                <a:gd name="T63" fmla="*/ 2147483647 h 546"/>
                <a:gd name="T64" fmla="*/ 2147483647 w 283"/>
                <a:gd name="T65" fmla="*/ 2147483647 h 546"/>
                <a:gd name="T66" fmla="*/ 2147483647 w 283"/>
                <a:gd name="T67" fmla="*/ 2147483647 h 546"/>
                <a:gd name="T68" fmla="*/ 2147483647 w 283"/>
                <a:gd name="T69" fmla="*/ 2147483647 h 546"/>
                <a:gd name="T70" fmla="*/ 2147483647 w 283"/>
                <a:gd name="T71" fmla="*/ 2147483647 h 546"/>
                <a:gd name="T72" fmla="*/ 2147483647 w 283"/>
                <a:gd name="T73" fmla="*/ 2147483647 h 546"/>
                <a:gd name="T74" fmla="*/ 2147483647 w 283"/>
                <a:gd name="T75" fmla="*/ 2147483647 h 546"/>
                <a:gd name="T76" fmla="*/ 2147483647 w 283"/>
                <a:gd name="T77" fmla="*/ 2147483647 h 546"/>
                <a:gd name="T78" fmla="*/ 0 w 283"/>
                <a:gd name="T79" fmla="*/ 2147483647 h 546"/>
                <a:gd name="T80" fmla="*/ 2147483647 w 283"/>
                <a:gd name="T81" fmla="*/ 2147483647 h 546"/>
                <a:gd name="T82" fmla="*/ 2147483647 w 283"/>
                <a:gd name="T83" fmla="*/ 2147483647 h 546"/>
                <a:gd name="T84" fmla="*/ 2147483647 w 283"/>
                <a:gd name="T85" fmla="*/ 2147483647 h 546"/>
                <a:gd name="T86" fmla="*/ 2147483647 w 283"/>
                <a:gd name="T87" fmla="*/ 2147483647 h 546"/>
                <a:gd name="T88" fmla="*/ 2147483647 w 283"/>
                <a:gd name="T89" fmla="*/ 2147483647 h 546"/>
                <a:gd name="T90" fmla="*/ 2147483647 w 283"/>
                <a:gd name="T91" fmla="*/ 2147483647 h 546"/>
                <a:gd name="T92" fmla="*/ 2147483647 w 283"/>
                <a:gd name="T93" fmla="*/ 2147483647 h 546"/>
                <a:gd name="T94" fmla="*/ 2147483647 w 283"/>
                <a:gd name="T95" fmla="*/ 2147483647 h 546"/>
                <a:gd name="T96" fmla="*/ 2147483647 w 283"/>
                <a:gd name="T97" fmla="*/ 2147483647 h 546"/>
                <a:gd name="T98" fmla="*/ 2147483647 w 283"/>
                <a:gd name="T99" fmla="*/ 2147483647 h 546"/>
                <a:gd name="T100" fmla="*/ 2147483647 w 283"/>
                <a:gd name="T101" fmla="*/ 2147483647 h 546"/>
                <a:gd name="T102" fmla="*/ 2147483647 w 283"/>
                <a:gd name="T103" fmla="*/ 2147483647 h 546"/>
                <a:gd name="T104" fmla="*/ 2147483647 w 283"/>
                <a:gd name="T105" fmla="*/ 2147483647 h 546"/>
                <a:gd name="T106" fmla="*/ 2147483647 w 283"/>
                <a:gd name="T107" fmla="*/ 2147483647 h 546"/>
                <a:gd name="T108" fmla="*/ 2147483647 w 283"/>
                <a:gd name="T109" fmla="*/ 2147483647 h 546"/>
                <a:gd name="T110" fmla="*/ 2147483647 w 283"/>
                <a:gd name="T111" fmla="*/ 2147483647 h 546"/>
                <a:gd name="T112" fmla="*/ 2147483647 w 283"/>
                <a:gd name="T113" fmla="*/ 2147483647 h 546"/>
                <a:gd name="T114" fmla="*/ 2147483647 w 283"/>
                <a:gd name="T115" fmla="*/ 2147483647 h 546"/>
                <a:gd name="T116" fmla="*/ 2147483647 w 283"/>
                <a:gd name="T117" fmla="*/ 2147483647 h 546"/>
                <a:gd name="T118" fmla="*/ 2147483647 w 283"/>
                <a:gd name="T119" fmla="*/ 2147483647 h 546"/>
                <a:gd name="T120" fmla="*/ 2147483647 w 283"/>
                <a:gd name="T121" fmla="*/ 2147483647 h 546"/>
                <a:gd name="T122" fmla="*/ 2147483647 w 283"/>
                <a:gd name="T123" fmla="*/ 0 h 54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3"/>
                <a:gd name="T187" fmla="*/ 0 h 546"/>
                <a:gd name="T188" fmla="*/ 283 w 283"/>
                <a:gd name="T189" fmla="*/ 546 h 54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3" h="546">
                  <a:moveTo>
                    <a:pt x="133" y="0"/>
                  </a:moveTo>
                  <a:lnTo>
                    <a:pt x="137" y="0"/>
                  </a:lnTo>
                  <a:lnTo>
                    <a:pt x="146" y="2"/>
                  </a:lnTo>
                  <a:lnTo>
                    <a:pt x="161" y="4"/>
                  </a:lnTo>
                  <a:lnTo>
                    <a:pt x="179" y="9"/>
                  </a:lnTo>
                  <a:lnTo>
                    <a:pt x="200" y="15"/>
                  </a:lnTo>
                  <a:lnTo>
                    <a:pt x="221" y="26"/>
                  </a:lnTo>
                  <a:lnTo>
                    <a:pt x="243" y="40"/>
                  </a:lnTo>
                  <a:lnTo>
                    <a:pt x="262" y="58"/>
                  </a:lnTo>
                  <a:lnTo>
                    <a:pt x="279" y="81"/>
                  </a:lnTo>
                  <a:lnTo>
                    <a:pt x="283" y="92"/>
                  </a:lnTo>
                  <a:lnTo>
                    <a:pt x="283" y="104"/>
                  </a:lnTo>
                  <a:lnTo>
                    <a:pt x="280" y="116"/>
                  </a:lnTo>
                  <a:lnTo>
                    <a:pt x="276" y="127"/>
                  </a:lnTo>
                  <a:lnTo>
                    <a:pt x="270" y="137"/>
                  </a:lnTo>
                  <a:lnTo>
                    <a:pt x="266" y="142"/>
                  </a:lnTo>
                  <a:lnTo>
                    <a:pt x="265" y="145"/>
                  </a:lnTo>
                  <a:lnTo>
                    <a:pt x="264" y="148"/>
                  </a:lnTo>
                  <a:lnTo>
                    <a:pt x="260" y="155"/>
                  </a:lnTo>
                  <a:lnTo>
                    <a:pt x="255" y="165"/>
                  </a:lnTo>
                  <a:lnTo>
                    <a:pt x="250" y="178"/>
                  </a:lnTo>
                  <a:lnTo>
                    <a:pt x="245" y="191"/>
                  </a:lnTo>
                  <a:lnTo>
                    <a:pt x="240" y="204"/>
                  </a:lnTo>
                  <a:lnTo>
                    <a:pt x="239" y="215"/>
                  </a:lnTo>
                  <a:lnTo>
                    <a:pt x="238" y="228"/>
                  </a:lnTo>
                  <a:lnTo>
                    <a:pt x="235" y="242"/>
                  </a:lnTo>
                  <a:lnTo>
                    <a:pt x="230" y="255"/>
                  </a:lnTo>
                  <a:lnTo>
                    <a:pt x="221" y="266"/>
                  </a:lnTo>
                  <a:lnTo>
                    <a:pt x="209" y="273"/>
                  </a:lnTo>
                  <a:lnTo>
                    <a:pt x="201" y="279"/>
                  </a:lnTo>
                  <a:lnTo>
                    <a:pt x="195" y="285"/>
                  </a:lnTo>
                  <a:lnTo>
                    <a:pt x="193" y="295"/>
                  </a:lnTo>
                  <a:lnTo>
                    <a:pt x="193" y="303"/>
                  </a:lnTo>
                  <a:lnTo>
                    <a:pt x="193" y="309"/>
                  </a:lnTo>
                  <a:lnTo>
                    <a:pt x="193" y="311"/>
                  </a:lnTo>
                  <a:lnTo>
                    <a:pt x="191" y="314"/>
                  </a:lnTo>
                  <a:lnTo>
                    <a:pt x="186" y="321"/>
                  </a:lnTo>
                  <a:lnTo>
                    <a:pt x="178" y="329"/>
                  </a:lnTo>
                  <a:lnTo>
                    <a:pt x="168" y="337"/>
                  </a:lnTo>
                  <a:lnTo>
                    <a:pt x="159" y="343"/>
                  </a:lnTo>
                  <a:lnTo>
                    <a:pt x="149" y="343"/>
                  </a:lnTo>
                  <a:lnTo>
                    <a:pt x="142" y="343"/>
                  </a:lnTo>
                  <a:lnTo>
                    <a:pt x="137" y="348"/>
                  </a:lnTo>
                  <a:lnTo>
                    <a:pt x="134" y="358"/>
                  </a:lnTo>
                  <a:lnTo>
                    <a:pt x="131" y="367"/>
                  </a:lnTo>
                  <a:lnTo>
                    <a:pt x="130" y="377"/>
                  </a:lnTo>
                  <a:lnTo>
                    <a:pt x="130" y="384"/>
                  </a:lnTo>
                  <a:lnTo>
                    <a:pt x="129" y="386"/>
                  </a:lnTo>
                  <a:lnTo>
                    <a:pt x="129" y="391"/>
                  </a:lnTo>
                  <a:lnTo>
                    <a:pt x="127" y="401"/>
                  </a:lnTo>
                  <a:lnTo>
                    <a:pt x="125" y="416"/>
                  </a:lnTo>
                  <a:lnTo>
                    <a:pt x="119" y="434"/>
                  </a:lnTo>
                  <a:lnTo>
                    <a:pt x="111" y="453"/>
                  </a:lnTo>
                  <a:lnTo>
                    <a:pt x="99" y="471"/>
                  </a:lnTo>
                  <a:lnTo>
                    <a:pt x="81" y="487"/>
                  </a:lnTo>
                  <a:lnTo>
                    <a:pt x="65" y="498"/>
                  </a:lnTo>
                  <a:lnTo>
                    <a:pt x="52" y="506"/>
                  </a:lnTo>
                  <a:lnTo>
                    <a:pt x="44" y="513"/>
                  </a:lnTo>
                  <a:lnTo>
                    <a:pt x="39" y="516"/>
                  </a:lnTo>
                  <a:lnTo>
                    <a:pt x="36" y="517"/>
                  </a:lnTo>
                  <a:lnTo>
                    <a:pt x="36" y="519"/>
                  </a:lnTo>
                  <a:lnTo>
                    <a:pt x="33" y="520"/>
                  </a:lnTo>
                  <a:lnTo>
                    <a:pt x="30" y="526"/>
                  </a:lnTo>
                  <a:lnTo>
                    <a:pt x="26" y="531"/>
                  </a:lnTo>
                  <a:lnTo>
                    <a:pt x="24" y="538"/>
                  </a:lnTo>
                  <a:lnTo>
                    <a:pt x="24" y="543"/>
                  </a:lnTo>
                  <a:lnTo>
                    <a:pt x="24" y="545"/>
                  </a:lnTo>
                  <a:lnTo>
                    <a:pt x="24" y="546"/>
                  </a:lnTo>
                  <a:lnTo>
                    <a:pt x="21" y="546"/>
                  </a:lnTo>
                  <a:lnTo>
                    <a:pt x="20" y="546"/>
                  </a:lnTo>
                  <a:lnTo>
                    <a:pt x="17" y="545"/>
                  </a:lnTo>
                  <a:lnTo>
                    <a:pt x="13" y="545"/>
                  </a:lnTo>
                  <a:lnTo>
                    <a:pt x="10" y="543"/>
                  </a:lnTo>
                  <a:lnTo>
                    <a:pt x="7" y="542"/>
                  </a:lnTo>
                  <a:lnTo>
                    <a:pt x="6" y="542"/>
                  </a:lnTo>
                  <a:lnTo>
                    <a:pt x="5" y="541"/>
                  </a:lnTo>
                  <a:lnTo>
                    <a:pt x="3" y="541"/>
                  </a:lnTo>
                  <a:lnTo>
                    <a:pt x="2" y="539"/>
                  </a:lnTo>
                  <a:lnTo>
                    <a:pt x="0" y="532"/>
                  </a:lnTo>
                  <a:lnTo>
                    <a:pt x="0" y="524"/>
                  </a:lnTo>
                  <a:lnTo>
                    <a:pt x="2" y="515"/>
                  </a:lnTo>
                  <a:lnTo>
                    <a:pt x="7" y="505"/>
                  </a:lnTo>
                  <a:lnTo>
                    <a:pt x="14" y="496"/>
                  </a:lnTo>
                  <a:lnTo>
                    <a:pt x="20" y="483"/>
                  </a:lnTo>
                  <a:lnTo>
                    <a:pt x="24" y="472"/>
                  </a:lnTo>
                  <a:lnTo>
                    <a:pt x="26" y="461"/>
                  </a:lnTo>
                  <a:lnTo>
                    <a:pt x="29" y="453"/>
                  </a:lnTo>
                  <a:lnTo>
                    <a:pt x="29" y="451"/>
                  </a:lnTo>
                  <a:lnTo>
                    <a:pt x="32" y="448"/>
                  </a:lnTo>
                  <a:lnTo>
                    <a:pt x="37" y="438"/>
                  </a:lnTo>
                  <a:lnTo>
                    <a:pt x="45" y="426"/>
                  </a:lnTo>
                  <a:lnTo>
                    <a:pt x="55" y="408"/>
                  </a:lnTo>
                  <a:lnTo>
                    <a:pt x="67" y="389"/>
                  </a:lnTo>
                  <a:lnTo>
                    <a:pt x="80" y="369"/>
                  </a:lnTo>
                  <a:lnTo>
                    <a:pt x="92" y="348"/>
                  </a:lnTo>
                  <a:lnTo>
                    <a:pt x="104" y="328"/>
                  </a:lnTo>
                  <a:lnTo>
                    <a:pt x="115" y="310"/>
                  </a:lnTo>
                  <a:lnTo>
                    <a:pt x="125" y="295"/>
                  </a:lnTo>
                  <a:lnTo>
                    <a:pt x="130" y="283"/>
                  </a:lnTo>
                  <a:lnTo>
                    <a:pt x="133" y="277"/>
                  </a:lnTo>
                  <a:lnTo>
                    <a:pt x="137" y="266"/>
                  </a:lnTo>
                  <a:lnTo>
                    <a:pt x="142" y="253"/>
                  </a:lnTo>
                  <a:lnTo>
                    <a:pt x="148" y="234"/>
                  </a:lnTo>
                  <a:lnTo>
                    <a:pt x="153" y="212"/>
                  </a:lnTo>
                  <a:lnTo>
                    <a:pt x="157" y="186"/>
                  </a:lnTo>
                  <a:lnTo>
                    <a:pt x="159" y="159"/>
                  </a:lnTo>
                  <a:lnTo>
                    <a:pt x="161" y="152"/>
                  </a:lnTo>
                  <a:lnTo>
                    <a:pt x="165" y="142"/>
                  </a:lnTo>
                  <a:lnTo>
                    <a:pt x="172" y="133"/>
                  </a:lnTo>
                  <a:lnTo>
                    <a:pt x="179" y="123"/>
                  </a:lnTo>
                  <a:lnTo>
                    <a:pt x="183" y="118"/>
                  </a:lnTo>
                  <a:lnTo>
                    <a:pt x="186" y="115"/>
                  </a:lnTo>
                  <a:lnTo>
                    <a:pt x="187" y="112"/>
                  </a:lnTo>
                  <a:lnTo>
                    <a:pt x="190" y="105"/>
                  </a:lnTo>
                  <a:lnTo>
                    <a:pt x="193" y="94"/>
                  </a:lnTo>
                  <a:lnTo>
                    <a:pt x="193" y="82"/>
                  </a:lnTo>
                  <a:lnTo>
                    <a:pt x="189" y="67"/>
                  </a:lnTo>
                  <a:lnTo>
                    <a:pt x="179" y="52"/>
                  </a:lnTo>
                  <a:lnTo>
                    <a:pt x="164" y="36"/>
                  </a:lnTo>
                  <a:lnTo>
                    <a:pt x="152" y="21"/>
                  </a:lnTo>
                  <a:lnTo>
                    <a:pt x="142" y="10"/>
                  </a:lnTo>
                  <a:lnTo>
                    <a:pt x="135" y="3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76" name="Freeform 1410"/>
            <p:cNvSpPr>
              <a:spLocks/>
            </p:cNvSpPr>
            <p:nvPr/>
          </p:nvSpPr>
          <p:spPr bwMode="auto">
            <a:xfrm rot="1114411" flipH="1">
              <a:off x="1405127" y="4322083"/>
              <a:ext cx="423958" cy="491836"/>
            </a:xfrm>
            <a:custGeom>
              <a:avLst/>
              <a:gdLst>
                <a:gd name="T0" fmla="*/ 330333942 w 762"/>
                <a:gd name="T1" fmla="*/ 4416509 h 884"/>
                <a:gd name="T2" fmla="*/ 350648874 w 762"/>
                <a:gd name="T3" fmla="*/ 19431417 h 884"/>
                <a:gd name="T4" fmla="*/ 361247824 w 762"/>
                <a:gd name="T5" fmla="*/ 30030371 h 884"/>
                <a:gd name="T6" fmla="*/ 387745199 w 762"/>
                <a:gd name="T7" fmla="*/ 32680388 h 884"/>
                <a:gd name="T8" fmla="*/ 400110641 w 762"/>
                <a:gd name="T9" fmla="*/ 32680388 h 884"/>
                <a:gd name="T10" fmla="*/ 432790458 w 762"/>
                <a:gd name="T11" fmla="*/ 38862833 h 884"/>
                <a:gd name="T12" fmla="*/ 453988358 w 762"/>
                <a:gd name="T13" fmla="*/ 59177774 h 884"/>
                <a:gd name="T14" fmla="*/ 513166107 w 762"/>
                <a:gd name="T15" fmla="*/ 59177774 h 884"/>
                <a:gd name="T16" fmla="*/ 555561907 w 762"/>
                <a:gd name="T17" fmla="*/ 69776729 h 884"/>
                <a:gd name="T18" fmla="*/ 568810317 w 762"/>
                <a:gd name="T19" fmla="*/ 73309714 h 884"/>
                <a:gd name="T20" fmla="*/ 595307692 w 762"/>
                <a:gd name="T21" fmla="*/ 86558129 h 884"/>
                <a:gd name="T22" fmla="*/ 616505592 w 762"/>
                <a:gd name="T23" fmla="*/ 109522530 h 884"/>
                <a:gd name="T24" fmla="*/ 658901392 w 762"/>
                <a:gd name="T25" fmla="*/ 133370456 h 884"/>
                <a:gd name="T26" fmla="*/ 671266833 w 762"/>
                <a:gd name="T27" fmla="*/ 165167320 h 884"/>
                <a:gd name="T28" fmla="*/ 671266833 w 762"/>
                <a:gd name="T29" fmla="*/ 191664706 h 884"/>
                <a:gd name="T30" fmla="*/ 672150357 w 762"/>
                <a:gd name="T31" fmla="*/ 228761047 h 884"/>
                <a:gd name="T32" fmla="*/ 655368408 w 762"/>
                <a:gd name="T33" fmla="*/ 260557910 h 884"/>
                <a:gd name="T34" fmla="*/ 643002967 w 762"/>
                <a:gd name="T35" fmla="*/ 288821789 h 884"/>
                <a:gd name="T36" fmla="*/ 632404017 w 762"/>
                <a:gd name="T37" fmla="*/ 336517084 h 884"/>
                <a:gd name="T38" fmla="*/ 627988066 w 762"/>
                <a:gd name="T39" fmla="*/ 361247978 h 884"/>
                <a:gd name="T40" fmla="*/ 620038575 w 762"/>
                <a:gd name="T41" fmla="*/ 390394825 h 884"/>
                <a:gd name="T42" fmla="*/ 593541200 w 762"/>
                <a:gd name="T43" fmla="*/ 453105584 h 884"/>
                <a:gd name="T44" fmla="*/ 555561907 w 762"/>
                <a:gd name="T45" fmla="*/ 513166326 h 884"/>
                <a:gd name="T46" fmla="*/ 532597516 w 762"/>
                <a:gd name="T47" fmla="*/ 569694084 h 884"/>
                <a:gd name="T48" fmla="*/ 525531549 w 762"/>
                <a:gd name="T49" fmla="*/ 596191470 h 884"/>
                <a:gd name="T50" fmla="*/ 512282583 w 762"/>
                <a:gd name="T51" fmla="*/ 618272347 h 884"/>
                <a:gd name="T52" fmla="*/ 484018717 w 762"/>
                <a:gd name="T53" fmla="*/ 665084675 h 884"/>
                <a:gd name="T54" fmla="*/ 459287833 w 762"/>
                <a:gd name="T55" fmla="*/ 710129953 h 884"/>
                <a:gd name="T56" fmla="*/ 452221867 w 762"/>
                <a:gd name="T57" fmla="*/ 728678402 h 884"/>
                <a:gd name="T58" fmla="*/ 446039424 w 762"/>
                <a:gd name="T59" fmla="*/ 754292264 h 884"/>
                <a:gd name="T60" fmla="*/ 438973457 w 762"/>
                <a:gd name="T61" fmla="*/ 771074220 h 884"/>
                <a:gd name="T62" fmla="*/ 412476082 w 762"/>
                <a:gd name="T63" fmla="*/ 780789650 h 884"/>
                <a:gd name="T64" fmla="*/ 379795708 w 762"/>
                <a:gd name="T65" fmla="*/ 768424203 h 884"/>
                <a:gd name="T66" fmla="*/ 346232367 w 762"/>
                <a:gd name="T67" fmla="*/ 747226294 h 884"/>
                <a:gd name="T68" fmla="*/ 298537092 w 762"/>
                <a:gd name="T69" fmla="*/ 737510864 h 884"/>
                <a:gd name="T70" fmla="*/ 237593407 w 762"/>
                <a:gd name="T71" fmla="*/ 711896446 h 884"/>
                <a:gd name="T72" fmla="*/ 179299182 w 762"/>
                <a:gd name="T73" fmla="*/ 688049076 h 884"/>
                <a:gd name="T74" fmla="*/ 145735841 w 762"/>
                <a:gd name="T75" fmla="*/ 680983106 h 884"/>
                <a:gd name="T76" fmla="*/ 101573549 w 762"/>
                <a:gd name="T77" fmla="*/ 658901673 h 884"/>
                <a:gd name="T78" fmla="*/ 52111782 w 762"/>
                <a:gd name="T79" fmla="*/ 632404287 h 884"/>
                <a:gd name="T80" fmla="*/ 15015457 w 762"/>
                <a:gd name="T81" fmla="*/ 628871302 h 884"/>
                <a:gd name="T82" fmla="*/ 2650016 w 762"/>
                <a:gd name="T83" fmla="*/ 624455349 h 884"/>
                <a:gd name="T84" fmla="*/ 1766492 w 762"/>
                <a:gd name="T85" fmla="*/ 618272347 h 884"/>
                <a:gd name="T86" fmla="*/ 3532983 w 762"/>
                <a:gd name="T87" fmla="*/ 585592516 h 884"/>
                <a:gd name="T88" fmla="*/ 39746341 w 762"/>
                <a:gd name="T89" fmla="*/ 538780188 h 884"/>
                <a:gd name="T90" fmla="*/ 90091075 w 762"/>
                <a:gd name="T91" fmla="*/ 478719446 h 884"/>
                <a:gd name="T92" fmla="*/ 105989500 w 762"/>
                <a:gd name="T93" fmla="*/ 421308721 h 884"/>
                <a:gd name="T94" fmla="*/ 128953892 w 762"/>
                <a:gd name="T95" fmla="*/ 384212380 h 884"/>
                <a:gd name="T96" fmla="*/ 165167249 w 762"/>
                <a:gd name="T97" fmla="*/ 336517084 h 884"/>
                <a:gd name="T98" fmla="*/ 197847067 w 762"/>
                <a:gd name="T99" fmla="*/ 295004234 h 884"/>
                <a:gd name="T100" fmla="*/ 211979000 w 762"/>
                <a:gd name="T101" fmla="*/ 278222834 h 8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62"/>
                <a:gd name="T154" fmla="*/ 0 h 884"/>
                <a:gd name="T155" fmla="*/ 762 w 762"/>
                <a:gd name="T156" fmla="*/ 884 h 8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62" h="884">
                  <a:moveTo>
                    <a:pt x="364" y="0"/>
                  </a:moveTo>
                  <a:lnTo>
                    <a:pt x="367" y="1"/>
                  </a:lnTo>
                  <a:lnTo>
                    <a:pt x="374" y="5"/>
                  </a:lnTo>
                  <a:lnTo>
                    <a:pt x="382" y="10"/>
                  </a:lnTo>
                  <a:lnTo>
                    <a:pt x="390" y="15"/>
                  </a:lnTo>
                  <a:lnTo>
                    <a:pt x="397" y="22"/>
                  </a:lnTo>
                  <a:lnTo>
                    <a:pt x="398" y="27"/>
                  </a:lnTo>
                  <a:lnTo>
                    <a:pt x="401" y="31"/>
                  </a:lnTo>
                  <a:lnTo>
                    <a:pt x="409" y="34"/>
                  </a:lnTo>
                  <a:lnTo>
                    <a:pt x="420" y="35"/>
                  </a:lnTo>
                  <a:lnTo>
                    <a:pt x="431" y="37"/>
                  </a:lnTo>
                  <a:lnTo>
                    <a:pt x="439" y="37"/>
                  </a:lnTo>
                  <a:lnTo>
                    <a:pt x="442" y="37"/>
                  </a:lnTo>
                  <a:lnTo>
                    <a:pt x="445" y="37"/>
                  </a:lnTo>
                  <a:lnTo>
                    <a:pt x="453" y="37"/>
                  </a:lnTo>
                  <a:lnTo>
                    <a:pt x="464" y="38"/>
                  </a:lnTo>
                  <a:lnTo>
                    <a:pt x="477" y="41"/>
                  </a:lnTo>
                  <a:lnTo>
                    <a:pt x="490" y="44"/>
                  </a:lnTo>
                  <a:lnTo>
                    <a:pt x="502" y="49"/>
                  </a:lnTo>
                  <a:lnTo>
                    <a:pt x="510" y="57"/>
                  </a:lnTo>
                  <a:lnTo>
                    <a:pt x="514" y="67"/>
                  </a:lnTo>
                  <a:lnTo>
                    <a:pt x="537" y="64"/>
                  </a:lnTo>
                  <a:lnTo>
                    <a:pt x="559" y="65"/>
                  </a:lnTo>
                  <a:lnTo>
                    <a:pt x="581" y="67"/>
                  </a:lnTo>
                  <a:lnTo>
                    <a:pt x="600" y="71"/>
                  </a:lnTo>
                  <a:lnTo>
                    <a:pt x="617" y="75"/>
                  </a:lnTo>
                  <a:lnTo>
                    <a:pt x="629" y="79"/>
                  </a:lnTo>
                  <a:lnTo>
                    <a:pt x="637" y="82"/>
                  </a:lnTo>
                  <a:lnTo>
                    <a:pt x="640" y="83"/>
                  </a:lnTo>
                  <a:lnTo>
                    <a:pt x="644" y="83"/>
                  </a:lnTo>
                  <a:lnTo>
                    <a:pt x="651" y="87"/>
                  </a:lnTo>
                  <a:lnTo>
                    <a:pt x="662" y="93"/>
                  </a:lnTo>
                  <a:lnTo>
                    <a:pt x="674" y="98"/>
                  </a:lnTo>
                  <a:lnTo>
                    <a:pt x="685" y="106"/>
                  </a:lnTo>
                  <a:lnTo>
                    <a:pt x="694" y="116"/>
                  </a:lnTo>
                  <a:lnTo>
                    <a:pt x="698" y="124"/>
                  </a:lnTo>
                  <a:lnTo>
                    <a:pt x="719" y="131"/>
                  </a:lnTo>
                  <a:lnTo>
                    <a:pt x="735" y="141"/>
                  </a:lnTo>
                  <a:lnTo>
                    <a:pt x="746" y="151"/>
                  </a:lnTo>
                  <a:lnTo>
                    <a:pt x="753" y="164"/>
                  </a:lnTo>
                  <a:lnTo>
                    <a:pt x="757" y="176"/>
                  </a:lnTo>
                  <a:lnTo>
                    <a:pt x="760" y="187"/>
                  </a:lnTo>
                  <a:lnTo>
                    <a:pt x="758" y="196"/>
                  </a:lnTo>
                  <a:lnTo>
                    <a:pt x="758" y="206"/>
                  </a:lnTo>
                  <a:lnTo>
                    <a:pt x="760" y="217"/>
                  </a:lnTo>
                  <a:lnTo>
                    <a:pt x="761" y="231"/>
                  </a:lnTo>
                  <a:lnTo>
                    <a:pt x="762" y="244"/>
                  </a:lnTo>
                  <a:lnTo>
                    <a:pt x="761" y="259"/>
                  </a:lnTo>
                  <a:lnTo>
                    <a:pt x="758" y="273"/>
                  </a:lnTo>
                  <a:lnTo>
                    <a:pt x="753" y="285"/>
                  </a:lnTo>
                  <a:lnTo>
                    <a:pt x="742" y="295"/>
                  </a:lnTo>
                  <a:lnTo>
                    <a:pt x="738" y="300"/>
                  </a:lnTo>
                  <a:lnTo>
                    <a:pt x="734" y="312"/>
                  </a:lnTo>
                  <a:lnTo>
                    <a:pt x="728" y="327"/>
                  </a:lnTo>
                  <a:lnTo>
                    <a:pt x="724" y="345"/>
                  </a:lnTo>
                  <a:lnTo>
                    <a:pt x="720" y="364"/>
                  </a:lnTo>
                  <a:lnTo>
                    <a:pt x="716" y="381"/>
                  </a:lnTo>
                  <a:lnTo>
                    <a:pt x="713" y="396"/>
                  </a:lnTo>
                  <a:lnTo>
                    <a:pt x="711" y="405"/>
                  </a:lnTo>
                  <a:lnTo>
                    <a:pt x="711" y="409"/>
                  </a:lnTo>
                  <a:lnTo>
                    <a:pt x="709" y="413"/>
                  </a:lnTo>
                  <a:lnTo>
                    <a:pt x="707" y="424"/>
                  </a:lnTo>
                  <a:lnTo>
                    <a:pt x="702" y="442"/>
                  </a:lnTo>
                  <a:lnTo>
                    <a:pt x="696" y="464"/>
                  </a:lnTo>
                  <a:lnTo>
                    <a:pt x="685" y="488"/>
                  </a:lnTo>
                  <a:lnTo>
                    <a:pt x="672" y="513"/>
                  </a:lnTo>
                  <a:lnTo>
                    <a:pt x="656" y="538"/>
                  </a:lnTo>
                  <a:lnTo>
                    <a:pt x="641" y="558"/>
                  </a:lnTo>
                  <a:lnTo>
                    <a:pt x="629" y="581"/>
                  </a:lnTo>
                  <a:lnTo>
                    <a:pt x="618" y="604"/>
                  </a:lnTo>
                  <a:lnTo>
                    <a:pt x="610" y="626"/>
                  </a:lnTo>
                  <a:lnTo>
                    <a:pt x="603" y="645"/>
                  </a:lnTo>
                  <a:lnTo>
                    <a:pt x="597" y="660"/>
                  </a:lnTo>
                  <a:lnTo>
                    <a:pt x="595" y="671"/>
                  </a:lnTo>
                  <a:lnTo>
                    <a:pt x="595" y="675"/>
                  </a:lnTo>
                  <a:lnTo>
                    <a:pt x="592" y="678"/>
                  </a:lnTo>
                  <a:lnTo>
                    <a:pt x="587" y="686"/>
                  </a:lnTo>
                  <a:lnTo>
                    <a:pt x="580" y="700"/>
                  </a:lnTo>
                  <a:lnTo>
                    <a:pt x="570" y="716"/>
                  </a:lnTo>
                  <a:lnTo>
                    <a:pt x="559" y="734"/>
                  </a:lnTo>
                  <a:lnTo>
                    <a:pt x="548" y="753"/>
                  </a:lnTo>
                  <a:lnTo>
                    <a:pt x="537" y="772"/>
                  </a:lnTo>
                  <a:lnTo>
                    <a:pt x="528" y="789"/>
                  </a:lnTo>
                  <a:lnTo>
                    <a:pt x="520" y="804"/>
                  </a:lnTo>
                  <a:lnTo>
                    <a:pt x="514" y="814"/>
                  </a:lnTo>
                  <a:lnTo>
                    <a:pt x="513" y="819"/>
                  </a:lnTo>
                  <a:lnTo>
                    <a:pt x="512" y="825"/>
                  </a:lnTo>
                  <a:lnTo>
                    <a:pt x="510" y="836"/>
                  </a:lnTo>
                  <a:lnTo>
                    <a:pt x="507" y="846"/>
                  </a:lnTo>
                  <a:lnTo>
                    <a:pt x="505" y="854"/>
                  </a:lnTo>
                  <a:lnTo>
                    <a:pt x="505" y="857"/>
                  </a:lnTo>
                  <a:lnTo>
                    <a:pt x="498" y="870"/>
                  </a:lnTo>
                  <a:lnTo>
                    <a:pt x="497" y="873"/>
                  </a:lnTo>
                  <a:lnTo>
                    <a:pt x="490" y="877"/>
                  </a:lnTo>
                  <a:lnTo>
                    <a:pt x="480" y="881"/>
                  </a:lnTo>
                  <a:lnTo>
                    <a:pt x="467" y="884"/>
                  </a:lnTo>
                  <a:lnTo>
                    <a:pt x="453" y="883"/>
                  </a:lnTo>
                  <a:lnTo>
                    <a:pt x="441" y="879"/>
                  </a:lnTo>
                  <a:lnTo>
                    <a:pt x="430" y="870"/>
                  </a:lnTo>
                  <a:lnTo>
                    <a:pt x="419" y="861"/>
                  </a:lnTo>
                  <a:lnTo>
                    <a:pt x="407" y="853"/>
                  </a:lnTo>
                  <a:lnTo>
                    <a:pt x="392" y="846"/>
                  </a:lnTo>
                  <a:lnTo>
                    <a:pt x="372" y="843"/>
                  </a:lnTo>
                  <a:lnTo>
                    <a:pt x="357" y="840"/>
                  </a:lnTo>
                  <a:lnTo>
                    <a:pt x="338" y="835"/>
                  </a:lnTo>
                  <a:lnTo>
                    <a:pt x="317" y="827"/>
                  </a:lnTo>
                  <a:lnTo>
                    <a:pt x="293" y="817"/>
                  </a:lnTo>
                  <a:lnTo>
                    <a:pt x="269" y="806"/>
                  </a:lnTo>
                  <a:lnTo>
                    <a:pt x="246" y="797"/>
                  </a:lnTo>
                  <a:lnTo>
                    <a:pt x="222" y="787"/>
                  </a:lnTo>
                  <a:lnTo>
                    <a:pt x="203" y="779"/>
                  </a:lnTo>
                  <a:lnTo>
                    <a:pt x="187" y="775"/>
                  </a:lnTo>
                  <a:lnTo>
                    <a:pt x="176" y="774"/>
                  </a:lnTo>
                  <a:lnTo>
                    <a:pt x="165" y="771"/>
                  </a:lnTo>
                  <a:lnTo>
                    <a:pt x="150" y="765"/>
                  </a:lnTo>
                  <a:lnTo>
                    <a:pt x="132" y="756"/>
                  </a:lnTo>
                  <a:lnTo>
                    <a:pt x="115" y="746"/>
                  </a:lnTo>
                  <a:lnTo>
                    <a:pt x="96" y="735"/>
                  </a:lnTo>
                  <a:lnTo>
                    <a:pt x="77" y="724"/>
                  </a:lnTo>
                  <a:lnTo>
                    <a:pt x="59" y="716"/>
                  </a:lnTo>
                  <a:lnTo>
                    <a:pt x="42" y="712"/>
                  </a:lnTo>
                  <a:lnTo>
                    <a:pt x="30" y="711"/>
                  </a:lnTo>
                  <a:lnTo>
                    <a:pt x="17" y="712"/>
                  </a:lnTo>
                  <a:lnTo>
                    <a:pt x="8" y="712"/>
                  </a:lnTo>
                  <a:lnTo>
                    <a:pt x="4" y="709"/>
                  </a:lnTo>
                  <a:lnTo>
                    <a:pt x="3" y="707"/>
                  </a:lnTo>
                  <a:lnTo>
                    <a:pt x="2" y="704"/>
                  </a:lnTo>
                  <a:lnTo>
                    <a:pt x="3" y="703"/>
                  </a:lnTo>
                  <a:lnTo>
                    <a:pt x="2" y="700"/>
                  </a:lnTo>
                  <a:lnTo>
                    <a:pt x="0" y="692"/>
                  </a:lnTo>
                  <a:lnTo>
                    <a:pt x="0" y="678"/>
                  </a:lnTo>
                  <a:lnTo>
                    <a:pt x="4" y="663"/>
                  </a:lnTo>
                  <a:lnTo>
                    <a:pt x="12" y="647"/>
                  </a:lnTo>
                  <a:lnTo>
                    <a:pt x="26" y="629"/>
                  </a:lnTo>
                  <a:lnTo>
                    <a:pt x="45" y="610"/>
                  </a:lnTo>
                  <a:lnTo>
                    <a:pt x="66" y="589"/>
                  </a:lnTo>
                  <a:lnTo>
                    <a:pt x="86" y="566"/>
                  </a:lnTo>
                  <a:lnTo>
                    <a:pt x="102" y="542"/>
                  </a:lnTo>
                  <a:lnTo>
                    <a:pt x="113" y="514"/>
                  </a:lnTo>
                  <a:lnTo>
                    <a:pt x="119" y="487"/>
                  </a:lnTo>
                  <a:lnTo>
                    <a:pt x="120" y="477"/>
                  </a:lnTo>
                  <a:lnTo>
                    <a:pt x="126" y="467"/>
                  </a:lnTo>
                  <a:lnTo>
                    <a:pt x="135" y="452"/>
                  </a:lnTo>
                  <a:lnTo>
                    <a:pt x="146" y="435"/>
                  </a:lnTo>
                  <a:lnTo>
                    <a:pt x="158" y="417"/>
                  </a:lnTo>
                  <a:lnTo>
                    <a:pt x="172" y="398"/>
                  </a:lnTo>
                  <a:lnTo>
                    <a:pt x="187" y="381"/>
                  </a:lnTo>
                  <a:lnTo>
                    <a:pt x="201" y="363"/>
                  </a:lnTo>
                  <a:lnTo>
                    <a:pt x="213" y="348"/>
                  </a:lnTo>
                  <a:lnTo>
                    <a:pt x="224" y="334"/>
                  </a:lnTo>
                  <a:lnTo>
                    <a:pt x="232" y="323"/>
                  </a:lnTo>
                  <a:lnTo>
                    <a:pt x="239" y="317"/>
                  </a:lnTo>
                  <a:lnTo>
                    <a:pt x="240" y="315"/>
                  </a:lnTo>
                  <a:lnTo>
                    <a:pt x="304" y="187"/>
                  </a:lnTo>
                  <a:lnTo>
                    <a:pt x="364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77" name="Freeform 1566"/>
            <p:cNvSpPr>
              <a:spLocks/>
            </p:cNvSpPr>
            <p:nvPr/>
          </p:nvSpPr>
          <p:spPr bwMode="auto">
            <a:xfrm rot="1114411" flipH="1">
              <a:off x="1367253" y="4363757"/>
              <a:ext cx="144101" cy="273737"/>
            </a:xfrm>
            <a:custGeom>
              <a:avLst/>
              <a:gdLst>
                <a:gd name="T0" fmla="*/ 2147483647 w 259"/>
                <a:gd name="T1" fmla="*/ 2147483647 h 492"/>
                <a:gd name="T2" fmla="*/ 2147483647 w 259"/>
                <a:gd name="T3" fmla="*/ 2147483647 h 492"/>
                <a:gd name="T4" fmla="*/ 2147483647 w 259"/>
                <a:gd name="T5" fmla="*/ 2147483647 h 492"/>
                <a:gd name="T6" fmla="*/ 2147483647 w 259"/>
                <a:gd name="T7" fmla="*/ 2147483647 h 492"/>
                <a:gd name="T8" fmla="*/ 2147483647 w 259"/>
                <a:gd name="T9" fmla="*/ 2147483647 h 492"/>
                <a:gd name="T10" fmla="*/ 2147483647 w 259"/>
                <a:gd name="T11" fmla="*/ 2147483647 h 492"/>
                <a:gd name="T12" fmla="*/ 2147483647 w 259"/>
                <a:gd name="T13" fmla="*/ 2147483647 h 492"/>
                <a:gd name="T14" fmla="*/ 2147483647 w 259"/>
                <a:gd name="T15" fmla="*/ 2147483647 h 492"/>
                <a:gd name="T16" fmla="*/ 2147483647 w 259"/>
                <a:gd name="T17" fmla="*/ 2147483647 h 492"/>
                <a:gd name="T18" fmla="*/ 2147483647 w 259"/>
                <a:gd name="T19" fmla="*/ 2147483647 h 492"/>
                <a:gd name="T20" fmla="*/ 2147483647 w 259"/>
                <a:gd name="T21" fmla="*/ 2147483647 h 492"/>
                <a:gd name="T22" fmla="*/ 2147483647 w 259"/>
                <a:gd name="T23" fmla="*/ 2147483647 h 492"/>
                <a:gd name="T24" fmla="*/ 2147483647 w 259"/>
                <a:gd name="T25" fmla="*/ 2147483647 h 492"/>
                <a:gd name="T26" fmla="*/ 2147483647 w 259"/>
                <a:gd name="T27" fmla="*/ 2147483647 h 492"/>
                <a:gd name="T28" fmla="*/ 2147483647 w 259"/>
                <a:gd name="T29" fmla="*/ 2147483647 h 492"/>
                <a:gd name="T30" fmla="*/ 2147483647 w 259"/>
                <a:gd name="T31" fmla="*/ 2147483647 h 492"/>
                <a:gd name="T32" fmla="*/ 2147483647 w 259"/>
                <a:gd name="T33" fmla="*/ 2147483647 h 492"/>
                <a:gd name="T34" fmla="*/ 2147483647 w 259"/>
                <a:gd name="T35" fmla="*/ 2147483647 h 492"/>
                <a:gd name="T36" fmla="*/ 2147483647 w 259"/>
                <a:gd name="T37" fmla="*/ 2147483647 h 492"/>
                <a:gd name="T38" fmla="*/ 2147483647 w 259"/>
                <a:gd name="T39" fmla="*/ 2147483647 h 492"/>
                <a:gd name="T40" fmla="*/ 2147483647 w 259"/>
                <a:gd name="T41" fmla="*/ 2147483647 h 492"/>
                <a:gd name="T42" fmla="*/ 2147483647 w 259"/>
                <a:gd name="T43" fmla="*/ 2147483647 h 492"/>
                <a:gd name="T44" fmla="*/ 2147483647 w 259"/>
                <a:gd name="T45" fmla="*/ 2147483647 h 492"/>
                <a:gd name="T46" fmla="*/ 2147483647 w 259"/>
                <a:gd name="T47" fmla="*/ 2147483647 h 492"/>
                <a:gd name="T48" fmla="*/ 2147483647 w 259"/>
                <a:gd name="T49" fmla="*/ 2147483647 h 492"/>
                <a:gd name="T50" fmla="*/ 2147483647 w 259"/>
                <a:gd name="T51" fmla="*/ 2147483647 h 492"/>
                <a:gd name="T52" fmla="*/ 2147483647 w 259"/>
                <a:gd name="T53" fmla="*/ 2147483647 h 492"/>
                <a:gd name="T54" fmla="*/ 2147483647 w 259"/>
                <a:gd name="T55" fmla="*/ 2147483647 h 492"/>
                <a:gd name="T56" fmla="*/ 2147483647 w 259"/>
                <a:gd name="T57" fmla="*/ 2147483647 h 492"/>
                <a:gd name="T58" fmla="*/ 2147483647 w 259"/>
                <a:gd name="T59" fmla="*/ 2147483647 h 492"/>
                <a:gd name="T60" fmla="*/ 2147483647 w 259"/>
                <a:gd name="T61" fmla="*/ 2147483647 h 492"/>
                <a:gd name="T62" fmla="*/ 2147483647 w 259"/>
                <a:gd name="T63" fmla="*/ 2147483647 h 492"/>
                <a:gd name="T64" fmla="*/ 2147483647 w 259"/>
                <a:gd name="T65" fmla="*/ 2147483647 h 492"/>
                <a:gd name="T66" fmla="*/ 2147483647 w 259"/>
                <a:gd name="T67" fmla="*/ 2147483647 h 492"/>
                <a:gd name="T68" fmla="*/ 2147483647 w 259"/>
                <a:gd name="T69" fmla="*/ 2147483647 h 492"/>
                <a:gd name="T70" fmla="*/ 2147483647 w 259"/>
                <a:gd name="T71" fmla="*/ 2147483647 h 492"/>
                <a:gd name="T72" fmla="*/ 2147483647 w 259"/>
                <a:gd name="T73" fmla="*/ 2147483647 h 492"/>
                <a:gd name="T74" fmla="*/ 2147483647 w 259"/>
                <a:gd name="T75" fmla="*/ 2147483647 h 492"/>
                <a:gd name="T76" fmla="*/ 0 w 259"/>
                <a:gd name="T77" fmla="*/ 2147483647 h 492"/>
                <a:gd name="T78" fmla="*/ 2147483647 w 259"/>
                <a:gd name="T79" fmla="*/ 2147483647 h 492"/>
                <a:gd name="T80" fmla="*/ 2147483647 w 259"/>
                <a:gd name="T81" fmla="*/ 2147483647 h 492"/>
                <a:gd name="T82" fmla="*/ 2147483647 w 259"/>
                <a:gd name="T83" fmla="*/ 2147483647 h 492"/>
                <a:gd name="T84" fmla="*/ 2147483647 w 259"/>
                <a:gd name="T85" fmla="*/ 2147483647 h 492"/>
                <a:gd name="T86" fmla="*/ 2147483647 w 259"/>
                <a:gd name="T87" fmla="*/ 2147483647 h 492"/>
                <a:gd name="T88" fmla="*/ 2147483647 w 259"/>
                <a:gd name="T89" fmla="*/ 2147483647 h 492"/>
                <a:gd name="T90" fmla="*/ 2147483647 w 259"/>
                <a:gd name="T91" fmla="*/ 2147483647 h 492"/>
                <a:gd name="T92" fmla="*/ 2147483647 w 259"/>
                <a:gd name="T93" fmla="*/ 2147483647 h 492"/>
                <a:gd name="T94" fmla="*/ 2147483647 w 259"/>
                <a:gd name="T95" fmla="*/ 2147483647 h 492"/>
                <a:gd name="T96" fmla="*/ 2147483647 w 259"/>
                <a:gd name="T97" fmla="*/ 2147483647 h 492"/>
                <a:gd name="T98" fmla="*/ 2147483647 w 259"/>
                <a:gd name="T99" fmla="*/ 2147483647 h 492"/>
                <a:gd name="T100" fmla="*/ 2147483647 w 259"/>
                <a:gd name="T101" fmla="*/ 2147483647 h 492"/>
                <a:gd name="T102" fmla="*/ 2147483647 w 259"/>
                <a:gd name="T103" fmla="*/ 2147483647 h 492"/>
                <a:gd name="T104" fmla="*/ 2147483647 w 259"/>
                <a:gd name="T105" fmla="*/ 2147483647 h 492"/>
                <a:gd name="T106" fmla="*/ 2147483647 w 259"/>
                <a:gd name="T107" fmla="*/ 2147483647 h 492"/>
                <a:gd name="T108" fmla="*/ 2147483647 w 259"/>
                <a:gd name="T109" fmla="*/ 2147483647 h 492"/>
                <a:gd name="T110" fmla="*/ 2147483647 w 259"/>
                <a:gd name="T111" fmla="*/ 2147483647 h 492"/>
                <a:gd name="T112" fmla="*/ 2147483647 w 259"/>
                <a:gd name="T113" fmla="*/ 0 h 49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59"/>
                <a:gd name="T172" fmla="*/ 0 h 492"/>
                <a:gd name="T173" fmla="*/ 259 w 259"/>
                <a:gd name="T174" fmla="*/ 492 h 49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59" h="492">
                  <a:moveTo>
                    <a:pt x="194" y="0"/>
                  </a:moveTo>
                  <a:lnTo>
                    <a:pt x="212" y="1"/>
                  </a:lnTo>
                  <a:lnTo>
                    <a:pt x="229" y="7"/>
                  </a:lnTo>
                  <a:lnTo>
                    <a:pt x="246" y="16"/>
                  </a:lnTo>
                  <a:lnTo>
                    <a:pt x="255" y="28"/>
                  </a:lnTo>
                  <a:lnTo>
                    <a:pt x="259" y="41"/>
                  </a:lnTo>
                  <a:lnTo>
                    <a:pt x="257" y="53"/>
                  </a:lnTo>
                  <a:lnTo>
                    <a:pt x="251" y="63"/>
                  </a:lnTo>
                  <a:lnTo>
                    <a:pt x="243" y="69"/>
                  </a:lnTo>
                  <a:lnTo>
                    <a:pt x="235" y="72"/>
                  </a:lnTo>
                  <a:lnTo>
                    <a:pt x="227" y="73"/>
                  </a:lnTo>
                  <a:lnTo>
                    <a:pt x="216" y="76"/>
                  </a:lnTo>
                  <a:lnTo>
                    <a:pt x="204" y="82"/>
                  </a:lnTo>
                  <a:lnTo>
                    <a:pt x="194" y="87"/>
                  </a:lnTo>
                  <a:lnTo>
                    <a:pt x="187" y="94"/>
                  </a:lnTo>
                  <a:lnTo>
                    <a:pt x="186" y="99"/>
                  </a:lnTo>
                  <a:lnTo>
                    <a:pt x="190" y="103"/>
                  </a:lnTo>
                  <a:lnTo>
                    <a:pt x="198" y="103"/>
                  </a:lnTo>
                  <a:lnTo>
                    <a:pt x="206" y="101"/>
                  </a:lnTo>
                  <a:lnTo>
                    <a:pt x="216" y="98"/>
                  </a:lnTo>
                  <a:lnTo>
                    <a:pt x="223" y="95"/>
                  </a:lnTo>
                  <a:lnTo>
                    <a:pt x="225" y="94"/>
                  </a:lnTo>
                  <a:lnTo>
                    <a:pt x="227" y="94"/>
                  </a:lnTo>
                  <a:lnTo>
                    <a:pt x="228" y="94"/>
                  </a:lnTo>
                  <a:lnTo>
                    <a:pt x="231" y="95"/>
                  </a:lnTo>
                  <a:lnTo>
                    <a:pt x="234" y="98"/>
                  </a:lnTo>
                  <a:lnTo>
                    <a:pt x="232" y="103"/>
                  </a:lnTo>
                  <a:lnTo>
                    <a:pt x="229" y="110"/>
                  </a:lnTo>
                  <a:lnTo>
                    <a:pt x="221" y="121"/>
                  </a:lnTo>
                  <a:lnTo>
                    <a:pt x="214" y="135"/>
                  </a:lnTo>
                  <a:lnTo>
                    <a:pt x="212" y="149"/>
                  </a:lnTo>
                  <a:lnTo>
                    <a:pt x="212" y="162"/>
                  </a:lnTo>
                  <a:lnTo>
                    <a:pt x="214" y="173"/>
                  </a:lnTo>
                  <a:lnTo>
                    <a:pt x="219" y="183"/>
                  </a:lnTo>
                  <a:lnTo>
                    <a:pt x="221" y="189"/>
                  </a:lnTo>
                  <a:lnTo>
                    <a:pt x="223" y="192"/>
                  </a:lnTo>
                  <a:lnTo>
                    <a:pt x="224" y="194"/>
                  </a:lnTo>
                  <a:lnTo>
                    <a:pt x="224" y="200"/>
                  </a:lnTo>
                  <a:lnTo>
                    <a:pt x="221" y="207"/>
                  </a:lnTo>
                  <a:lnTo>
                    <a:pt x="216" y="217"/>
                  </a:lnTo>
                  <a:lnTo>
                    <a:pt x="204" y="226"/>
                  </a:lnTo>
                  <a:lnTo>
                    <a:pt x="193" y="233"/>
                  </a:lnTo>
                  <a:lnTo>
                    <a:pt x="187" y="243"/>
                  </a:lnTo>
                  <a:lnTo>
                    <a:pt x="184" y="251"/>
                  </a:lnTo>
                  <a:lnTo>
                    <a:pt x="184" y="259"/>
                  </a:lnTo>
                  <a:lnTo>
                    <a:pt x="184" y="264"/>
                  </a:lnTo>
                  <a:lnTo>
                    <a:pt x="186" y="266"/>
                  </a:lnTo>
                  <a:lnTo>
                    <a:pt x="184" y="269"/>
                  </a:lnTo>
                  <a:lnTo>
                    <a:pt x="180" y="274"/>
                  </a:lnTo>
                  <a:lnTo>
                    <a:pt x="175" y="281"/>
                  </a:lnTo>
                  <a:lnTo>
                    <a:pt x="168" y="289"/>
                  </a:lnTo>
                  <a:lnTo>
                    <a:pt x="160" y="296"/>
                  </a:lnTo>
                  <a:lnTo>
                    <a:pt x="152" y="300"/>
                  </a:lnTo>
                  <a:lnTo>
                    <a:pt x="139" y="305"/>
                  </a:lnTo>
                  <a:lnTo>
                    <a:pt x="133" y="315"/>
                  </a:lnTo>
                  <a:lnTo>
                    <a:pt x="129" y="327"/>
                  </a:lnTo>
                  <a:lnTo>
                    <a:pt x="130" y="338"/>
                  </a:lnTo>
                  <a:lnTo>
                    <a:pt x="131" y="346"/>
                  </a:lnTo>
                  <a:lnTo>
                    <a:pt x="130" y="356"/>
                  </a:lnTo>
                  <a:lnTo>
                    <a:pt x="129" y="368"/>
                  </a:lnTo>
                  <a:lnTo>
                    <a:pt x="123" y="379"/>
                  </a:lnTo>
                  <a:lnTo>
                    <a:pt x="114" y="389"/>
                  </a:lnTo>
                  <a:lnTo>
                    <a:pt x="101" y="395"/>
                  </a:lnTo>
                  <a:lnTo>
                    <a:pt x="89" y="404"/>
                  </a:lnTo>
                  <a:lnTo>
                    <a:pt x="81" y="415"/>
                  </a:lnTo>
                  <a:lnTo>
                    <a:pt x="77" y="425"/>
                  </a:lnTo>
                  <a:lnTo>
                    <a:pt x="74" y="435"/>
                  </a:lnTo>
                  <a:lnTo>
                    <a:pt x="73" y="443"/>
                  </a:lnTo>
                  <a:lnTo>
                    <a:pt x="73" y="446"/>
                  </a:lnTo>
                  <a:lnTo>
                    <a:pt x="73" y="447"/>
                  </a:lnTo>
                  <a:lnTo>
                    <a:pt x="71" y="453"/>
                  </a:lnTo>
                  <a:lnTo>
                    <a:pt x="67" y="461"/>
                  </a:lnTo>
                  <a:lnTo>
                    <a:pt x="62" y="469"/>
                  </a:lnTo>
                  <a:lnTo>
                    <a:pt x="52" y="477"/>
                  </a:lnTo>
                  <a:lnTo>
                    <a:pt x="40" y="484"/>
                  </a:lnTo>
                  <a:lnTo>
                    <a:pt x="22" y="490"/>
                  </a:lnTo>
                  <a:lnTo>
                    <a:pt x="2" y="492"/>
                  </a:lnTo>
                  <a:lnTo>
                    <a:pt x="0" y="488"/>
                  </a:lnTo>
                  <a:lnTo>
                    <a:pt x="3" y="480"/>
                  </a:lnTo>
                  <a:lnTo>
                    <a:pt x="7" y="465"/>
                  </a:lnTo>
                  <a:lnTo>
                    <a:pt x="14" y="449"/>
                  </a:lnTo>
                  <a:lnTo>
                    <a:pt x="22" y="430"/>
                  </a:lnTo>
                  <a:lnTo>
                    <a:pt x="33" y="409"/>
                  </a:lnTo>
                  <a:lnTo>
                    <a:pt x="43" y="389"/>
                  </a:lnTo>
                  <a:lnTo>
                    <a:pt x="54" y="370"/>
                  </a:lnTo>
                  <a:lnTo>
                    <a:pt x="63" y="355"/>
                  </a:lnTo>
                  <a:lnTo>
                    <a:pt x="71" y="341"/>
                  </a:lnTo>
                  <a:lnTo>
                    <a:pt x="81" y="326"/>
                  </a:lnTo>
                  <a:lnTo>
                    <a:pt x="90" y="309"/>
                  </a:lnTo>
                  <a:lnTo>
                    <a:pt x="99" y="292"/>
                  </a:lnTo>
                  <a:lnTo>
                    <a:pt x="105" y="277"/>
                  </a:lnTo>
                  <a:lnTo>
                    <a:pt x="109" y="262"/>
                  </a:lnTo>
                  <a:lnTo>
                    <a:pt x="111" y="252"/>
                  </a:lnTo>
                  <a:lnTo>
                    <a:pt x="112" y="237"/>
                  </a:lnTo>
                  <a:lnTo>
                    <a:pt x="116" y="219"/>
                  </a:lnTo>
                  <a:lnTo>
                    <a:pt x="122" y="199"/>
                  </a:lnTo>
                  <a:lnTo>
                    <a:pt x="127" y="179"/>
                  </a:lnTo>
                  <a:lnTo>
                    <a:pt x="134" y="158"/>
                  </a:lnTo>
                  <a:lnTo>
                    <a:pt x="139" y="140"/>
                  </a:lnTo>
                  <a:lnTo>
                    <a:pt x="145" y="125"/>
                  </a:lnTo>
                  <a:lnTo>
                    <a:pt x="148" y="116"/>
                  </a:lnTo>
                  <a:lnTo>
                    <a:pt x="149" y="112"/>
                  </a:lnTo>
                  <a:lnTo>
                    <a:pt x="152" y="109"/>
                  </a:lnTo>
                  <a:lnTo>
                    <a:pt x="157" y="102"/>
                  </a:lnTo>
                  <a:lnTo>
                    <a:pt x="163" y="91"/>
                  </a:lnTo>
                  <a:lnTo>
                    <a:pt x="167" y="79"/>
                  </a:lnTo>
                  <a:lnTo>
                    <a:pt x="167" y="64"/>
                  </a:lnTo>
                  <a:lnTo>
                    <a:pt x="165" y="48"/>
                  </a:lnTo>
                  <a:lnTo>
                    <a:pt x="165" y="31"/>
                  </a:lnTo>
                  <a:lnTo>
                    <a:pt x="165" y="16"/>
                  </a:lnTo>
                  <a:lnTo>
                    <a:pt x="165" y="5"/>
                  </a:lnTo>
                  <a:lnTo>
                    <a:pt x="165" y="1"/>
                  </a:lnTo>
                  <a:lnTo>
                    <a:pt x="169" y="1"/>
                  </a:lnTo>
                  <a:lnTo>
                    <a:pt x="179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78" name="Freeform 1567"/>
            <p:cNvSpPr>
              <a:spLocks/>
            </p:cNvSpPr>
            <p:nvPr/>
          </p:nvSpPr>
          <p:spPr bwMode="auto">
            <a:xfrm rot="1114411" flipH="1">
              <a:off x="1134366" y="4341187"/>
              <a:ext cx="398921" cy="464574"/>
            </a:xfrm>
            <a:custGeom>
              <a:avLst/>
              <a:gdLst>
                <a:gd name="T0" fmla="*/ 356831218 w 717"/>
                <a:gd name="T1" fmla="*/ 2650019 h 835"/>
                <a:gd name="T2" fmla="*/ 407176495 w 717"/>
                <a:gd name="T3" fmla="*/ 22964421 h 835"/>
                <a:gd name="T4" fmla="*/ 454871757 w 717"/>
                <a:gd name="T5" fmla="*/ 31796891 h 835"/>
                <a:gd name="T6" fmla="*/ 517581915 w 717"/>
                <a:gd name="T7" fmla="*/ 42395855 h 835"/>
                <a:gd name="T8" fmla="*/ 555561754 w 717"/>
                <a:gd name="T9" fmla="*/ 62710813 h 835"/>
                <a:gd name="T10" fmla="*/ 598840510 w 717"/>
                <a:gd name="T11" fmla="*/ 45928843 h 835"/>
                <a:gd name="T12" fmla="*/ 625337877 w 717"/>
                <a:gd name="T13" fmla="*/ 59177826 h 835"/>
                <a:gd name="T14" fmla="*/ 633287366 w 717"/>
                <a:gd name="T15" fmla="*/ 85675235 h 835"/>
                <a:gd name="T16" fmla="*/ 628870860 w 717"/>
                <a:gd name="T17" fmla="*/ 120121589 h 835"/>
                <a:gd name="T18" fmla="*/ 622688419 w 717"/>
                <a:gd name="T19" fmla="*/ 216395787 h 835"/>
                <a:gd name="T20" fmla="*/ 603257016 w 717"/>
                <a:gd name="T21" fmla="*/ 315319449 h 835"/>
                <a:gd name="T22" fmla="*/ 576759648 w 717"/>
                <a:gd name="T23" fmla="*/ 372730224 h 835"/>
                <a:gd name="T24" fmla="*/ 563510686 w 717"/>
                <a:gd name="T25" fmla="*/ 390395163 h 835"/>
                <a:gd name="T26" fmla="*/ 552911739 w 717"/>
                <a:gd name="T27" fmla="*/ 412476616 h 835"/>
                <a:gd name="T28" fmla="*/ 529947354 w 717"/>
                <a:gd name="T29" fmla="*/ 459288428 h 835"/>
                <a:gd name="T30" fmla="*/ 506982968 w 717"/>
                <a:gd name="T31" fmla="*/ 507867289 h 835"/>
                <a:gd name="T32" fmla="*/ 496384021 w 717"/>
                <a:gd name="T33" fmla="*/ 532598205 h 835"/>
                <a:gd name="T34" fmla="*/ 485785074 w 717"/>
                <a:gd name="T35" fmla="*/ 558212089 h 835"/>
                <a:gd name="T36" fmla="*/ 459287706 w 717"/>
                <a:gd name="T37" fmla="*/ 612090433 h 835"/>
                <a:gd name="T38" fmla="*/ 428374389 w 717"/>
                <a:gd name="T39" fmla="*/ 671267702 h 835"/>
                <a:gd name="T40" fmla="*/ 407176495 w 717"/>
                <a:gd name="T41" fmla="*/ 716313576 h 835"/>
                <a:gd name="T42" fmla="*/ 383328586 w 717"/>
                <a:gd name="T43" fmla="*/ 735745009 h 835"/>
                <a:gd name="T44" fmla="*/ 379795603 w 717"/>
                <a:gd name="T45" fmla="*/ 737511503 h 835"/>
                <a:gd name="T46" fmla="*/ 360364200 w 717"/>
                <a:gd name="T47" fmla="*/ 716313576 h 835"/>
                <a:gd name="T48" fmla="*/ 327684392 w 717"/>
                <a:gd name="T49" fmla="*/ 696882142 h 835"/>
                <a:gd name="T50" fmla="*/ 295887551 w 717"/>
                <a:gd name="T51" fmla="*/ 690699135 h 835"/>
                <a:gd name="T52" fmla="*/ 281755621 w 717"/>
                <a:gd name="T53" fmla="*/ 684516685 h 835"/>
                <a:gd name="T54" fmla="*/ 234943327 w 717"/>
                <a:gd name="T55" fmla="*/ 666851745 h 835"/>
                <a:gd name="T56" fmla="*/ 176649118 w 717"/>
                <a:gd name="T57" fmla="*/ 650069774 h 835"/>
                <a:gd name="T58" fmla="*/ 123654382 w 717"/>
                <a:gd name="T59" fmla="*/ 620039377 h 835"/>
                <a:gd name="T60" fmla="*/ 57411241 w 717"/>
                <a:gd name="T61" fmla="*/ 591775474 h 835"/>
                <a:gd name="T62" fmla="*/ 8832456 w 717"/>
                <a:gd name="T63" fmla="*/ 582060035 h 835"/>
                <a:gd name="T64" fmla="*/ 0 w 717"/>
                <a:gd name="T65" fmla="*/ 580293541 h 835"/>
                <a:gd name="T66" fmla="*/ 6182997 w 717"/>
                <a:gd name="T67" fmla="*/ 558212089 h 835"/>
                <a:gd name="T68" fmla="*/ 83025085 w 717"/>
                <a:gd name="T69" fmla="*/ 416009604 h 835"/>
                <a:gd name="T70" fmla="*/ 97157015 w 717"/>
                <a:gd name="T71" fmla="*/ 393045183 h 835"/>
                <a:gd name="T72" fmla="*/ 128953856 w 717"/>
                <a:gd name="T73" fmla="*/ 337400345 h 835"/>
                <a:gd name="T74" fmla="*/ 166050171 w 717"/>
                <a:gd name="T75" fmla="*/ 269390606 h 835"/>
                <a:gd name="T76" fmla="*/ 195197553 w 717"/>
                <a:gd name="T77" fmla="*/ 208446286 h 835"/>
                <a:gd name="T78" fmla="*/ 203146486 w 717"/>
                <a:gd name="T79" fmla="*/ 167816925 h 835"/>
                <a:gd name="T80" fmla="*/ 221694921 w 717"/>
                <a:gd name="T81" fmla="*/ 105106668 h 835"/>
                <a:gd name="T82" fmla="*/ 251725271 w 717"/>
                <a:gd name="T83" fmla="*/ 37979898 h 835"/>
                <a:gd name="T84" fmla="*/ 287055095 w 717"/>
                <a:gd name="T85" fmla="*/ 1766494 h 835"/>
                <a:gd name="T86" fmla="*/ 309135956 w 717"/>
                <a:gd name="T87" fmla="*/ 1766494 h 83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7"/>
                <a:gd name="T133" fmla="*/ 0 h 835"/>
                <a:gd name="T134" fmla="*/ 717 w 717"/>
                <a:gd name="T135" fmla="*/ 835 h 83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7" h="835">
                  <a:moveTo>
                    <a:pt x="365" y="0"/>
                  </a:moveTo>
                  <a:lnTo>
                    <a:pt x="383" y="2"/>
                  </a:lnTo>
                  <a:lnTo>
                    <a:pt x="404" y="3"/>
                  </a:lnTo>
                  <a:lnTo>
                    <a:pt x="424" y="7"/>
                  </a:lnTo>
                  <a:lnTo>
                    <a:pt x="445" y="15"/>
                  </a:lnTo>
                  <a:lnTo>
                    <a:pt x="461" y="26"/>
                  </a:lnTo>
                  <a:lnTo>
                    <a:pt x="475" y="41"/>
                  </a:lnTo>
                  <a:lnTo>
                    <a:pt x="494" y="37"/>
                  </a:lnTo>
                  <a:lnTo>
                    <a:pt x="515" y="36"/>
                  </a:lnTo>
                  <a:lnTo>
                    <a:pt x="539" y="39"/>
                  </a:lnTo>
                  <a:lnTo>
                    <a:pt x="563" y="43"/>
                  </a:lnTo>
                  <a:lnTo>
                    <a:pt x="586" y="48"/>
                  </a:lnTo>
                  <a:lnTo>
                    <a:pt x="605" y="55"/>
                  </a:lnTo>
                  <a:lnTo>
                    <a:pt x="620" y="63"/>
                  </a:lnTo>
                  <a:lnTo>
                    <a:pt x="629" y="71"/>
                  </a:lnTo>
                  <a:lnTo>
                    <a:pt x="645" y="59"/>
                  </a:lnTo>
                  <a:lnTo>
                    <a:pt x="661" y="52"/>
                  </a:lnTo>
                  <a:lnTo>
                    <a:pt x="678" y="52"/>
                  </a:lnTo>
                  <a:lnTo>
                    <a:pt x="691" y="55"/>
                  </a:lnTo>
                  <a:lnTo>
                    <a:pt x="702" y="60"/>
                  </a:lnTo>
                  <a:lnTo>
                    <a:pt x="708" y="67"/>
                  </a:lnTo>
                  <a:lnTo>
                    <a:pt x="712" y="74"/>
                  </a:lnTo>
                  <a:lnTo>
                    <a:pt x="715" y="85"/>
                  </a:lnTo>
                  <a:lnTo>
                    <a:pt x="717" y="97"/>
                  </a:lnTo>
                  <a:lnTo>
                    <a:pt x="717" y="111"/>
                  </a:lnTo>
                  <a:lnTo>
                    <a:pt x="717" y="125"/>
                  </a:lnTo>
                  <a:lnTo>
                    <a:pt x="712" y="136"/>
                  </a:lnTo>
                  <a:lnTo>
                    <a:pt x="704" y="145"/>
                  </a:lnTo>
                  <a:lnTo>
                    <a:pt x="706" y="198"/>
                  </a:lnTo>
                  <a:lnTo>
                    <a:pt x="705" y="245"/>
                  </a:lnTo>
                  <a:lnTo>
                    <a:pt x="700" y="287"/>
                  </a:lnTo>
                  <a:lnTo>
                    <a:pt x="693" y="325"/>
                  </a:lnTo>
                  <a:lnTo>
                    <a:pt x="683" y="357"/>
                  </a:lnTo>
                  <a:lnTo>
                    <a:pt x="672" y="382"/>
                  </a:lnTo>
                  <a:lnTo>
                    <a:pt x="663" y="404"/>
                  </a:lnTo>
                  <a:lnTo>
                    <a:pt x="653" y="422"/>
                  </a:lnTo>
                  <a:lnTo>
                    <a:pt x="645" y="433"/>
                  </a:lnTo>
                  <a:lnTo>
                    <a:pt x="641" y="441"/>
                  </a:lnTo>
                  <a:lnTo>
                    <a:pt x="638" y="442"/>
                  </a:lnTo>
                  <a:lnTo>
                    <a:pt x="637" y="447"/>
                  </a:lnTo>
                  <a:lnTo>
                    <a:pt x="633" y="455"/>
                  </a:lnTo>
                  <a:lnTo>
                    <a:pt x="626" y="467"/>
                  </a:lnTo>
                  <a:lnTo>
                    <a:pt x="619" y="482"/>
                  </a:lnTo>
                  <a:lnTo>
                    <a:pt x="610" y="501"/>
                  </a:lnTo>
                  <a:lnTo>
                    <a:pt x="600" y="520"/>
                  </a:lnTo>
                  <a:lnTo>
                    <a:pt x="590" y="539"/>
                  </a:lnTo>
                  <a:lnTo>
                    <a:pt x="582" y="558"/>
                  </a:lnTo>
                  <a:lnTo>
                    <a:pt x="574" y="575"/>
                  </a:lnTo>
                  <a:lnTo>
                    <a:pt x="567" y="588"/>
                  </a:lnTo>
                  <a:lnTo>
                    <a:pt x="563" y="598"/>
                  </a:lnTo>
                  <a:lnTo>
                    <a:pt x="562" y="603"/>
                  </a:lnTo>
                  <a:lnTo>
                    <a:pt x="560" y="608"/>
                  </a:lnTo>
                  <a:lnTo>
                    <a:pt x="556" y="617"/>
                  </a:lnTo>
                  <a:lnTo>
                    <a:pt x="550" y="632"/>
                  </a:lnTo>
                  <a:lnTo>
                    <a:pt x="541" y="650"/>
                  </a:lnTo>
                  <a:lnTo>
                    <a:pt x="530" y="670"/>
                  </a:lnTo>
                  <a:lnTo>
                    <a:pt x="520" y="693"/>
                  </a:lnTo>
                  <a:lnTo>
                    <a:pt x="509" y="717"/>
                  </a:lnTo>
                  <a:lnTo>
                    <a:pt x="496" y="739"/>
                  </a:lnTo>
                  <a:lnTo>
                    <a:pt x="485" y="760"/>
                  </a:lnTo>
                  <a:lnTo>
                    <a:pt x="476" y="781"/>
                  </a:lnTo>
                  <a:lnTo>
                    <a:pt x="468" y="799"/>
                  </a:lnTo>
                  <a:lnTo>
                    <a:pt x="461" y="811"/>
                  </a:lnTo>
                  <a:lnTo>
                    <a:pt x="455" y="820"/>
                  </a:lnTo>
                  <a:lnTo>
                    <a:pt x="454" y="823"/>
                  </a:lnTo>
                  <a:lnTo>
                    <a:pt x="434" y="833"/>
                  </a:lnTo>
                  <a:lnTo>
                    <a:pt x="434" y="834"/>
                  </a:lnTo>
                  <a:lnTo>
                    <a:pt x="432" y="835"/>
                  </a:lnTo>
                  <a:lnTo>
                    <a:pt x="430" y="835"/>
                  </a:lnTo>
                  <a:lnTo>
                    <a:pt x="424" y="833"/>
                  </a:lnTo>
                  <a:lnTo>
                    <a:pt x="417" y="824"/>
                  </a:lnTo>
                  <a:lnTo>
                    <a:pt x="408" y="811"/>
                  </a:lnTo>
                  <a:lnTo>
                    <a:pt x="400" y="801"/>
                  </a:lnTo>
                  <a:lnTo>
                    <a:pt x="386" y="794"/>
                  </a:lnTo>
                  <a:lnTo>
                    <a:pt x="371" y="789"/>
                  </a:lnTo>
                  <a:lnTo>
                    <a:pt x="357" y="785"/>
                  </a:lnTo>
                  <a:lnTo>
                    <a:pt x="344" y="782"/>
                  </a:lnTo>
                  <a:lnTo>
                    <a:pt x="335" y="782"/>
                  </a:lnTo>
                  <a:lnTo>
                    <a:pt x="331" y="781"/>
                  </a:lnTo>
                  <a:lnTo>
                    <a:pt x="329" y="779"/>
                  </a:lnTo>
                  <a:lnTo>
                    <a:pt x="319" y="775"/>
                  </a:lnTo>
                  <a:lnTo>
                    <a:pt x="304" y="770"/>
                  </a:lnTo>
                  <a:lnTo>
                    <a:pt x="286" y="763"/>
                  </a:lnTo>
                  <a:lnTo>
                    <a:pt x="266" y="755"/>
                  </a:lnTo>
                  <a:lnTo>
                    <a:pt x="244" y="747"/>
                  </a:lnTo>
                  <a:lnTo>
                    <a:pt x="222" y="741"/>
                  </a:lnTo>
                  <a:lnTo>
                    <a:pt x="200" y="736"/>
                  </a:lnTo>
                  <a:lnTo>
                    <a:pt x="183" y="733"/>
                  </a:lnTo>
                  <a:lnTo>
                    <a:pt x="164" y="717"/>
                  </a:lnTo>
                  <a:lnTo>
                    <a:pt x="140" y="702"/>
                  </a:lnTo>
                  <a:lnTo>
                    <a:pt x="116" y="689"/>
                  </a:lnTo>
                  <a:lnTo>
                    <a:pt x="90" y="678"/>
                  </a:lnTo>
                  <a:lnTo>
                    <a:pt x="65" y="670"/>
                  </a:lnTo>
                  <a:lnTo>
                    <a:pt x="42" y="665"/>
                  </a:lnTo>
                  <a:lnTo>
                    <a:pt x="23" y="661"/>
                  </a:lnTo>
                  <a:lnTo>
                    <a:pt x="10" y="659"/>
                  </a:lnTo>
                  <a:lnTo>
                    <a:pt x="3" y="661"/>
                  </a:lnTo>
                  <a:lnTo>
                    <a:pt x="0" y="661"/>
                  </a:lnTo>
                  <a:lnTo>
                    <a:pt x="0" y="657"/>
                  </a:lnTo>
                  <a:lnTo>
                    <a:pt x="1" y="650"/>
                  </a:lnTo>
                  <a:lnTo>
                    <a:pt x="4" y="640"/>
                  </a:lnTo>
                  <a:lnTo>
                    <a:pt x="7" y="632"/>
                  </a:lnTo>
                  <a:lnTo>
                    <a:pt x="10" y="625"/>
                  </a:lnTo>
                  <a:lnTo>
                    <a:pt x="11" y="623"/>
                  </a:lnTo>
                  <a:lnTo>
                    <a:pt x="94" y="471"/>
                  </a:lnTo>
                  <a:lnTo>
                    <a:pt x="97" y="468"/>
                  </a:lnTo>
                  <a:lnTo>
                    <a:pt x="102" y="459"/>
                  </a:lnTo>
                  <a:lnTo>
                    <a:pt x="110" y="445"/>
                  </a:lnTo>
                  <a:lnTo>
                    <a:pt x="120" y="427"/>
                  </a:lnTo>
                  <a:lnTo>
                    <a:pt x="132" y="406"/>
                  </a:lnTo>
                  <a:lnTo>
                    <a:pt x="146" y="382"/>
                  </a:lnTo>
                  <a:lnTo>
                    <a:pt x="161" y="357"/>
                  </a:lnTo>
                  <a:lnTo>
                    <a:pt x="175" y="331"/>
                  </a:lnTo>
                  <a:lnTo>
                    <a:pt x="188" y="305"/>
                  </a:lnTo>
                  <a:lnTo>
                    <a:pt x="200" y="280"/>
                  </a:lnTo>
                  <a:lnTo>
                    <a:pt x="211" y="257"/>
                  </a:lnTo>
                  <a:lnTo>
                    <a:pt x="221" y="236"/>
                  </a:lnTo>
                  <a:lnTo>
                    <a:pt x="226" y="220"/>
                  </a:lnTo>
                  <a:lnTo>
                    <a:pt x="228" y="206"/>
                  </a:lnTo>
                  <a:lnTo>
                    <a:pt x="230" y="190"/>
                  </a:lnTo>
                  <a:lnTo>
                    <a:pt x="235" y="170"/>
                  </a:lnTo>
                  <a:lnTo>
                    <a:pt x="241" y="145"/>
                  </a:lnTo>
                  <a:lnTo>
                    <a:pt x="251" y="119"/>
                  </a:lnTo>
                  <a:lnTo>
                    <a:pt x="260" y="92"/>
                  </a:lnTo>
                  <a:lnTo>
                    <a:pt x="273" y="66"/>
                  </a:lnTo>
                  <a:lnTo>
                    <a:pt x="285" y="43"/>
                  </a:lnTo>
                  <a:lnTo>
                    <a:pt x="297" y="24"/>
                  </a:lnTo>
                  <a:lnTo>
                    <a:pt x="311" y="9"/>
                  </a:lnTo>
                  <a:lnTo>
                    <a:pt x="325" y="2"/>
                  </a:lnTo>
                  <a:lnTo>
                    <a:pt x="337" y="3"/>
                  </a:lnTo>
                  <a:lnTo>
                    <a:pt x="340" y="2"/>
                  </a:lnTo>
                  <a:lnTo>
                    <a:pt x="350" y="2"/>
                  </a:lnTo>
                  <a:lnTo>
                    <a:pt x="365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79" name="Freeform 1701"/>
            <p:cNvSpPr>
              <a:spLocks/>
            </p:cNvSpPr>
            <p:nvPr/>
          </p:nvSpPr>
          <p:spPr bwMode="auto">
            <a:xfrm rot="1114411" flipH="1">
              <a:off x="1113877" y="4323985"/>
              <a:ext cx="130192" cy="300999"/>
            </a:xfrm>
            <a:custGeom>
              <a:avLst/>
              <a:gdLst>
                <a:gd name="T0" fmla="*/ 2147483647 w 234"/>
                <a:gd name="T1" fmla="*/ 2147483647 h 541"/>
                <a:gd name="T2" fmla="*/ 2147483647 w 234"/>
                <a:gd name="T3" fmla="*/ 2147483647 h 541"/>
                <a:gd name="T4" fmla="*/ 2147483647 w 234"/>
                <a:gd name="T5" fmla="*/ 2147483647 h 541"/>
                <a:gd name="T6" fmla="*/ 2147483647 w 234"/>
                <a:gd name="T7" fmla="*/ 2147483647 h 541"/>
                <a:gd name="T8" fmla="*/ 2147483647 w 234"/>
                <a:gd name="T9" fmla="*/ 2147483647 h 541"/>
                <a:gd name="T10" fmla="*/ 2147483647 w 234"/>
                <a:gd name="T11" fmla="*/ 2147483647 h 541"/>
                <a:gd name="T12" fmla="*/ 2147483647 w 234"/>
                <a:gd name="T13" fmla="*/ 2147483647 h 541"/>
                <a:gd name="T14" fmla="*/ 2147483647 w 234"/>
                <a:gd name="T15" fmla="*/ 2147483647 h 541"/>
                <a:gd name="T16" fmla="*/ 2147483647 w 234"/>
                <a:gd name="T17" fmla="*/ 2147483647 h 541"/>
                <a:gd name="T18" fmla="*/ 2147483647 w 234"/>
                <a:gd name="T19" fmla="*/ 2147483647 h 541"/>
                <a:gd name="T20" fmla="*/ 2147483647 w 234"/>
                <a:gd name="T21" fmla="*/ 2147483647 h 541"/>
                <a:gd name="T22" fmla="*/ 2147483647 w 234"/>
                <a:gd name="T23" fmla="*/ 2147483647 h 541"/>
                <a:gd name="T24" fmla="*/ 2147483647 w 234"/>
                <a:gd name="T25" fmla="*/ 2147483647 h 541"/>
                <a:gd name="T26" fmla="*/ 2147483647 w 234"/>
                <a:gd name="T27" fmla="*/ 2147483647 h 541"/>
                <a:gd name="T28" fmla="*/ 2147483647 w 234"/>
                <a:gd name="T29" fmla="*/ 2147483647 h 541"/>
                <a:gd name="T30" fmla="*/ 2147483647 w 234"/>
                <a:gd name="T31" fmla="*/ 2147483647 h 541"/>
                <a:gd name="T32" fmla="*/ 2147483647 w 234"/>
                <a:gd name="T33" fmla="*/ 2147483647 h 541"/>
                <a:gd name="T34" fmla="*/ 2147483647 w 234"/>
                <a:gd name="T35" fmla="*/ 2147483647 h 541"/>
                <a:gd name="T36" fmla="*/ 2147483647 w 234"/>
                <a:gd name="T37" fmla="*/ 2147483647 h 541"/>
                <a:gd name="T38" fmla="*/ 2147483647 w 234"/>
                <a:gd name="T39" fmla="*/ 2147483647 h 541"/>
                <a:gd name="T40" fmla="*/ 2147483647 w 234"/>
                <a:gd name="T41" fmla="*/ 2147483647 h 541"/>
                <a:gd name="T42" fmla="*/ 2147483647 w 234"/>
                <a:gd name="T43" fmla="*/ 2147483647 h 541"/>
                <a:gd name="T44" fmla="*/ 2147483647 w 234"/>
                <a:gd name="T45" fmla="*/ 2147483647 h 541"/>
                <a:gd name="T46" fmla="*/ 2147483647 w 234"/>
                <a:gd name="T47" fmla="*/ 2147483647 h 541"/>
                <a:gd name="T48" fmla="*/ 2147483647 w 234"/>
                <a:gd name="T49" fmla="*/ 2147483647 h 541"/>
                <a:gd name="T50" fmla="*/ 2147483647 w 234"/>
                <a:gd name="T51" fmla="*/ 2147483647 h 541"/>
                <a:gd name="T52" fmla="*/ 2147483647 w 234"/>
                <a:gd name="T53" fmla="*/ 2147483647 h 541"/>
                <a:gd name="T54" fmla="*/ 2147483647 w 234"/>
                <a:gd name="T55" fmla="*/ 2147483647 h 541"/>
                <a:gd name="T56" fmla="*/ 2147483647 w 234"/>
                <a:gd name="T57" fmla="*/ 2147483647 h 541"/>
                <a:gd name="T58" fmla="*/ 2147483647 w 234"/>
                <a:gd name="T59" fmla="*/ 2147483647 h 541"/>
                <a:gd name="T60" fmla="*/ 0 w 234"/>
                <a:gd name="T61" fmla="*/ 2147483647 h 541"/>
                <a:gd name="T62" fmla="*/ 2147483647 w 234"/>
                <a:gd name="T63" fmla="*/ 2147483647 h 541"/>
                <a:gd name="T64" fmla="*/ 2147483647 w 234"/>
                <a:gd name="T65" fmla="*/ 2147483647 h 541"/>
                <a:gd name="T66" fmla="*/ 2147483647 w 234"/>
                <a:gd name="T67" fmla="*/ 2147483647 h 541"/>
                <a:gd name="T68" fmla="*/ 2147483647 w 234"/>
                <a:gd name="T69" fmla="*/ 2147483647 h 541"/>
                <a:gd name="T70" fmla="*/ 2147483647 w 234"/>
                <a:gd name="T71" fmla="*/ 2147483647 h 541"/>
                <a:gd name="T72" fmla="*/ 2147483647 w 234"/>
                <a:gd name="T73" fmla="*/ 2147483647 h 541"/>
                <a:gd name="T74" fmla="*/ 2147483647 w 234"/>
                <a:gd name="T75" fmla="*/ 2147483647 h 541"/>
                <a:gd name="T76" fmla="*/ 2147483647 w 234"/>
                <a:gd name="T77" fmla="*/ 2147483647 h 541"/>
                <a:gd name="T78" fmla="*/ 2147483647 w 234"/>
                <a:gd name="T79" fmla="*/ 2147483647 h 541"/>
                <a:gd name="T80" fmla="*/ 2147483647 w 234"/>
                <a:gd name="T81" fmla="*/ 0 h 54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34"/>
                <a:gd name="T124" fmla="*/ 0 h 541"/>
                <a:gd name="T125" fmla="*/ 234 w 234"/>
                <a:gd name="T126" fmla="*/ 541 h 54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34" h="541">
                  <a:moveTo>
                    <a:pt x="146" y="0"/>
                  </a:moveTo>
                  <a:lnTo>
                    <a:pt x="148" y="2"/>
                  </a:lnTo>
                  <a:lnTo>
                    <a:pt x="157" y="6"/>
                  </a:lnTo>
                  <a:lnTo>
                    <a:pt x="168" y="14"/>
                  </a:lnTo>
                  <a:lnTo>
                    <a:pt x="180" y="23"/>
                  </a:lnTo>
                  <a:lnTo>
                    <a:pt x="193" y="36"/>
                  </a:lnTo>
                  <a:lnTo>
                    <a:pt x="207" y="51"/>
                  </a:lnTo>
                  <a:lnTo>
                    <a:pt x="219" y="66"/>
                  </a:lnTo>
                  <a:lnTo>
                    <a:pt x="229" y="84"/>
                  </a:lnTo>
                  <a:lnTo>
                    <a:pt x="234" y="101"/>
                  </a:lnTo>
                  <a:lnTo>
                    <a:pt x="228" y="104"/>
                  </a:lnTo>
                  <a:lnTo>
                    <a:pt x="223" y="112"/>
                  </a:lnTo>
                  <a:lnTo>
                    <a:pt x="221" y="120"/>
                  </a:lnTo>
                  <a:lnTo>
                    <a:pt x="221" y="130"/>
                  </a:lnTo>
                  <a:lnTo>
                    <a:pt x="221" y="137"/>
                  </a:lnTo>
                  <a:lnTo>
                    <a:pt x="221" y="139"/>
                  </a:lnTo>
                  <a:lnTo>
                    <a:pt x="199" y="232"/>
                  </a:lnTo>
                  <a:lnTo>
                    <a:pt x="199" y="235"/>
                  </a:lnTo>
                  <a:lnTo>
                    <a:pt x="199" y="243"/>
                  </a:lnTo>
                  <a:lnTo>
                    <a:pt x="200" y="254"/>
                  </a:lnTo>
                  <a:lnTo>
                    <a:pt x="200" y="265"/>
                  </a:lnTo>
                  <a:lnTo>
                    <a:pt x="199" y="277"/>
                  </a:lnTo>
                  <a:lnTo>
                    <a:pt x="198" y="287"/>
                  </a:lnTo>
                  <a:lnTo>
                    <a:pt x="193" y="292"/>
                  </a:lnTo>
                  <a:lnTo>
                    <a:pt x="188" y="292"/>
                  </a:lnTo>
                  <a:lnTo>
                    <a:pt x="181" y="291"/>
                  </a:lnTo>
                  <a:lnTo>
                    <a:pt x="177" y="295"/>
                  </a:lnTo>
                  <a:lnTo>
                    <a:pt x="173" y="303"/>
                  </a:lnTo>
                  <a:lnTo>
                    <a:pt x="172" y="313"/>
                  </a:lnTo>
                  <a:lnTo>
                    <a:pt x="170" y="322"/>
                  </a:lnTo>
                  <a:lnTo>
                    <a:pt x="170" y="329"/>
                  </a:lnTo>
                  <a:lnTo>
                    <a:pt x="170" y="332"/>
                  </a:lnTo>
                  <a:lnTo>
                    <a:pt x="169" y="335"/>
                  </a:lnTo>
                  <a:lnTo>
                    <a:pt x="166" y="340"/>
                  </a:lnTo>
                  <a:lnTo>
                    <a:pt x="161" y="345"/>
                  </a:lnTo>
                  <a:lnTo>
                    <a:pt x="154" y="351"/>
                  </a:lnTo>
                  <a:lnTo>
                    <a:pt x="144" y="352"/>
                  </a:lnTo>
                  <a:lnTo>
                    <a:pt x="136" y="354"/>
                  </a:lnTo>
                  <a:lnTo>
                    <a:pt x="132" y="359"/>
                  </a:lnTo>
                  <a:lnTo>
                    <a:pt x="128" y="367"/>
                  </a:lnTo>
                  <a:lnTo>
                    <a:pt x="127" y="375"/>
                  </a:lnTo>
                  <a:lnTo>
                    <a:pt x="127" y="381"/>
                  </a:lnTo>
                  <a:lnTo>
                    <a:pt x="127" y="384"/>
                  </a:lnTo>
                  <a:lnTo>
                    <a:pt x="125" y="386"/>
                  </a:lnTo>
                  <a:lnTo>
                    <a:pt x="120" y="395"/>
                  </a:lnTo>
                  <a:lnTo>
                    <a:pt x="114" y="405"/>
                  </a:lnTo>
                  <a:lnTo>
                    <a:pt x="106" y="419"/>
                  </a:lnTo>
                  <a:lnTo>
                    <a:pt x="99" y="433"/>
                  </a:lnTo>
                  <a:lnTo>
                    <a:pt x="93" y="448"/>
                  </a:lnTo>
                  <a:lnTo>
                    <a:pt x="88" y="461"/>
                  </a:lnTo>
                  <a:lnTo>
                    <a:pt x="82" y="478"/>
                  </a:lnTo>
                  <a:lnTo>
                    <a:pt x="73" y="490"/>
                  </a:lnTo>
                  <a:lnTo>
                    <a:pt x="64" y="501"/>
                  </a:lnTo>
                  <a:lnTo>
                    <a:pt x="57" y="512"/>
                  </a:lnTo>
                  <a:lnTo>
                    <a:pt x="52" y="526"/>
                  </a:lnTo>
                  <a:lnTo>
                    <a:pt x="48" y="535"/>
                  </a:lnTo>
                  <a:lnTo>
                    <a:pt x="41" y="539"/>
                  </a:lnTo>
                  <a:lnTo>
                    <a:pt x="30" y="541"/>
                  </a:lnTo>
                  <a:lnTo>
                    <a:pt x="19" y="541"/>
                  </a:lnTo>
                  <a:lnTo>
                    <a:pt x="9" y="539"/>
                  </a:lnTo>
                  <a:lnTo>
                    <a:pt x="3" y="536"/>
                  </a:lnTo>
                  <a:lnTo>
                    <a:pt x="0" y="536"/>
                  </a:lnTo>
                  <a:lnTo>
                    <a:pt x="76" y="375"/>
                  </a:lnTo>
                  <a:lnTo>
                    <a:pt x="79" y="373"/>
                  </a:lnTo>
                  <a:lnTo>
                    <a:pt x="84" y="366"/>
                  </a:lnTo>
                  <a:lnTo>
                    <a:pt x="93" y="352"/>
                  </a:lnTo>
                  <a:lnTo>
                    <a:pt x="102" y="335"/>
                  </a:lnTo>
                  <a:lnTo>
                    <a:pt x="112" y="313"/>
                  </a:lnTo>
                  <a:lnTo>
                    <a:pt x="123" y="284"/>
                  </a:lnTo>
                  <a:lnTo>
                    <a:pt x="132" y="253"/>
                  </a:lnTo>
                  <a:lnTo>
                    <a:pt x="140" y="216"/>
                  </a:lnTo>
                  <a:lnTo>
                    <a:pt x="144" y="174"/>
                  </a:lnTo>
                  <a:lnTo>
                    <a:pt x="146" y="129"/>
                  </a:lnTo>
                  <a:lnTo>
                    <a:pt x="142" y="78"/>
                  </a:lnTo>
                  <a:lnTo>
                    <a:pt x="151" y="69"/>
                  </a:lnTo>
                  <a:lnTo>
                    <a:pt x="155" y="58"/>
                  </a:lnTo>
                  <a:lnTo>
                    <a:pt x="155" y="44"/>
                  </a:lnTo>
                  <a:lnTo>
                    <a:pt x="155" y="32"/>
                  </a:lnTo>
                  <a:lnTo>
                    <a:pt x="153" y="19"/>
                  </a:lnTo>
                  <a:lnTo>
                    <a:pt x="150" y="8"/>
                  </a:lnTo>
                  <a:lnTo>
                    <a:pt x="147" y="2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80" name="Freeform 1702"/>
            <p:cNvSpPr>
              <a:spLocks/>
            </p:cNvSpPr>
            <p:nvPr/>
          </p:nvSpPr>
          <p:spPr bwMode="auto">
            <a:xfrm rot="1114411" flipH="1">
              <a:off x="884622" y="4350291"/>
              <a:ext cx="381117" cy="455672"/>
            </a:xfrm>
            <a:custGeom>
              <a:avLst/>
              <a:gdLst>
                <a:gd name="T0" fmla="*/ 298537014 w 685"/>
                <a:gd name="T1" fmla="*/ 1766494 h 819"/>
                <a:gd name="T2" fmla="*/ 318851941 w 685"/>
                <a:gd name="T3" fmla="*/ 6183007 h 819"/>
                <a:gd name="T4" fmla="*/ 353298241 w 685"/>
                <a:gd name="T5" fmla="*/ 15898446 h 819"/>
                <a:gd name="T6" fmla="*/ 389511589 w 685"/>
                <a:gd name="T7" fmla="*/ 28263904 h 819"/>
                <a:gd name="T8" fmla="*/ 416891924 w 685"/>
                <a:gd name="T9" fmla="*/ 39746394 h 819"/>
                <a:gd name="T10" fmla="*/ 439856310 w 685"/>
                <a:gd name="T11" fmla="*/ 45928844 h 819"/>
                <a:gd name="T12" fmla="*/ 474303167 w 685"/>
                <a:gd name="T13" fmla="*/ 55644840 h 819"/>
                <a:gd name="T14" fmla="*/ 502567026 w 685"/>
                <a:gd name="T15" fmla="*/ 69776792 h 819"/>
                <a:gd name="T16" fmla="*/ 514048940 w 685"/>
                <a:gd name="T17" fmla="*/ 82142250 h 819"/>
                <a:gd name="T18" fmla="*/ 536130359 w 685"/>
                <a:gd name="T19" fmla="*/ 98923665 h 819"/>
                <a:gd name="T20" fmla="*/ 563510694 w 685"/>
                <a:gd name="T21" fmla="*/ 119238624 h 819"/>
                <a:gd name="T22" fmla="*/ 582942097 w 685"/>
                <a:gd name="T23" fmla="*/ 136020039 h 819"/>
                <a:gd name="T24" fmla="*/ 593541045 w 685"/>
                <a:gd name="T25" fmla="*/ 144852509 h 819"/>
                <a:gd name="T26" fmla="*/ 601490533 w 685"/>
                <a:gd name="T27" fmla="*/ 155451474 h 819"/>
                <a:gd name="T28" fmla="*/ 601490533 w 685"/>
                <a:gd name="T29" fmla="*/ 167816932 h 819"/>
                <a:gd name="T30" fmla="*/ 598840518 w 685"/>
                <a:gd name="T31" fmla="*/ 173999939 h 819"/>
                <a:gd name="T32" fmla="*/ 601490533 w 685"/>
                <a:gd name="T33" fmla="*/ 187248366 h 819"/>
                <a:gd name="T34" fmla="*/ 605023516 w 685"/>
                <a:gd name="T35" fmla="*/ 219045258 h 819"/>
                <a:gd name="T36" fmla="*/ 601490533 w 685"/>
                <a:gd name="T37" fmla="*/ 257908126 h 819"/>
                <a:gd name="T38" fmla="*/ 582942097 w 685"/>
                <a:gd name="T39" fmla="*/ 291471513 h 819"/>
                <a:gd name="T40" fmla="*/ 570576659 w 685"/>
                <a:gd name="T41" fmla="*/ 355948823 h 819"/>
                <a:gd name="T42" fmla="*/ 552911747 w 685"/>
                <a:gd name="T43" fmla="*/ 406293624 h 819"/>
                <a:gd name="T44" fmla="*/ 535246835 w 685"/>
                <a:gd name="T45" fmla="*/ 440740535 h 819"/>
                <a:gd name="T46" fmla="*/ 522881396 w 685"/>
                <a:gd name="T47" fmla="*/ 453988962 h 819"/>
                <a:gd name="T48" fmla="*/ 515815432 w 685"/>
                <a:gd name="T49" fmla="*/ 469004440 h 819"/>
                <a:gd name="T50" fmla="*/ 502567026 w 685"/>
                <a:gd name="T51" fmla="*/ 501684301 h 819"/>
                <a:gd name="T52" fmla="*/ 485785081 w 685"/>
                <a:gd name="T53" fmla="*/ 544963682 h 819"/>
                <a:gd name="T54" fmla="*/ 466353678 w 685"/>
                <a:gd name="T55" fmla="*/ 589126033 h 819"/>
                <a:gd name="T56" fmla="*/ 447805798 w 685"/>
                <a:gd name="T57" fmla="*/ 627988901 h 819"/>
                <a:gd name="T58" fmla="*/ 431023854 w 685"/>
                <a:gd name="T59" fmla="*/ 650953323 h 819"/>
                <a:gd name="T60" fmla="*/ 421308430 w 685"/>
                <a:gd name="T61" fmla="*/ 672151252 h 819"/>
                <a:gd name="T62" fmla="*/ 421308430 w 685"/>
                <a:gd name="T63" fmla="*/ 700415156 h 819"/>
                <a:gd name="T64" fmla="*/ 423957889 w 685"/>
                <a:gd name="T65" fmla="*/ 720729559 h 819"/>
                <a:gd name="T66" fmla="*/ 421308430 w 685"/>
                <a:gd name="T67" fmla="*/ 723379578 h 819"/>
                <a:gd name="T68" fmla="*/ 406292977 w 685"/>
                <a:gd name="T69" fmla="*/ 719846590 h 819"/>
                <a:gd name="T70" fmla="*/ 396577554 w 685"/>
                <a:gd name="T71" fmla="*/ 720729559 h 819"/>
                <a:gd name="T72" fmla="*/ 385095083 w 685"/>
                <a:gd name="T73" fmla="*/ 721613084 h 819"/>
                <a:gd name="T74" fmla="*/ 370963153 w 685"/>
                <a:gd name="T75" fmla="*/ 713663583 h 819"/>
                <a:gd name="T76" fmla="*/ 353298241 w 685"/>
                <a:gd name="T77" fmla="*/ 697765137 h 819"/>
                <a:gd name="T78" fmla="*/ 326800873 w 685"/>
                <a:gd name="T79" fmla="*/ 689816192 h 819"/>
                <a:gd name="T80" fmla="*/ 300303505 w 685"/>
                <a:gd name="T81" fmla="*/ 683633185 h 819"/>
                <a:gd name="T82" fmla="*/ 287938066 w 685"/>
                <a:gd name="T83" fmla="*/ 680983722 h 819"/>
                <a:gd name="T84" fmla="*/ 278222643 w 685"/>
                <a:gd name="T85" fmla="*/ 675684240 h 819"/>
                <a:gd name="T86" fmla="*/ 254374733 w 685"/>
                <a:gd name="T87" fmla="*/ 665085276 h 819"/>
                <a:gd name="T88" fmla="*/ 219044909 w 685"/>
                <a:gd name="T89" fmla="*/ 650953323 h 819"/>
                <a:gd name="T90" fmla="*/ 179299135 w 685"/>
                <a:gd name="T91" fmla="*/ 638587865 h 819"/>
                <a:gd name="T92" fmla="*/ 139552805 w 685"/>
                <a:gd name="T93" fmla="*/ 622689419 h 819"/>
                <a:gd name="T94" fmla="*/ 93624034 w 685"/>
                <a:gd name="T95" fmla="*/ 605024479 h 819"/>
                <a:gd name="T96" fmla="*/ 48578786 w 685"/>
                <a:gd name="T97" fmla="*/ 591775496 h 819"/>
                <a:gd name="T98" fmla="*/ 14131930 w 685"/>
                <a:gd name="T99" fmla="*/ 584709520 h 819"/>
                <a:gd name="T100" fmla="*/ 0 w 685"/>
                <a:gd name="T101" fmla="*/ 582060057 h 819"/>
                <a:gd name="T102" fmla="*/ 249075260 w 685"/>
                <a:gd name="T103" fmla="*/ 112172648 h 81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85"/>
                <a:gd name="T157" fmla="*/ 0 h 819"/>
                <a:gd name="T158" fmla="*/ 685 w 685"/>
                <a:gd name="T159" fmla="*/ 819 h 81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85" h="819">
                  <a:moveTo>
                    <a:pt x="334" y="0"/>
                  </a:moveTo>
                  <a:lnTo>
                    <a:pt x="338" y="2"/>
                  </a:lnTo>
                  <a:lnTo>
                    <a:pt x="348" y="4"/>
                  </a:lnTo>
                  <a:lnTo>
                    <a:pt x="361" y="7"/>
                  </a:lnTo>
                  <a:lnTo>
                    <a:pt x="381" y="12"/>
                  </a:lnTo>
                  <a:lnTo>
                    <a:pt x="400" y="18"/>
                  </a:lnTo>
                  <a:lnTo>
                    <a:pt x="420" y="25"/>
                  </a:lnTo>
                  <a:lnTo>
                    <a:pt x="441" y="32"/>
                  </a:lnTo>
                  <a:lnTo>
                    <a:pt x="457" y="38"/>
                  </a:lnTo>
                  <a:lnTo>
                    <a:pt x="472" y="45"/>
                  </a:lnTo>
                  <a:lnTo>
                    <a:pt x="480" y="53"/>
                  </a:lnTo>
                  <a:lnTo>
                    <a:pt x="498" y="52"/>
                  </a:lnTo>
                  <a:lnTo>
                    <a:pt x="518" y="56"/>
                  </a:lnTo>
                  <a:lnTo>
                    <a:pt x="537" y="63"/>
                  </a:lnTo>
                  <a:lnTo>
                    <a:pt x="555" y="71"/>
                  </a:lnTo>
                  <a:lnTo>
                    <a:pt x="569" y="79"/>
                  </a:lnTo>
                  <a:lnTo>
                    <a:pt x="577" y="87"/>
                  </a:lnTo>
                  <a:lnTo>
                    <a:pt x="582" y="93"/>
                  </a:lnTo>
                  <a:lnTo>
                    <a:pt x="593" y="102"/>
                  </a:lnTo>
                  <a:lnTo>
                    <a:pt x="607" y="112"/>
                  </a:lnTo>
                  <a:lnTo>
                    <a:pt x="623" y="124"/>
                  </a:lnTo>
                  <a:lnTo>
                    <a:pt x="638" y="135"/>
                  </a:lnTo>
                  <a:lnTo>
                    <a:pt x="651" y="145"/>
                  </a:lnTo>
                  <a:lnTo>
                    <a:pt x="660" y="154"/>
                  </a:lnTo>
                  <a:lnTo>
                    <a:pt x="663" y="161"/>
                  </a:lnTo>
                  <a:lnTo>
                    <a:pt x="672" y="164"/>
                  </a:lnTo>
                  <a:lnTo>
                    <a:pt x="679" y="169"/>
                  </a:lnTo>
                  <a:lnTo>
                    <a:pt x="681" y="176"/>
                  </a:lnTo>
                  <a:lnTo>
                    <a:pt x="682" y="183"/>
                  </a:lnTo>
                  <a:lnTo>
                    <a:pt x="681" y="190"/>
                  </a:lnTo>
                  <a:lnTo>
                    <a:pt x="679" y="195"/>
                  </a:lnTo>
                  <a:lnTo>
                    <a:pt x="678" y="197"/>
                  </a:lnTo>
                  <a:lnTo>
                    <a:pt x="679" y="201"/>
                  </a:lnTo>
                  <a:lnTo>
                    <a:pt x="681" y="212"/>
                  </a:lnTo>
                  <a:lnTo>
                    <a:pt x="683" y="228"/>
                  </a:lnTo>
                  <a:lnTo>
                    <a:pt x="685" y="248"/>
                  </a:lnTo>
                  <a:lnTo>
                    <a:pt x="683" y="270"/>
                  </a:lnTo>
                  <a:lnTo>
                    <a:pt x="681" y="292"/>
                  </a:lnTo>
                  <a:lnTo>
                    <a:pt x="672" y="313"/>
                  </a:lnTo>
                  <a:lnTo>
                    <a:pt x="660" y="330"/>
                  </a:lnTo>
                  <a:lnTo>
                    <a:pt x="655" y="369"/>
                  </a:lnTo>
                  <a:lnTo>
                    <a:pt x="646" y="403"/>
                  </a:lnTo>
                  <a:lnTo>
                    <a:pt x="637" y="433"/>
                  </a:lnTo>
                  <a:lnTo>
                    <a:pt x="626" y="460"/>
                  </a:lnTo>
                  <a:lnTo>
                    <a:pt x="615" y="482"/>
                  </a:lnTo>
                  <a:lnTo>
                    <a:pt x="606" y="499"/>
                  </a:lnTo>
                  <a:lnTo>
                    <a:pt x="597" y="510"/>
                  </a:lnTo>
                  <a:lnTo>
                    <a:pt x="592" y="514"/>
                  </a:lnTo>
                  <a:lnTo>
                    <a:pt x="589" y="520"/>
                  </a:lnTo>
                  <a:lnTo>
                    <a:pt x="584" y="531"/>
                  </a:lnTo>
                  <a:lnTo>
                    <a:pt x="577" y="547"/>
                  </a:lnTo>
                  <a:lnTo>
                    <a:pt x="569" y="568"/>
                  </a:lnTo>
                  <a:lnTo>
                    <a:pt x="559" y="591"/>
                  </a:lnTo>
                  <a:lnTo>
                    <a:pt x="550" y="617"/>
                  </a:lnTo>
                  <a:lnTo>
                    <a:pt x="539" y="641"/>
                  </a:lnTo>
                  <a:lnTo>
                    <a:pt x="528" y="667"/>
                  </a:lnTo>
                  <a:lnTo>
                    <a:pt x="517" y="690"/>
                  </a:lnTo>
                  <a:lnTo>
                    <a:pt x="507" y="711"/>
                  </a:lnTo>
                  <a:lnTo>
                    <a:pt x="498" y="726"/>
                  </a:lnTo>
                  <a:lnTo>
                    <a:pt x="488" y="737"/>
                  </a:lnTo>
                  <a:lnTo>
                    <a:pt x="481" y="748"/>
                  </a:lnTo>
                  <a:lnTo>
                    <a:pt x="477" y="761"/>
                  </a:lnTo>
                  <a:lnTo>
                    <a:pt x="477" y="776"/>
                  </a:lnTo>
                  <a:lnTo>
                    <a:pt x="477" y="793"/>
                  </a:lnTo>
                  <a:lnTo>
                    <a:pt x="479" y="806"/>
                  </a:lnTo>
                  <a:lnTo>
                    <a:pt x="480" y="816"/>
                  </a:lnTo>
                  <a:lnTo>
                    <a:pt x="480" y="819"/>
                  </a:lnTo>
                  <a:lnTo>
                    <a:pt x="477" y="819"/>
                  </a:lnTo>
                  <a:lnTo>
                    <a:pt x="469" y="816"/>
                  </a:lnTo>
                  <a:lnTo>
                    <a:pt x="460" y="815"/>
                  </a:lnTo>
                  <a:lnTo>
                    <a:pt x="453" y="815"/>
                  </a:lnTo>
                  <a:lnTo>
                    <a:pt x="449" y="816"/>
                  </a:lnTo>
                  <a:lnTo>
                    <a:pt x="443" y="817"/>
                  </a:lnTo>
                  <a:lnTo>
                    <a:pt x="436" y="817"/>
                  </a:lnTo>
                  <a:lnTo>
                    <a:pt x="430" y="815"/>
                  </a:lnTo>
                  <a:lnTo>
                    <a:pt x="420" y="808"/>
                  </a:lnTo>
                  <a:lnTo>
                    <a:pt x="408" y="797"/>
                  </a:lnTo>
                  <a:lnTo>
                    <a:pt x="400" y="790"/>
                  </a:lnTo>
                  <a:lnTo>
                    <a:pt x="386" y="785"/>
                  </a:lnTo>
                  <a:lnTo>
                    <a:pt x="370" y="781"/>
                  </a:lnTo>
                  <a:lnTo>
                    <a:pt x="355" y="776"/>
                  </a:lnTo>
                  <a:lnTo>
                    <a:pt x="340" y="774"/>
                  </a:lnTo>
                  <a:lnTo>
                    <a:pt x="330" y="772"/>
                  </a:lnTo>
                  <a:lnTo>
                    <a:pt x="326" y="771"/>
                  </a:lnTo>
                  <a:lnTo>
                    <a:pt x="323" y="770"/>
                  </a:lnTo>
                  <a:lnTo>
                    <a:pt x="315" y="765"/>
                  </a:lnTo>
                  <a:lnTo>
                    <a:pt x="304" y="760"/>
                  </a:lnTo>
                  <a:lnTo>
                    <a:pt x="288" y="753"/>
                  </a:lnTo>
                  <a:lnTo>
                    <a:pt x="269" y="745"/>
                  </a:lnTo>
                  <a:lnTo>
                    <a:pt x="248" y="737"/>
                  </a:lnTo>
                  <a:lnTo>
                    <a:pt x="226" y="730"/>
                  </a:lnTo>
                  <a:lnTo>
                    <a:pt x="203" y="723"/>
                  </a:lnTo>
                  <a:lnTo>
                    <a:pt x="180" y="719"/>
                  </a:lnTo>
                  <a:lnTo>
                    <a:pt x="158" y="705"/>
                  </a:lnTo>
                  <a:lnTo>
                    <a:pt x="132" y="695"/>
                  </a:lnTo>
                  <a:lnTo>
                    <a:pt x="106" y="685"/>
                  </a:lnTo>
                  <a:lnTo>
                    <a:pt x="79" y="677"/>
                  </a:lnTo>
                  <a:lnTo>
                    <a:pt x="55" y="670"/>
                  </a:lnTo>
                  <a:lnTo>
                    <a:pt x="33" y="666"/>
                  </a:lnTo>
                  <a:lnTo>
                    <a:pt x="16" y="662"/>
                  </a:lnTo>
                  <a:lnTo>
                    <a:pt x="4" y="659"/>
                  </a:lnTo>
                  <a:lnTo>
                    <a:pt x="0" y="659"/>
                  </a:lnTo>
                  <a:lnTo>
                    <a:pt x="108" y="439"/>
                  </a:lnTo>
                  <a:lnTo>
                    <a:pt x="282" y="127"/>
                  </a:lnTo>
                  <a:lnTo>
                    <a:pt x="334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81" name="Freeform 1807"/>
            <p:cNvSpPr>
              <a:spLocks/>
            </p:cNvSpPr>
            <p:nvPr/>
          </p:nvSpPr>
          <p:spPr bwMode="auto">
            <a:xfrm rot="1114411" flipH="1">
              <a:off x="856319" y="4392263"/>
              <a:ext cx="112388" cy="234234"/>
            </a:xfrm>
            <a:custGeom>
              <a:avLst/>
              <a:gdLst>
                <a:gd name="T0" fmla="*/ 2147483647 w 202"/>
                <a:gd name="T1" fmla="*/ 2147483647 h 421"/>
                <a:gd name="T2" fmla="*/ 2147483647 w 202"/>
                <a:gd name="T3" fmla="*/ 2147483647 h 421"/>
                <a:gd name="T4" fmla="*/ 2147483647 w 202"/>
                <a:gd name="T5" fmla="*/ 2147483647 h 421"/>
                <a:gd name="T6" fmla="*/ 2147483647 w 202"/>
                <a:gd name="T7" fmla="*/ 2147483647 h 421"/>
                <a:gd name="T8" fmla="*/ 2147483647 w 202"/>
                <a:gd name="T9" fmla="*/ 2147483647 h 421"/>
                <a:gd name="T10" fmla="*/ 2147483647 w 202"/>
                <a:gd name="T11" fmla="*/ 2147483647 h 421"/>
                <a:gd name="T12" fmla="*/ 2147483647 w 202"/>
                <a:gd name="T13" fmla="*/ 2147483647 h 421"/>
                <a:gd name="T14" fmla="*/ 2147483647 w 202"/>
                <a:gd name="T15" fmla="*/ 2147483647 h 421"/>
                <a:gd name="T16" fmla="*/ 2147483647 w 202"/>
                <a:gd name="T17" fmla="*/ 2147483647 h 421"/>
                <a:gd name="T18" fmla="*/ 2147483647 w 202"/>
                <a:gd name="T19" fmla="*/ 2147483647 h 421"/>
                <a:gd name="T20" fmla="*/ 2147483647 w 202"/>
                <a:gd name="T21" fmla="*/ 2147483647 h 421"/>
                <a:gd name="T22" fmla="*/ 2147483647 w 202"/>
                <a:gd name="T23" fmla="*/ 2147483647 h 421"/>
                <a:gd name="T24" fmla="*/ 2147483647 w 202"/>
                <a:gd name="T25" fmla="*/ 2147483647 h 421"/>
                <a:gd name="T26" fmla="*/ 2147483647 w 202"/>
                <a:gd name="T27" fmla="*/ 2147483647 h 421"/>
                <a:gd name="T28" fmla="*/ 2147483647 w 202"/>
                <a:gd name="T29" fmla="*/ 2147483647 h 421"/>
                <a:gd name="T30" fmla="*/ 2147483647 w 202"/>
                <a:gd name="T31" fmla="*/ 2147483647 h 421"/>
                <a:gd name="T32" fmla="*/ 2147483647 w 202"/>
                <a:gd name="T33" fmla="*/ 2147483647 h 421"/>
                <a:gd name="T34" fmla="*/ 2147483647 w 202"/>
                <a:gd name="T35" fmla="*/ 2147483647 h 421"/>
                <a:gd name="T36" fmla="*/ 2147483647 w 202"/>
                <a:gd name="T37" fmla="*/ 2147483647 h 421"/>
                <a:gd name="T38" fmla="*/ 2147483647 w 202"/>
                <a:gd name="T39" fmla="*/ 2147483647 h 421"/>
                <a:gd name="T40" fmla="*/ 2147483647 w 202"/>
                <a:gd name="T41" fmla="*/ 2147483647 h 421"/>
                <a:gd name="T42" fmla="*/ 2147483647 w 202"/>
                <a:gd name="T43" fmla="*/ 2147483647 h 421"/>
                <a:gd name="T44" fmla="*/ 2147483647 w 202"/>
                <a:gd name="T45" fmla="*/ 2147483647 h 421"/>
                <a:gd name="T46" fmla="*/ 2147483647 w 202"/>
                <a:gd name="T47" fmla="*/ 2147483647 h 421"/>
                <a:gd name="T48" fmla="*/ 2147483647 w 202"/>
                <a:gd name="T49" fmla="*/ 2147483647 h 421"/>
                <a:gd name="T50" fmla="*/ 2147483647 w 202"/>
                <a:gd name="T51" fmla="*/ 2147483647 h 421"/>
                <a:gd name="T52" fmla="*/ 2147483647 w 202"/>
                <a:gd name="T53" fmla="*/ 2147483647 h 421"/>
                <a:gd name="T54" fmla="*/ 2147483647 w 202"/>
                <a:gd name="T55" fmla="*/ 2147483647 h 421"/>
                <a:gd name="T56" fmla="*/ 2147483647 w 202"/>
                <a:gd name="T57" fmla="*/ 2147483647 h 421"/>
                <a:gd name="T58" fmla="*/ 0 w 202"/>
                <a:gd name="T59" fmla="*/ 2147483647 h 421"/>
                <a:gd name="T60" fmla="*/ 2147483647 w 202"/>
                <a:gd name="T61" fmla="*/ 2147483647 h 421"/>
                <a:gd name="T62" fmla="*/ 2147483647 w 202"/>
                <a:gd name="T63" fmla="*/ 2147483647 h 421"/>
                <a:gd name="T64" fmla="*/ 2147483647 w 202"/>
                <a:gd name="T65" fmla="*/ 2147483647 h 421"/>
                <a:gd name="T66" fmla="*/ 2147483647 w 202"/>
                <a:gd name="T67" fmla="*/ 2147483647 h 421"/>
                <a:gd name="T68" fmla="*/ 2147483647 w 202"/>
                <a:gd name="T69" fmla="*/ 2147483647 h 421"/>
                <a:gd name="T70" fmla="*/ 2147483647 w 202"/>
                <a:gd name="T71" fmla="*/ 2147483647 h 421"/>
                <a:gd name="T72" fmla="*/ 2147483647 w 202"/>
                <a:gd name="T73" fmla="*/ 2147483647 h 421"/>
                <a:gd name="T74" fmla="*/ 2147483647 w 202"/>
                <a:gd name="T75" fmla="*/ 2147483647 h 421"/>
                <a:gd name="T76" fmla="*/ 2147483647 w 202"/>
                <a:gd name="T77" fmla="*/ 2147483647 h 421"/>
                <a:gd name="T78" fmla="*/ 2147483647 w 202"/>
                <a:gd name="T79" fmla="*/ 2147483647 h 421"/>
                <a:gd name="T80" fmla="*/ 2147483647 w 202"/>
                <a:gd name="T81" fmla="*/ 2147483647 h 421"/>
                <a:gd name="T82" fmla="*/ 2147483647 w 202"/>
                <a:gd name="T83" fmla="*/ 2147483647 h 421"/>
                <a:gd name="T84" fmla="*/ 2147483647 w 202"/>
                <a:gd name="T85" fmla="*/ 0 h 42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2"/>
                <a:gd name="T130" fmla="*/ 0 h 421"/>
                <a:gd name="T131" fmla="*/ 202 w 202"/>
                <a:gd name="T132" fmla="*/ 421 h 42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2" h="421">
                  <a:moveTo>
                    <a:pt x="123" y="0"/>
                  </a:moveTo>
                  <a:lnTo>
                    <a:pt x="125" y="1"/>
                  </a:lnTo>
                  <a:lnTo>
                    <a:pt x="133" y="4"/>
                  </a:lnTo>
                  <a:lnTo>
                    <a:pt x="146" y="8"/>
                  </a:lnTo>
                  <a:lnTo>
                    <a:pt x="159" y="13"/>
                  </a:lnTo>
                  <a:lnTo>
                    <a:pt x="173" y="20"/>
                  </a:lnTo>
                  <a:lnTo>
                    <a:pt x="185" y="27"/>
                  </a:lnTo>
                  <a:lnTo>
                    <a:pt x="195" y="34"/>
                  </a:lnTo>
                  <a:lnTo>
                    <a:pt x="200" y="39"/>
                  </a:lnTo>
                  <a:lnTo>
                    <a:pt x="202" y="50"/>
                  </a:lnTo>
                  <a:lnTo>
                    <a:pt x="202" y="63"/>
                  </a:lnTo>
                  <a:lnTo>
                    <a:pt x="199" y="75"/>
                  </a:lnTo>
                  <a:lnTo>
                    <a:pt x="195" y="86"/>
                  </a:lnTo>
                  <a:lnTo>
                    <a:pt x="189" y="94"/>
                  </a:lnTo>
                  <a:lnTo>
                    <a:pt x="183" y="95"/>
                  </a:lnTo>
                  <a:lnTo>
                    <a:pt x="177" y="97"/>
                  </a:lnTo>
                  <a:lnTo>
                    <a:pt x="176" y="102"/>
                  </a:lnTo>
                  <a:lnTo>
                    <a:pt x="176" y="109"/>
                  </a:lnTo>
                  <a:lnTo>
                    <a:pt x="177" y="116"/>
                  </a:lnTo>
                  <a:lnTo>
                    <a:pt x="180" y="123"/>
                  </a:lnTo>
                  <a:lnTo>
                    <a:pt x="181" y="128"/>
                  </a:lnTo>
                  <a:lnTo>
                    <a:pt x="183" y="129"/>
                  </a:lnTo>
                  <a:lnTo>
                    <a:pt x="183" y="133"/>
                  </a:lnTo>
                  <a:lnTo>
                    <a:pt x="183" y="140"/>
                  </a:lnTo>
                  <a:lnTo>
                    <a:pt x="183" y="153"/>
                  </a:lnTo>
                  <a:lnTo>
                    <a:pt x="183" y="166"/>
                  </a:lnTo>
                  <a:lnTo>
                    <a:pt x="180" y="181"/>
                  </a:lnTo>
                  <a:lnTo>
                    <a:pt x="174" y="195"/>
                  </a:lnTo>
                  <a:lnTo>
                    <a:pt x="168" y="207"/>
                  </a:lnTo>
                  <a:lnTo>
                    <a:pt x="157" y="215"/>
                  </a:lnTo>
                  <a:lnTo>
                    <a:pt x="143" y="225"/>
                  </a:lnTo>
                  <a:lnTo>
                    <a:pt x="136" y="233"/>
                  </a:lnTo>
                  <a:lnTo>
                    <a:pt x="133" y="240"/>
                  </a:lnTo>
                  <a:lnTo>
                    <a:pt x="133" y="245"/>
                  </a:lnTo>
                  <a:lnTo>
                    <a:pt x="135" y="248"/>
                  </a:lnTo>
                  <a:lnTo>
                    <a:pt x="136" y="249"/>
                  </a:lnTo>
                  <a:lnTo>
                    <a:pt x="136" y="251"/>
                  </a:lnTo>
                  <a:lnTo>
                    <a:pt x="136" y="252"/>
                  </a:lnTo>
                  <a:lnTo>
                    <a:pt x="136" y="255"/>
                  </a:lnTo>
                  <a:lnTo>
                    <a:pt x="135" y="258"/>
                  </a:lnTo>
                  <a:lnTo>
                    <a:pt x="133" y="262"/>
                  </a:lnTo>
                  <a:lnTo>
                    <a:pt x="131" y="264"/>
                  </a:lnTo>
                  <a:lnTo>
                    <a:pt x="128" y="267"/>
                  </a:lnTo>
                  <a:lnTo>
                    <a:pt x="124" y="269"/>
                  </a:lnTo>
                  <a:lnTo>
                    <a:pt x="118" y="271"/>
                  </a:lnTo>
                  <a:lnTo>
                    <a:pt x="109" y="277"/>
                  </a:lnTo>
                  <a:lnTo>
                    <a:pt x="101" y="285"/>
                  </a:lnTo>
                  <a:lnTo>
                    <a:pt x="91" y="294"/>
                  </a:lnTo>
                  <a:lnTo>
                    <a:pt x="84" y="304"/>
                  </a:lnTo>
                  <a:lnTo>
                    <a:pt x="80" y="312"/>
                  </a:lnTo>
                  <a:lnTo>
                    <a:pt x="80" y="320"/>
                  </a:lnTo>
                  <a:lnTo>
                    <a:pt x="80" y="327"/>
                  </a:lnTo>
                  <a:lnTo>
                    <a:pt x="79" y="339"/>
                  </a:lnTo>
                  <a:lnTo>
                    <a:pt x="73" y="356"/>
                  </a:lnTo>
                  <a:lnTo>
                    <a:pt x="67" y="372"/>
                  </a:lnTo>
                  <a:lnTo>
                    <a:pt x="57" y="389"/>
                  </a:lnTo>
                  <a:lnTo>
                    <a:pt x="46" y="404"/>
                  </a:lnTo>
                  <a:lnTo>
                    <a:pt x="33" y="415"/>
                  </a:lnTo>
                  <a:lnTo>
                    <a:pt x="18" y="421"/>
                  </a:lnTo>
                  <a:lnTo>
                    <a:pt x="0" y="420"/>
                  </a:lnTo>
                  <a:lnTo>
                    <a:pt x="3" y="413"/>
                  </a:lnTo>
                  <a:lnTo>
                    <a:pt x="7" y="402"/>
                  </a:lnTo>
                  <a:lnTo>
                    <a:pt x="12" y="389"/>
                  </a:lnTo>
                  <a:lnTo>
                    <a:pt x="18" y="375"/>
                  </a:lnTo>
                  <a:lnTo>
                    <a:pt x="24" y="361"/>
                  </a:lnTo>
                  <a:lnTo>
                    <a:pt x="30" y="350"/>
                  </a:lnTo>
                  <a:lnTo>
                    <a:pt x="33" y="342"/>
                  </a:lnTo>
                  <a:lnTo>
                    <a:pt x="34" y="339"/>
                  </a:lnTo>
                  <a:lnTo>
                    <a:pt x="37" y="337"/>
                  </a:lnTo>
                  <a:lnTo>
                    <a:pt x="42" y="330"/>
                  </a:lnTo>
                  <a:lnTo>
                    <a:pt x="50" y="318"/>
                  </a:lnTo>
                  <a:lnTo>
                    <a:pt x="60" y="300"/>
                  </a:lnTo>
                  <a:lnTo>
                    <a:pt x="69" y="279"/>
                  </a:lnTo>
                  <a:lnTo>
                    <a:pt x="80" y="254"/>
                  </a:lnTo>
                  <a:lnTo>
                    <a:pt x="90" y="225"/>
                  </a:lnTo>
                  <a:lnTo>
                    <a:pt x="98" y="192"/>
                  </a:lnTo>
                  <a:lnTo>
                    <a:pt x="102" y="155"/>
                  </a:lnTo>
                  <a:lnTo>
                    <a:pt x="113" y="139"/>
                  </a:lnTo>
                  <a:lnTo>
                    <a:pt x="120" y="117"/>
                  </a:lnTo>
                  <a:lnTo>
                    <a:pt x="125" y="93"/>
                  </a:lnTo>
                  <a:lnTo>
                    <a:pt x="128" y="67"/>
                  </a:lnTo>
                  <a:lnTo>
                    <a:pt x="127" y="42"/>
                  </a:lnTo>
                  <a:lnTo>
                    <a:pt x="120" y="22"/>
                  </a:lnTo>
                  <a:lnTo>
                    <a:pt x="123" y="12"/>
                  </a:lnTo>
                  <a:lnTo>
                    <a:pt x="123" y="4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82" name="Freeform 1808"/>
            <p:cNvSpPr>
              <a:spLocks/>
            </p:cNvSpPr>
            <p:nvPr/>
          </p:nvSpPr>
          <p:spPr bwMode="auto">
            <a:xfrm rot="1114411" flipH="1">
              <a:off x="659646" y="4388989"/>
              <a:ext cx="323254" cy="397809"/>
            </a:xfrm>
            <a:custGeom>
              <a:avLst/>
              <a:gdLst>
                <a:gd name="T0" fmla="*/ 249958798 w 581"/>
                <a:gd name="T1" fmla="*/ 1766495 h 715"/>
                <a:gd name="T2" fmla="*/ 272039661 w 581"/>
                <a:gd name="T3" fmla="*/ 9715998 h 715"/>
                <a:gd name="T4" fmla="*/ 305602996 w 581"/>
                <a:gd name="T5" fmla="*/ 22964429 h 715"/>
                <a:gd name="T6" fmla="*/ 338283364 w 581"/>
                <a:gd name="T7" fmla="*/ 42395868 h 715"/>
                <a:gd name="T8" fmla="*/ 359481259 w 581"/>
                <a:gd name="T9" fmla="*/ 66243822 h 715"/>
                <a:gd name="T10" fmla="*/ 395694053 w 581"/>
                <a:gd name="T11" fmla="*/ 82142273 h 715"/>
                <a:gd name="T12" fmla="*/ 424841438 w 581"/>
                <a:gd name="T13" fmla="*/ 100690187 h 715"/>
                <a:gd name="T14" fmla="*/ 441622827 w 581"/>
                <a:gd name="T15" fmla="*/ 114822143 h 715"/>
                <a:gd name="T16" fmla="*/ 447805825 w 581"/>
                <a:gd name="T17" fmla="*/ 121888121 h 715"/>
                <a:gd name="T18" fmla="*/ 468120197 w 581"/>
                <a:gd name="T19" fmla="*/ 131604119 h 715"/>
                <a:gd name="T20" fmla="*/ 491968107 w 581"/>
                <a:gd name="T21" fmla="*/ 144852550 h 715"/>
                <a:gd name="T22" fmla="*/ 506983005 w 581"/>
                <a:gd name="T23" fmla="*/ 165167515 h 715"/>
                <a:gd name="T24" fmla="*/ 510515988 w 581"/>
                <a:gd name="T25" fmla="*/ 194314396 h 715"/>
                <a:gd name="T26" fmla="*/ 513166003 w 581"/>
                <a:gd name="T27" fmla="*/ 237593790 h 715"/>
                <a:gd name="T28" fmla="*/ 509633021 w 581"/>
                <a:gd name="T29" fmla="*/ 282639122 h 715"/>
                <a:gd name="T30" fmla="*/ 491968107 w 581"/>
                <a:gd name="T31" fmla="*/ 318852537 h 715"/>
                <a:gd name="T32" fmla="*/ 471653179 w 581"/>
                <a:gd name="T33" fmla="*/ 346232924 h 715"/>
                <a:gd name="T34" fmla="*/ 446922301 w 581"/>
                <a:gd name="T35" fmla="*/ 383329309 h 715"/>
                <a:gd name="T36" fmla="*/ 420424931 w 581"/>
                <a:gd name="T37" fmla="*/ 425725177 h 715"/>
                <a:gd name="T38" fmla="*/ 395694053 w 581"/>
                <a:gd name="T39" fmla="*/ 464588056 h 715"/>
                <a:gd name="T40" fmla="*/ 378029140 w 581"/>
                <a:gd name="T41" fmla="*/ 495501988 h 715"/>
                <a:gd name="T42" fmla="*/ 368313716 w 581"/>
                <a:gd name="T43" fmla="*/ 511400439 h 715"/>
                <a:gd name="T44" fmla="*/ 365663701 w 581"/>
                <a:gd name="T45" fmla="*/ 528181859 h 715"/>
                <a:gd name="T46" fmla="*/ 368313716 w 581"/>
                <a:gd name="T47" fmla="*/ 544080309 h 715"/>
                <a:gd name="T48" fmla="*/ 367430192 w 581"/>
                <a:gd name="T49" fmla="*/ 548496824 h 715"/>
                <a:gd name="T50" fmla="*/ 355948277 w 581"/>
                <a:gd name="T51" fmla="*/ 562628780 h 715"/>
                <a:gd name="T52" fmla="*/ 337399840 w 581"/>
                <a:gd name="T53" fmla="*/ 584709683 h 715"/>
                <a:gd name="T54" fmla="*/ 314435453 w 581"/>
                <a:gd name="T55" fmla="*/ 606791143 h 715"/>
                <a:gd name="T56" fmla="*/ 297654064 w 581"/>
                <a:gd name="T57" fmla="*/ 620923099 h 715"/>
                <a:gd name="T58" fmla="*/ 291471066 w 581"/>
                <a:gd name="T59" fmla="*/ 627989077 h 715"/>
                <a:gd name="T60" fmla="*/ 285288624 w 581"/>
                <a:gd name="T61" fmla="*/ 631522066 h 715"/>
                <a:gd name="T62" fmla="*/ 284405101 w 581"/>
                <a:gd name="T63" fmla="*/ 631522066 h 715"/>
                <a:gd name="T64" fmla="*/ 275572644 w 581"/>
                <a:gd name="T65" fmla="*/ 624456088 h 715"/>
                <a:gd name="T66" fmla="*/ 255258272 w 581"/>
                <a:gd name="T67" fmla="*/ 607674112 h 715"/>
                <a:gd name="T68" fmla="*/ 223461429 w 581"/>
                <a:gd name="T69" fmla="*/ 590892692 h 715"/>
                <a:gd name="T70" fmla="*/ 185481587 w 581"/>
                <a:gd name="T71" fmla="*/ 582060219 h 715"/>
                <a:gd name="T72" fmla="*/ 150151761 w 581"/>
                <a:gd name="T73" fmla="*/ 583826714 h 715"/>
                <a:gd name="T74" fmla="*/ 123654392 w 581"/>
                <a:gd name="T75" fmla="*/ 574994241 h 715"/>
                <a:gd name="T76" fmla="*/ 99807037 w 581"/>
                <a:gd name="T77" fmla="*/ 560862285 h 715"/>
                <a:gd name="T78" fmla="*/ 86558074 w 581"/>
                <a:gd name="T79" fmla="*/ 552029813 h 715"/>
                <a:gd name="T80" fmla="*/ 72426144 w 581"/>
                <a:gd name="T81" fmla="*/ 545846804 h 715"/>
                <a:gd name="T82" fmla="*/ 49461757 w 581"/>
                <a:gd name="T83" fmla="*/ 537897857 h 715"/>
                <a:gd name="T84" fmla="*/ 26497370 w 581"/>
                <a:gd name="T85" fmla="*/ 534364868 h 715"/>
                <a:gd name="T86" fmla="*/ 11482472 w 581"/>
                <a:gd name="T87" fmla="*/ 544080309 h 715"/>
                <a:gd name="T88" fmla="*/ 6182998 w 581"/>
                <a:gd name="T89" fmla="*/ 544080309 h 715"/>
                <a:gd name="T90" fmla="*/ 883524 w 581"/>
                <a:gd name="T91" fmla="*/ 531714848 h 715"/>
                <a:gd name="T92" fmla="*/ 0 w 581"/>
                <a:gd name="T93" fmla="*/ 524648870 h 715"/>
                <a:gd name="T94" fmla="*/ 0 w 581"/>
                <a:gd name="T95" fmla="*/ 479603538 h 715"/>
                <a:gd name="T96" fmla="*/ 7065965 w 581"/>
                <a:gd name="T97" fmla="*/ 464588056 h 715"/>
                <a:gd name="T98" fmla="*/ 20314928 w 581"/>
                <a:gd name="T99" fmla="*/ 449573131 h 715"/>
                <a:gd name="T100" fmla="*/ 32680367 w 581"/>
                <a:gd name="T101" fmla="*/ 426608702 h 715"/>
                <a:gd name="T102" fmla="*/ 46812298 w 581"/>
                <a:gd name="T103" fmla="*/ 395694770 h 715"/>
                <a:gd name="T104" fmla="*/ 60060704 w 581"/>
                <a:gd name="T105" fmla="*/ 363014900 h 715"/>
                <a:gd name="T106" fmla="*/ 69776685 w 581"/>
                <a:gd name="T107" fmla="*/ 337400452 h 715"/>
                <a:gd name="T108" fmla="*/ 73309667 w 581"/>
                <a:gd name="T109" fmla="*/ 327685010 h 715"/>
                <a:gd name="T110" fmla="*/ 208445974 w 581"/>
                <a:gd name="T111" fmla="*/ 18548471 h 71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81"/>
                <a:gd name="T169" fmla="*/ 0 h 715"/>
                <a:gd name="T170" fmla="*/ 581 w 581"/>
                <a:gd name="T171" fmla="*/ 715 h 71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81" h="715">
                  <a:moveTo>
                    <a:pt x="279" y="0"/>
                  </a:moveTo>
                  <a:lnTo>
                    <a:pt x="283" y="2"/>
                  </a:lnTo>
                  <a:lnTo>
                    <a:pt x="293" y="6"/>
                  </a:lnTo>
                  <a:lnTo>
                    <a:pt x="308" y="11"/>
                  </a:lnTo>
                  <a:lnTo>
                    <a:pt x="326" y="18"/>
                  </a:lnTo>
                  <a:lnTo>
                    <a:pt x="346" y="26"/>
                  </a:lnTo>
                  <a:lnTo>
                    <a:pt x="365" y="37"/>
                  </a:lnTo>
                  <a:lnTo>
                    <a:pt x="383" y="48"/>
                  </a:lnTo>
                  <a:lnTo>
                    <a:pt x="398" y="62"/>
                  </a:lnTo>
                  <a:lnTo>
                    <a:pt x="407" y="75"/>
                  </a:lnTo>
                  <a:lnTo>
                    <a:pt x="428" y="84"/>
                  </a:lnTo>
                  <a:lnTo>
                    <a:pt x="448" y="93"/>
                  </a:lnTo>
                  <a:lnTo>
                    <a:pt x="466" y="103"/>
                  </a:lnTo>
                  <a:lnTo>
                    <a:pt x="481" y="114"/>
                  </a:lnTo>
                  <a:lnTo>
                    <a:pt x="492" y="123"/>
                  </a:lnTo>
                  <a:lnTo>
                    <a:pt x="500" y="130"/>
                  </a:lnTo>
                  <a:lnTo>
                    <a:pt x="503" y="135"/>
                  </a:lnTo>
                  <a:lnTo>
                    <a:pt x="507" y="138"/>
                  </a:lnTo>
                  <a:lnTo>
                    <a:pt x="518" y="142"/>
                  </a:lnTo>
                  <a:lnTo>
                    <a:pt x="530" y="149"/>
                  </a:lnTo>
                  <a:lnTo>
                    <a:pt x="545" y="156"/>
                  </a:lnTo>
                  <a:lnTo>
                    <a:pt x="557" y="164"/>
                  </a:lnTo>
                  <a:lnTo>
                    <a:pt x="568" y="175"/>
                  </a:lnTo>
                  <a:lnTo>
                    <a:pt x="574" y="187"/>
                  </a:lnTo>
                  <a:lnTo>
                    <a:pt x="575" y="201"/>
                  </a:lnTo>
                  <a:lnTo>
                    <a:pt x="578" y="220"/>
                  </a:lnTo>
                  <a:lnTo>
                    <a:pt x="581" y="243"/>
                  </a:lnTo>
                  <a:lnTo>
                    <a:pt x="581" y="269"/>
                  </a:lnTo>
                  <a:lnTo>
                    <a:pt x="581" y="295"/>
                  </a:lnTo>
                  <a:lnTo>
                    <a:pt x="577" y="320"/>
                  </a:lnTo>
                  <a:lnTo>
                    <a:pt x="570" y="343"/>
                  </a:lnTo>
                  <a:lnTo>
                    <a:pt x="557" y="361"/>
                  </a:lnTo>
                  <a:lnTo>
                    <a:pt x="547" y="374"/>
                  </a:lnTo>
                  <a:lnTo>
                    <a:pt x="534" y="392"/>
                  </a:lnTo>
                  <a:lnTo>
                    <a:pt x="521" y="412"/>
                  </a:lnTo>
                  <a:lnTo>
                    <a:pt x="506" y="434"/>
                  </a:lnTo>
                  <a:lnTo>
                    <a:pt x="491" y="457"/>
                  </a:lnTo>
                  <a:lnTo>
                    <a:pt x="476" y="482"/>
                  </a:lnTo>
                  <a:lnTo>
                    <a:pt x="462" y="504"/>
                  </a:lnTo>
                  <a:lnTo>
                    <a:pt x="448" y="526"/>
                  </a:lnTo>
                  <a:lnTo>
                    <a:pt x="437" y="545"/>
                  </a:lnTo>
                  <a:lnTo>
                    <a:pt x="428" y="561"/>
                  </a:lnTo>
                  <a:lnTo>
                    <a:pt x="421" y="573"/>
                  </a:lnTo>
                  <a:lnTo>
                    <a:pt x="417" y="579"/>
                  </a:lnTo>
                  <a:lnTo>
                    <a:pt x="416" y="587"/>
                  </a:lnTo>
                  <a:lnTo>
                    <a:pt x="414" y="598"/>
                  </a:lnTo>
                  <a:lnTo>
                    <a:pt x="416" y="607"/>
                  </a:lnTo>
                  <a:lnTo>
                    <a:pt x="417" y="616"/>
                  </a:lnTo>
                  <a:lnTo>
                    <a:pt x="417" y="620"/>
                  </a:lnTo>
                  <a:lnTo>
                    <a:pt x="416" y="621"/>
                  </a:lnTo>
                  <a:lnTo>
                    <a:pt x="410" y="628"/>
                  </a:lnTo>
                  <a:lnTo>
                    <a:pt x="403" y="637"/>
                  </a:lnTo>
                  <a:lnTo>
                    <a:pt x="394" y="650"/>
                  </a:lnTo>
                  <a:lnTo>
                    <a:pt x="382" y="662"/>
                  </a:lnTo>
                  <a:lnTo>
                    <a:pt x="369" y="674"/>
                  </a:lnTo>
                  <a:lnTo>
                    <a:pt x="356" y="687"/>
                  </a:lnTo>
                  <a:lnTo>
                    <a:pt x="341" y="695"/>
                  </a:lnTo>
                  <a:lnTo>
                    <a:pt x="337" y="703"/>
                  </a:lnTo>
                  <a:lnTo>
                    <a:pt x="332" y="708"/>
                  </a:lnTo>
                  <a:lnTo>
                    <a:pt x="330" y="711"/>
                  </a:lnTo>
                  <a:lnTo>
                    <a:pt x="326" y="714"/>
                  </a:lnTo>
                  <a:lnTo>
                    <a:pt x="323" y="715"/>
                  </a:lnTo>
                  <a:lnTo>
                    <a:pt x="322" y="715"/>
                  </a:lnTo>
                  <a:lnTo>
                    <a:pt x="319" y="712"/>
                  </a:lnTo>
                  <a:lnTo>
                    <a:pt x="312" y="707"/>
                  </a:lnTo>
                  <a:lnTo>
                    <a:pt x="302" y="699"/>
                  </a:lnTo>
                  <a:lnTo>
                    <a:pt x="289" y="688"/>
                  </a:lnTo>
                  <a:lnTo>
                    <a:pt x="272" y="678"/>
                  </a:lnTo>
                  <a:lnTo>
                    <a:pt x="253" y="669"/>
                  </a:lnTo>
                  <a:lnTo>
                    <a:pt x="232" y="663"/>
                  </a:lnTo>
                  <a:lnTo>
                    <a:pt x="210" y="659"/>
                  </a:lnTo>
                  <a:lnTo>
                    <a:pt x="185" y="661"/>
                  </a:lnTo>
                  <a:lnTo>
                    <a:pt x="170" y="661"/>
                  </a:lnTo>
                  <a:lnTo>
                    <a:pt x="155" y="658"/>
                  </a:lnTo>
                  <a:lnTo>
                    <a:pt x="140" y="651"/>
                  </a:lnTo>
                  <a:lnTo>
                    <a:pt x="125" y="643"/>
                  </a:lnTo>
                  <a:lnTo>
                    <a:pt x="113" y="635"/>
                  </a:lnTo>
                  <a:lnTo>
                    <a:pt x="103" y="629"/>
                  </a:lnTo>
                  <a:lnTo>
                    <a:pt x="98" y="625"/>
                  </a:lnTo>
                  <a:lnTo>
                    <a:pt x="91" y="622"/>
                  </a:lnTo>
                  <a:lnTo>
                    <a:pt x="82" y="618"/>
                  </a:lnTo>
                  <a:lnTo>
                    <a:pt x="69" y="613"/>
                  </a:lnTo>
                  <a:lnTo>
                    <a:pt x="56" y="609"/>
                  </a:lnTo>
                  <a:lnTo>
                    <a:pt x="42" y="606"/>
                  </a:lnTo>
                  <a:lnTo>
                    <a:pt x="30" y="605"/>
                  </a:lnTo>
                  <a:lnTo>
                    <a:pt x="20" y="607"/>
                  </a:lnTo>
                  <a:lnTo>
                    <a:pt x="13" y="616"/>
                  </a:lnTo>
                  <a:lnTo>
                    <a:pt x="11" y="618"/>
                  </a:lnTo>
                  <a:lnTo>
                    <a:pt x="7" y="616"/>
                  </a:lnTo>
                  <a:lnTo>
                    <a:pt x="4" y="609"/>
                  </a:lnTo>
                  <a:lnTo>
                    <a:pt x="1" y="602"/>
                  </a:lnTo>
                  <a:lnTo>
                    <a:pt x="0" y="595"/>
                  </a:lnTo>
                  <a:lnTo>
                    <a:pt x="0" y="594"/>
                  </a:lnTo>
                  <a:lnTo>
                    <a:pt x="0" y="547"/>
                  </a:lnTo>
                  <a:lnTo>
                    <a:pt x="0" y="543"/>
                  </a:lnTo>
                  <a:lnTo>
                    <a:pt x="2" y="535"/>
                  </a:lnTo>
                  <a:lnTo>
                    <a:pt x="8" y="526"/>
                  </a:lnTo>
                  <a:lnTo>
                    <a:pt x="17" y="515"/>
                  </a:lnTo>
                  <a:lnTo>
                    <a:pt x="23" y="509"/>
                  </a:lnTo>
                  <a:lnTo>
                    <a:pt x="28" y="498"/>
                  </a:lnTo>
                  <a:lnTo>
                    <a:pt x="37" y="483"/>
                  </a:lnTo>
                  <a:lnTo>
                    <a:pt x="45" y="467"/>
                  </a:lnTo>
                  <a:lnTo>
                    <a:pt x="53" y="448"/>
                  </a:lnTo>
                  <a:lnTo>
                    <a:pt x="60" y="429"/>
                  </a:lnTo>
                  <a:lnTo>
                    <a:pt x="68" y="411"/>
                  </a:lnTo>
                  <a:lnTo>
                    <a:pt x="73" y="396"/>
                  </a:lnTo>
                  <a:lnTo>
                    <a:pt x="79" y="382"/>
                  </a:lnTo>
                  <a:lnTo>
                    <a:pt x="82" y="374"/>
                  </a:lnTo>
                  <a:lnTo>
                    <a:pt x="83" y="371"/>
                  </a:lnTo>
                  <a:lnTo>
                    <a:pt x="203" y="167"/>
                  </a:lnTo>
                  <a:lnTo>
                    <a:pt x="236" y="21"/>
                  </a:lnTo>
                  <a:lnTo>
                    <a:pt x="279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1922"/>
            <p:cNvSpPr>
              <a:spLocks/>
            </p:cNvSpPr>
            <p:nvPr/>
          </p:nvSpPr>
          <p:spPr bwMode="auto">
            <a:xfrm rot="1114411" flipH="1">
              <a:off x="739924" y="4738083"/>
              <a:ext cx="172701" cy="97659"/>
            </a:xfrm>
            <a:custGeom>
              <a:avLst/>
              <a:gdLst>
                <a:gd name="T0" fmla="*/ 30163 w 309"/>
                <a:gd name="T1" fmla="*/ 0 h 178"/>
                <a:gd name="T2" fmla="*/ 47625 w 309"/>
                <a:gd name="T3" fmla="*/ 0 h 178"/>
                <a:gd name="T4" fmla="*/ 69850 w 309"/>
                <a:gd name="T5" fmla="*/ 6350 h 178"/>
                <a:gd name="T6" fmla="*/ 98425 w 309"/>
                <a:gd name="T7" fmla="*/ 14288 h 178"/>
                <a:gd name="T8" fmla="*/ 134938 w 309"/>
                <a:gd name="T9" fmla="*/ 31750 h 178"/>
                <a:gd name="T10" fmla="*/ 158750 w 309"/>
                <a:gd name="T11" fmla="*/ 44450 h 178"/>
                <a:gd name="T12" fmla="*/ 177800 w 309"/>
                <a:gd name="T13" fmla="*/ 58738 h 178"/>
                <a:gd name="T14" fmla="*/ 195263 w 309"/>
                <a:gd name="T15" fmla="*/ 66675 h 178"/>
                <a:gd name="T16" fmla="*/ 212725 w 309"/>
                <a:gd name="T17" fmla="*/ 74613 h 178"/>
                <a:gd name="T18" fmla="*/ 231775 w 309"/>
                <a:gd name="T19" fmla="*/ 79375 h 178"/>
                <a:gd name="T20" fmla="*/ 260350 w 309"/>
                <a:gd name="T21" fmla="*/ 82550 h 178"/>
                <a:gd name="T22" fmla="*/ 300038 w 309"/>
                <a:gd name="T23" fmla="*/ 82550 h 178"/>
                <a:gd name="T24" fmla="*/ 330200 w 309"/>
                <a:gd name="T25" fmla="*/ 85725 h 178"/>
                <a:gd name="T26" fmla="*/ 361950 w 309"/>
                <a:gd name="T27" fmla="*/ 92075 h 178"/>
                <a:gd name="T28" fmla="*/ 390525 w 309"/>
                <a:gd name="T29" fmla="*/ 106363 h 178"/>
                <a:gd name="T30" fmla="*/ 419100 w 309"/>
                <a:gd name="T31" fmla="*/ 120650 h 178"/>
                <a:gd name="T32" fmla="*/ 442913 w 309"/>
                <a:gd name="T33" fmla="*/ 136525 h 178"/>
                <a:gd name="T34" fmla="*/ 461963 w 309"/>
                <a:gd name="T35" fmla="*/ 150813 h 178"/>
                <a:gd name="T36" fmla="*/ 476250 w 309"/>
                <a:gd name="T37" fmla="*/ 161925 h 178"/>
                <a:gd name="T38" fmla="*/ 485775 w 309"/>
                <a:gd name="T39" fmla="*/ 169863 h 178"/>
                <a:gd name="T40" fmla="*/ 490538 w 309"/>
                <a:gd name="T41" fmla="*/ 174625 h 178"/>
                <a:gd name="T42" fmla="*/ 487363 w 309"/>
                <a:gd name="T43" fmla="*/ 179388 h 178"/>
                <a:gd name="T44" fmla="*/ 485775 w 309"/>
                <a:gd name="T45" fmla="*/ 192088 h 178"/>
                <a:gd name="T46" fmla="*/ 479425 w 309"/>
                <a:gd name="T47" fmla="*/ 207963 h 178"/>
                <a:gd name="T48" fmla="*/ 473075 w 309"/>
                <a:gd name="T49" fmla="*/ 228600 h 178"/>
                <a:gd name="T50" fmla="*/ 463550 w 309"/>
                <a:gd name="T51" fmla="*/ 249238 h 178"/>
                <a:gd name="T52" fmla="*/ 450850 w 309"/>
                <a:gd name="T53" fmla="*/ 266700 h 178"/>
                <a:gd name="T54" fmla="*/ 438150 w 309"/>
                <a:gd name="T55" fmla="*/ 279400 h 178"/>
                <a:gd name="T56" fmla="*/ 422275 w 309"/>
                <a:gd name="T57" fmla="*/ 282575 h 178"/>
                <a:gd name="T58" fmla="*/ 403225 w 309"/>
                <a:gd name="T59" fmla="*/ 279400 h 178"/>
                <a:gd name="T60" fmla="*/ 373063 w 309"/>
                <a:gd name="T61" fmla="*/ 268288 h 178"/>
                <a:gd name="T62" fmla="*/ 344488 w 309"/>
                <a:gd name="T63" fmla="*/ 263525 h 178"/>
                <a:gd name="T64" fmla="*/ 315913 w 309"/>
                <a:gd name="T65" fmla="*/ 263525 h 178"/>
                <a:gd name="T66" fmla="*/ 292100 w 309"/>
                <a:gd name="T67" fmla="*/ 266700 h 178"/>
                <a:gd name="T68" fmla="*/ 276225 w 309"/>
                <a:gd name="T69" fmla="*/ 268288 h 178"/>
                <a:gd name="T70" fmla="*/ 271463 w 309"/>
                <a:gd name="T71" fmla="*/ 269875 h 178"/>
                <a:gd name="T72" fmla="*/ 265113 w 309"/>
                <a:gd name="T73" fmla="*/ 269875 h 178"/>
                <a:gd name="T74" fmla="*/ 252413 w 309"/>
                <a:gd name="T75" fmla="*/ 269875 h 178"/>
                <a:gd name="T76" fmla="*/ 228600 w 309"/>
                <a:gd name="T77" fmla="*/ 269875 h 178"/>
                <a:gd name="T78" fmla="*/ 200025 w 309"/>
                <a:gd name="T79" fmla="*/ 263525 h 178"/>
                <a:gd name="T80" fmla="*/ 165100 w 309"/>
                <a:gd name="T81" fmla="*/ 252413 h 178"/>
                <a:gd name="T82" fmla="*/ 128588 w 309"/>
                <a:gd name="T83" fmla="*/ 234950 h 178"/>
                <a:gd name="T84" fmla="*/ 87313 w 309"/>
                <a:gd name="T85" fmla="*/ 209550 h 178"/>
                <a:gd name="T86" fmla="*/ 46038 w 309"/>
                <a:gd name="T87" fmla="*/ 169863 h 178"/>
                <a:gd name="T88" fmla="*/ 6350 w 309"/>
                <a:gd name="T89" fmla="*/ 120650 h 178"/>
                <a:gd name="T90" fmla="*/ 11113 w 309"/>
                <a:gd name="T91" fmla="*/ 95250 h 178"/>
                <a:gd name="T92" fmla="*/ 11113 w 309"/>
                <a:gd name="T93" fmla="*/ 71438 h 178"/>
                <a:gd name="T94" fmla="*/ 9525 w 309"/>
                <a:gd name="T95" fmla="*/ 49213 h 178"/>
                <a:gd name="T96" fmla="*/ 4763 w 309"/>
                <a:gd name="T97" fmla="*/ 31750 h 178"/>
                <a:gd name="T98" fmla="*/ 3175 w 309"/>
                <a:gd name="T99" fmla="*/ 20638 h 178"/>
                <a:gd name="T100" fmla="*/ 0 w 309"/>
                <a:gd name="T101" fmla="*/ 17463 h 178"/>
                <a:gd name="T102" fmla="*/ 0 w 309"/>
                <a:gd name="T103" fmla="*/ 14288 h 178"/>
                <a:gd name="T104" fmla="*/ 4763 w 309"/>
                <a:gd name="T105" fmla="*/ 11113 h 178"/>
                <a:gd name="T106" fmla="*/ 9525 w 309"/>
                <a:gd name="T107" fmla="*/ 6350 h 178"/>
                <a:gd name="T108" fmla="*/ 17463 w 309"/>
                <a:gd name="T109" fmla="*/ 1588 h 178"/>
                <a:gd name="T110" fmla="*/ 30163 w 309"/>
                <a:gd name="T111" fmla="*/ 0 h 17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9"/>
                <a:gd name="T169" fmla="*/ 0 h 178"/>
                <a:gd name="T170" fmla="*/ 309 w 309"/>
                <a:gd name="T171" fmla="*/ 178 h 17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9" h="178">
                  <a:moveTo>
                    <a:pt x="19" y="0"/>
                  </a:moveTo>
                  <a:lnTo>
                    <a:pt x="30" y="0"/>
                  </a:lnTo>
                  <a:lnTo>
                    <a:pt x="44" y="4"/>
                  </a:lnTo>
                  <a:lnTo>
                    <a:pt x="62" y="9"/>
                  </a:lnTo>
                  <a:lnTo>
                    <a:pt x="85" y="20"/>
                  </a:lnTo>
                  <a:lnTo>
                    <a:pt x="100" y="28"/>
                  </a:lnTo>
                  <a:lnTo>
                    <a:pt x="112" y="37"/>
                  </a:lnTo>
                  <a:lnTo>
                    <a:pt x="123" y="42"/>
                  </a:lnTo>
                  <a:lnTo>
                    <a:pt x="134" y="47"/>
                  </a:lnTo>
                  <a:lnTo>
                    <a:pt x="146" y="50"/>
                  </a:lnTo>
                  <a:lnTo>
                    <a:pt x="164" y="52"/>
                  </a:lnTo>
                  <a:lnTo>
                    <a:pt x="189" y="52"/>
                  </a:lnTo>
                  <a:lnTo>
                    <a:pt x="208" y="54"/>
                  </a:lnTo>
                  <a:lnTo>
                    <a:pt x="228" y="58"/>
                  </a:lnTo>
                  <a:lnTo>
                    <a:pt x="246" y="67"/>
                  </a:lnTo>
                  <a:lnTo>
                    <a:pt x="264" y="76"/>
                  </a:lnTo>
                  <a:lnTo>
                    <a:pt x="279" y="86"/>
                  </a:lnTo>
                  <a:lnTo>
                    <a:pt x="291" y="95"/>
                  </a:lnTo>
                  <a:lnTo>
                    <a:pt x="300" y="102"/>
                  </a:lnTo>
                  <a:lnTo>
                    <a:pt x="306" y="107"/>
                  </a:lnTo>
                  <a:lnTo>
                    <a:pt x="309" y="110"/>
                  </a:lnTo>
                  <a:lnTo>
                    <a:pt x="307" y="113"/>
                  </a:lnTo>
                  <a:lnTo>
                    <a:pt x="306" y="121"/>
                  </a:lnTo>
                  <a:lnTo>
                    <a:pt x="302" y="131"/>
                  </a:lnTo>
                  <a:lnTo>
                    <a:pt x="298" y="144"/>
                  </a:lnTo>
                  <a:lnTo>
                    <a:pt x="292" y="157"/>
                  </a:lnTo>
                  <a:lnTo>
                    <a:pt x="284" y="168"/>
                  </a:lnTo>
                  <a:lnTo>
                    <a:pt x="276" y="176"/>
                  </a:lnTo>
                  <a:lnTo>
                    <a:pt x="266" y="178"/>
                  </a:lnTo>
                  <a:lnTo>
                    <a:pt x="254" y="176"/>
                  </a:lnTo>
                  <a:lnTo>
                    <a:pt x="235" y="169"/>
                  </a:lnTo>
                  <a:lnTo>
                    <a:pt x="217" y="166"/>
                  </a:lnTo>
                  <a:lnTo>
                    <a:pt x="199" y="166"/>
                  </a:lnTo>
                  <a:lnTo>
                    <a:pt x="184" y="168"/>
                  </a:lnTo>
                  <a:lnTo>
                    <a:pt x="174" y="169"/>
                  </a:lnTo>
                  <a:lnTo>
                    <a:pt x="171" y="170"/>
                  </a:lnTo>
                  <a:lnTo>
                    <a:pt x="167" y="170"/>
                  </a:lnTo>
                  <a:lnTo>
                    <a:pt x="159" y="170"/>
                  </a:lnTo>
                  <a:lnTo>
                    <a:pt x="144" y="170"/>
                  </a:lnTo>
                  <a:lnTo>
                    <a:pt x="126" y="166"/>
                  </a:lnTo>
                  <a:lnTo>
                    <a:pt x="104" y="159"/>
                  </a:lnTo>
                  <a:lnTo>
                    <a:pt x="81" y="148"/>
                  </a:lnTo>
                  <a:lnTo>
                    <a:pt x="55" y="132"/>
                  </a:lnTo>
                  <a:lnTo>
                    <a:pt x="29" y="107"/>
                  </a:lnTo>
                  <a:lnTo>
                    <a:pt x="4" y="76"/>
                  </a:lnTo>
                  <a:lnTo>
                    <a:pt x="7" y="60"/>
                  </a:lnTo>
                  <a:lnTo>
                    <a:pt x="7" y="45"/>
                  </a:lnTo>
                  <a:lnTo>
                    <a:pt x="6" y="31"/>
                  </a:lnTo>
                  <a:lnTo>
                    <a:pt x="3" y="20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3" y="7"/>
                  </a:lnTo>
                  <a:lnTo>
                    <a:pt x="6" y="4"/>
                  </a:lnTo>
                  <a:lnTo>
                    <a:pt x="11" y="1"/>
                  </a:lnTo>
                  <a:lnTo>
                    <a:pt x="1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Calibri" pitchFamily="27" charset="0"/>
                <a:ea typeface="ＭＳ Ｐゴシック" pitchFamily="27" charset="-128"/>
                <a:cs typeface="ＭＳ Ｐゴシック" pitchFamily="27" charset="-128"/>
              </a:endParaRPr>
            </a:p>
          </p:txBody>
        </p:sp>
        <p:sp>
          <p:nvSpPr>
            <p:cNvPr id="13384" name="Freeform 1978"/>
            <p:cNvSpPr>
              <a:spLocks/>
            </p:cNvSpPr>
            <p:nvPr/>
          </p:nvSpPr>
          <p:spPr bwMode="auto">
            <a:xfrm rot="1114411" flipH="1">
              <a:off x="629560" y="4441909"/>
              <a:ext cx="126854" cy="239798"/>
            </a:xfrm>
            <a:custGeom>
              <a:avLst/>
              <a:gdLst>
                <a:gd name="T0" fmla="*/ 2147483647 w 228"/>
                <a:gd name="T1" fmla="*/ 0 h 431"/>
                <a:gd name="T2" fmla="*/ 2147483647 w 228"/>
                <a:gd name="T3" fmla="*/ 2147483647 h 431"/>
                <a:gd name="T4" fmla="*/ 2147483647 w 228"/>
                <a:gd name="T5" fmla="*/ 2147483647 h 431"/>
                <a:gd name="T6" fmla="*/ 2147483647 w 228"/>
                <a:gd name="T7" fmla="*/ 2147483647 h 431"/>
                <a:gd name="T8" fmla="*/ 2147483647 w 228"/>
                <a:gd name="T9" fmla="*/ 2147483647 h 431"/>
                <a:gd name="T10" fmla="*/ 2147483647 w 228"/>
                <a:gd name="T11" fmla="*/ 2147483647 h 431"/>
                <a:gd name="T12" fmla="*/ 2147483647 w 228"/>
                <a:gd name="T13" fmla="*/ 2147483647 h 431"/>
                <a:gd name="T14" fmla="*/ 2147483647 w 228"/>
                <a:gd name="T15" fmla="*/ 2147483647 h 431"/>
                <a:gd name="T16" fmla="*/ 2147483647 w 228"/>
                <a:gd name="T17" fmla="*/ 2147483647 h 431"/>
                <a:gd name="T18" fmla="*/ 2147483647 w 228"/>
                <a:gd name="T19" fmla="*/ 2147483647 h 431"/>
                <a:gd name="T20" fmla="*/ 2147483647 w 228"/>
                <a:gd name="T21" fmla="*/ 2147483647 h 431"/>
                <a:gd name="T22" fmla="*/ 2147483647 w 228"/>
                <a:gd name="T23" fmla="*/ 2147483647 h 431"/>
                <a:gd name="T24" fmla="*/ 2147483647 w 228"/>
                <a:gd name="T25" fmla="*/ 2147483647 h 431"/>
                <a:gd name="T26" fmla="*/ 2147483647 w 228"/>
                <a:gd name="T27" fmla="*/ 2147483647 h 431"/>
                <a:gd name="T28" fmla="*/ 2147483647 w 228"/>
                <a:gd name="T29" fmla="*/ 2147483647 h 431"/>
                <a:gd name="T30" fmla="*/ 2147483647 w 228"/>
                <a:gd name="T31" fmla="*/ 2147483647 h 431"/>
                <a:gd name="T32" fmla="*/ 2147483647 w 228"/>
                <a:gd name="T33" fmla="*/ 2147483647 h 431"/>
                <a:gd name="T34" fmla="*/ 2147483647 w 228"/>
                <a:gd name="T35" fmla="*/ 2147483647 h 431"/>
                <a:gd name="T36" fmla="*/ 2147483647 w 228"/>
                <a:gd name="T37" fmla="*/ 2147483647 h 431"/>
                <a:gd name="T38" fmla="*/ 2147483647 w 228"/>
                <a:gd name="T39" fmla="*/ 2147483647 h 431"/>
                <a:gd name="T40" fmla="*/ 2147483647 w 228"/>
                <a:gd name="T41" fmla="*/ 2147483647 h 431"/>
                <a:gd name="T42" fmla="*/ 2147483647 w 228"/>
                <a:gd name="T43" fmla="*/ 2147483647 h 431"/>
                <a:gd name="T44" fmla="*/ 2147483647 w 228"/>
                <a:gd name="T45" fmla="*/ 2147483647 h 431"/>
                <a:gd name="T46" fmla="*/ 2147483647 w 228"/>
                <a:gd name="T47" fmla="*/ 2147483647 h 431"/>
                <a:gd name="T48" fmla="*/ 2147483647 w 228"/>
                <a:gd name="T49" fmla="*/ 2147483647 h 431"/>
                <a:gd name="T50" fmla="*/ 2147483647 w 228"/>
                <a:gd name="T51" fmla="*/ 2147483647 h 431"/>
                <a:gd name="T52" fmla="*/ 2147483647 w 228"/>
                <a:gd name="T53" fmla="*/ 2147483647 h 431"/>
                <a:gd name="T54" fmla="*/ 2147483647 w 228"/>
                <a:gd name="T55" fmla="*/ 2147483647 h 431"/>
                <a:gd name="T56" fmla="*/ 2147483647 w 228"/>
                <a:gd name="T57" fmla="*/ 2147483647 h 431"/>
                <a:gd name="T58" fmla="*/ 2147483647 w 228"/>
                <a:gd name="T59" fmla="*/ 2147483647 h 431"/>
                <a:gd name="T60" fmla="*/ 2147483647 w 228"/>
                <a:gd name="T61" fmla="*/ 2147483647 h 431"/>
                <a:gd name="T62" fmla="*/ 2147483647 w 228"/>
                <a:gd name="T63" fmla="*/ 2147483647 h 431"/>
                <a:gd name="T64" fmla="*/ 2147483647 w 228"/>
                <a:gd name="T65" fmla="*/ 2147483647 h 431"/>
                <a:gd name="T66" fmla="*/ 2147483647 w 228"/>
                <a:gd name="T67" fmla="*/ 2147483647 h 431"/>
                <a:gd name="T68" fmla="*/ 2147483647 w 228"/>
                <a:gd name="T69" fmla="*/ 2147483647 h 431"/>
                <a:gd name="T70" fmla="*/ 0 w 228"/>
                <a:gd name="T71" fmla="*/ 2147483647 h 431"/>
                <a:gd name="T72" fmla="*/ 2147483647 w 228"/>
                <a:gd name="T73" fmla="*/ 2147483647 h 431"/>
                <a:gd name="T74" fmla="*/ 2147483647 w 228"/>
                <a:gd name="T75" fmla="*/ 2147483647 h 431"/>
                <a:gd name="T76" fmla="*/ 2147483647 w 228"/>
                <a:gd name="T77" fmla="*/ 2147483647 h 431"/>
                <a:gd name="T78" fmla="*/ 2147483647 w 228"/>
                <a:gd name="T79" fmla="*/ 2147483647 h 431"/>
                <a:gd name="T80" fmla="*/ 2147483647 w 228"/>
                <a:gd name="T81" fmla="*/ 2147483647 h 431"/>
                <a:gd name="T82" fmla="*/ 2147483647 w 228"/>
                <a:gd name="T83" fmla="*/ 2147483647 h 431"/>
                <a:gd name="T84" fmla="*/ 2147483647 w 228"/>
                <a:gd name="T85" fmla="*/ 2147483647 h 431"/>
                <a:gd name="T86" fmla="*/ 2147483647 w 228"/>
                <a:gd name="T87" fmla="*/ 2147483647 h 431"/>
                <a:gd name="T88" fmla="*/ 2147483647 w 228"/>
                <a:gd name="T89" fmla="*/ 2147483647 h 431"/>
                <a:gd name="T90" fmla="*/ 2147483647 w 228"/>
                <a:gd name="T91" fmla="*/ 2147483647 h 431"/>
                <a:gd name="T92" fmla="*/ 2147483647 w 228"/>
                <a:gd name="T93" fmla="*/ 2147483647 h 431"/>
                <a:gd name="T94" fmla="*/ 2147483647 w 228"/>
                <a:gd name="T95" fmla="*/ 2147483647 h 431"/>
                <a:gd name="T96" fmla="*/ 2147483647 w 228"/>
                <a:gd name="T97" fmla="*/ 2147483647 h 431"/>
                <a:gd name="T98" fmla="*/ 2147483647 w 228"/>
                <a:gd name="T99" fmla="*/ 2147483647 h 431"/>
                <a:gd name="T100" fmla="*/ 2147483647 w 228"/>
                <a:gd name="T101" fmla="*/ 2147483647 h 431"/>
                <a:gd name="T102" fmla="*/ 2147483647 w 228"/>
                <a:gd name="T103" fmla="*/ 2147483647 h 431"/>
                <a:gd name="T104" fmla="*/ 2147483647 w 228"/>
                <a:gd name="T105" fmla="*/ 2147483647 h 431"/>
                <a:gd name="T106" fmla="*/ 2147483647 w 228"/>
                <a:gd name="T107" fmla="*/ 2147483647 h 431"/>
                <a:gd name="T108" fmla="*/ 2147483647 w 228"/>
                <a:gd name="T109" fmla="*/ 2147483647 h 431"/>
                <a:gd name="T110" fmla="*/ 2147483647 w 228"/>
                <a:gd name="T111" fmla="*/ 0 h 43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28"/>
                <a:gd name="T169" fmla="*/ 0 h 431"/>
                <a:gd name="T170" fmla="*/ 228 w 228"/>
                <a:gd name="T171" fmla="*/ 431 h 43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28" h="431">
                  <a:moveTo>
                    <a:pt x="157" y="0"/>
                  </a:moveTo>
                  <a:lnTo>
                    <a:pt x="160" y="1"/>
                  </a:lnTo>
                  <a:lnTo>
                    <a:pt x="167" y="5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8" y="35"/>
                  </a:lnTo>
                  <a:lnTo>
                    <a:pt x="209" y="53"/>
                  </a:lnTo>
                  <a:lnTo>
                    <a:pt x="217" y="72"/>
                  </a:lnTo>
                  <a:lnTo>
                    <a:pt x="224" y="97"/>
                  </a:lnTo>
                  <a:lnTo>
                    <a:pt x="228" y="124"/>
                  </a:lnTo>
                  <a:lnTo>
                    <a:pt x="227" y="154"/>
                  </a:lnTo>
                  <a:lnTo>
                    <a:pt x="225" y="176"/>
                  </a:lnTo>
                  <a:lnTo>
                    <a:pt x="222" y="194"/>
                  </a:lnTo>
                  <a:lnTo>
                    <a:pt x="220" y="206"/>
                  </a:lnTo>
                  <a:lnTo>
                    <a:pt x="216" y="214"/>
                  </a:lnTo>
                  <a:lnTo>
                    <a:pt x="210" y="220"/>
                  </a:lnTo>
                  <a:lnTo>
                    <a:pt x="206" y="224"/>
                  </a:lnTo>
                  <a:lnTo>
                    <a:pt x="203" y="226"/>
                  </a:lnTo>
                  <a:lnTo>
                    <a:pt x="199" y="232"/>
                  </a:lnTo>
                  <a:lnTo>
                    <a:pt x="192" y="243"/>
                  </a:lnTo>
                  <a:lnTo>
                    <a:pt x="184" y="256"/>
                  </a:lnTo>
                  <a:lnTo>
                    <a:pt x="173" y="273"/>
                  </a:lnTo>
                  <a:lnTo>
                    <a:pt x="160" y="288"/>
                  </a:lnTo>
                  <a:lnTo>
                    <a:pt x="145" y="301"/>
                  </a:lnTo>
                  <a:lnTo>
                    <a:pt x="127" y="312"/>
                  </a:lnTo>
                  <a:lnTo>
                    <a:pt x="116" y="330"/>
                  </a:lnTo>
                  <a:lnTo>
                    <a:pt x="101" y="348"/>
                  </a:lnTo>
                  <a:lnTo>
                    <a:pt x="87" y="365"/>
                  </a:lnTo>
                  <a:lnTo>
                    <a:pt x="71" y="382"/>
                  </a:lnTo>
                  <a:lnTo>
                    <a:pt x="56" y="397"/>
                  </a:lnTo>
                  <a:lnTo>
                    <a:pt x="42" y="411"/>
                  </a:lnTo>
                  <a:lnTo>
                    <a:pt x="29" y="421"/>
                  </a:lnTo>
                  <a:lnTo>
                    <a:pt x="18" y="428"/>
                  </a:lnTo>
                  <a:lnTo>
                    <a:pt x="8" y="431"/>
                  </a:lnTo>
                  <a:lnTo>
                    <a:pt x="3" y="430"/>
                  </a:lnTo>
                  <a:lnTo>
                    <a:pt x="0" y="423"/>
                  </a:lnTo>
                  <a:lnTo>
                    <a:pt x="2" y="413"/>
                  </a:lnTo>
                  <a:lnTo>
                    <a:pt x="7" y="405"/>
                  </a:lnTo>
                  <a:lnTo>
                    <a:pt x="12" y="397"/>
                  </a:lnTo>
                  <a:lnTo>
                    <a:pt x="18" y="390"/>
                  </a:lnTo>
                  <a:lnTo>
                    <a:pt x="19" y="389"/>
                  </a:lnTo>
                  <a:lnTo>
                    <a:pt x="134" y="202"/>
                  </a:lnTo>
                  <a:lnTo>
                    <a:pt x="135" y="202"/>
                  </a:lnTo>
                  <a:lnTo>
                    <a:pt x="139" y="199"/>
                  </a:lnTo>
                  <a:lnTo>
                    <a:pt x="145" y="194"/>
                  </a:lnTo>
                  <a:lnTo>
                    <a:pt x="150" y="185"/>
                  </a:lnTo>
                  <a:lnTo>
                    <a:pt x="157" y="174"/>
                  </a:lnTo>
                  <a:lnTo>
                    <a:pt x="162" y="159"/>
                  </a:lnTo>
                  <a:lnTo>
                    <a:pt x="167" y="140"/>
                  </a:lnTo>
                  <a:lnTo>
                    <a:pt x="169" y="116"/>
                  </a:lnTo>
                  <a:lnTo>
                    <a:pt x="169" y="84"/>
                  </a:lnTo>
                  <a:lnTo>
                    <a:pt x="167" y="56"/>
                  </a:lnTo>
                  <a:lnTo>
                    <a:pt x="164" y="33"/>
                  </a:lnTo>
                  <a:lnTo>
                    <a:pt x="161" y="15"/>
                  </a:lnTo>
                  <a:lnTo>
                    <a:pt x="158" y="4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85" name="Freeform 1979"/>
            <p:cNvSpPr>
              <a:spLocks/>
            </p:cNvSpPr>
            <p:nvPr/>
          </p:nvSpPr>
          <p:spPr bwMode="auto">
            <a:xfrm rot="1114411" flipH="1">
              <a:off x="514956" y="4431175"/>
              <a:ext cx="272068" cy="362757"/>
            </a:xfrm>
            <a:custGeom>
              <a:avLst/>
              <a:gdLst>
                <a:gd name="T0" fmla="*/ 219045341 w 489"/>
                <a:gd name="T1" fmla="*/ 0 h 652"/>
                <a:gd name="T2" fmla="*/ 238476782 w 489"/>
                <a:gd name="T3" fmla="*/ 4416511 h 652"/>
                <a:gd name="T4" fmla="*/ 269390717 w 489"/>
                <a:gd name="T5" fmla="*/ 14131944 h 652"/>
                <a:gd name="T6" fmla="*/ 305603580 w 489"/>
                <a:gd name="T7" fmla="*/ 32680400 h 652"/>
                <a:gd name="T8" fmla="*/ 339166979 w 489"/>
                <a:gd name="T9" fmla="*/ 60060764 h 652"/>
                <a:gd name="T10" fmla="*/ 365664399 w 489"/>
                <a:gd name="T11" fmla="*/ 98923611 h 652"/>
                <a:gd name="T12" fmla="*/ 375380398 w 489"/>
                <a:gd name="T13" fmla="*/ 151918403 h 652"/>
                <a:gd name="T14" fmla="*/ 398344829 w 489"/>
                <a:gd name="T15" fmla="*/ 197847223 h 652"/>
                <a:gd name="T16" fmla="*/ 408060272 w 489"/>
                <a:gd name="T17" fmla="*/ 227877605 h 652"/>
                <a:gd name="T18" fmla="*/ 408943797 w 489"/>
                <a:gd name="T19" fmla="*/ 244659567 h 652"/>
                <a:gd name="T20" fmla="*/ 408943797 w 489"/>
                <a:gd name="T21" fmla="*/ 249075521 h 652"/>
                <a:gd name="T22" fmla="*/ 414243281 w 489"/>
                <a:gd name="T23" fmla="*/ 251725539 h 652"/>
                <a:gd name="T24" fmla="*/ 422192229 w 489"/>
                <a:gd name="T25" fmla="*/ 261440973 h 652"/>
                <a:gd name="T26" fmla="*/ 429258208 w 489"/>
                <a:gd name="T27" fmla="*/ 279105903 h 652"/>
                <a:gd name="T28" fmla="*/ 431024703 w 489"/>
                <a:gd name="T29" fmla="*/ 307369792 h 652"/>
                <a:gd name="T30" fmla="*/ 419542765 w 489"/>
                <a:gd name="T31" fmla="*/ 347999133 h 652"/>
                <a:gd name="T32" fmla="*/ 391278850 w 489"/>
                <a:gd name="T33" fmla="*/ 411592883 h 652"/>
                <a:gd name="T34" fmla="*/ 351532442 w 489"/>
                <a:gd name="T35" fmla="*/ 477836651 h 652"/>
                <a:gd name="T36" fmla="*/ 302954116 w 489"/>
                <a:gd name="T37" fmla="*/ 535247397 h 652"/>
                <a:gd name="T38" fmla="*/ 249075750 w 489"/>
                <a:gd name="T39" fmla="*/ 572343751 h 652"/>
                <a:gd name="T40" fmla="*/ 220811835 w 489"/>
                <a:gd name="T41" fmla="*/ 575876738 h 652"/>
                <a:gd name="T42" fmla="*/ 198730930 w 489"/>
                <a:gd name="T43" fmla="*/ 566161304 h 652"/>
                <a:gd name="T44" fmla="*/ 177532994 w 489"/>
                <a:gd name="T45" fmla="*/ 558211807 h 652"/>
                <a:gd name="T46" fmla="*/ 159868047 w 489"/>
                <a:gd name="T47" fmla="*/ 544963387 h 652"/>
                <a:gd name="T48" fmla="*/ 137786585 w 489"/>
                <a:gd name="T49" fmla="*/ 533480904 h 652"/>
                <a:gd name="T50" fmla="*/ 109522670 w 489"/>
                <a:gd name="T51" fmla="*/ 533480904 h 652"/>
                <a:gd name="T52" fmla="*/ 83025250 w 489"/>
                <a:gd name="T53" fmla="*/ 531714411 h 652"/>
                <a:gd name="T54" fmla="*/ 53878366 w 489"/>
                <a:gd name="T55" fmla="*/ 519348960 h 652"/>
                <a:gd name="T56" fmla="*/ 27380946 w 489"/>
                <a:gd name="T57" fmla="*/ 502567554 h 652"/>
                <a:gd name="T58" fmla="*/ 7065979 w 489"/>
                <a:gd name="T59" fmla="*/ 486669116 h 652"/>
                <a:gd name="T60" fmla="*/ 0 w 489"/>
                <a:gd name="T61" fmla="*/ 480486112 h 652"/>
                <a:gd name="T62" fmla="*/ 18548472 w 489"/>
                <a:gd name="T63" fmla="*/ 461054689 h 652"/>
                <a:gd name="T64" fmla="*/ 34446925 w 489"/>
                <a:gd name="T65" fmla="*/ 449572762 h 652"/>
                <a:gd name="T66" fmla="*/ 56527830 w 489"/>
                <a:gd name="T67" fmla="*/ 430141338 h 652"/>
                <a:gd name="T68" fmla="*/ 76842797 w 489"/>
                <a:gd name="T69" fmla="*/ 407176928 h 652"/>
                <a:gd name="T70" fmla="*/ 83025250 w 489"/>
                <a:gd name="T71" fmla="*/ 383328994 h 652"/>
                <a:gd name="T72" fmla="*/ 83908776 w 489"/>
                <a:gd name="T73" fmla="*/ 363897570 h 652"/>
                <a:gd name="T74" fmla="*/ 253492265 w 489"/>
                <a:gd name="T75" fmla="*/ 146618924 h 6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9"/>
                <a:gd name="T115" fmla="*/ 0 h 652"/>
                <a:gd name="T116" fmla="*/ 489 w 489"/>
                <a:gd name="T117" fmla="*/ 652 h 65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9" h="652">
                  <a:moveTo>
                    <a:pt x="245" y="0"/>
                  </a:moveTo>
                  <a:lnTo>
                    <a:pt x="248" y="0"/>
                  </a:lnTo>
                  <a:lnTo>
                    <a:pt x="257" y="3"/>
                  </a:lnTo>
                  <a:lnTo>
                    <a:pt x="270" y="5"/>
                  </a:lnTo>
                  <a:lnTo>
                    <a:pt x="286" y="9"/>
                  </a:lnTo>
                  <a:lnTo>
                    <a:pt x="305" y="16"/>
                  </a:lnTo>
                  <a:lnTo>
                    <a:pt x="325" y="24"/>
                  </a:lnTo>
                  <a:lnTo>
                    <a:pt x="346" y="37"/>
                  </a:lnTo>
                  <a:lnTo>
                    <a:pt x="366" y="50"/>
                  </a:lnTo>
                  <a:lnTo>
                    <a:pt x="384" y="68"/>
                  </a:lnTo>
                  <a:lnTo>
                    <a:pt x="400" y="89"/>
                  </a:lnTo>
                  <a:lnTo>
                    <a:pt x="414" y="112"/>
                  </a:lnTo>
                  <a:lnTo>
                    <a:pt x="422" y="140"/>
                  </a:lnTo>
                  <a:lnTo>
                    <a:pt x="425" y="172"/>
                  </a:lnTo>
                  <a:lnTo>
                    <a:pt x="440" y="200"/>
                  </a:lnTo>
                  <a:lnTo>
                    <a:pt x="451" y="224"/>
                  </a:lnTo>
                  <a:lnTo>
                    <a:pt x="458" y="243"/>
                  </a:lnTo>
                  <a:lnTo>
                    <a:pt x="462" y="258"/>
                  </a:lnTo>
                  <a:lnTo>
                    <a:pt x="463" y="269"/>
                  </a:lnTo>
                  <a:lnTo>
                    <a:pt x="463" y="277"/>
                  </a:lnTo>
                  <a:lnTo>
                    <a:pt x="463" y="281"/>
                  </a:lnTo>
                  <a:lnTo>
                    <a:pt x="463" y="282"/>
                  </a:lnTo>
                  <a:lnTo>
                    <a:pt x="465" y="282"/>
                  </a:lnTo>
                  <a:lnTo>
                    <a:pt x="469" y="285"/>
                  </a:lnTo>
                  <a:lnTo>
                    <a:pt x="473" y="289"/>
                  </a:lnTo>
                  <a:lnTo>
                    <a:pt x="478" y="296"/>
                  </a:lnTo>
                  <a:lnTo>
                    <a:pt x="482" y="304"/>
                  </a:lnTo>
                  <a:lnTo>
                    <a:pt x="486" y="316"/>
                  </a:lnTo>
                  <a:lnTo>
                    <a:pt x="489" y="330"/>
                  </a:lnTo>
                  <a:lnTo>
                    <a:pt x="488" y="348"/>
                  </a:lnTo>
                  <a:lnTo>
                    <a:pt x="484" y="370"/>
                  </a:lnTo>
                  <a:lnTo>
                    <a:pt x="475" y="394"/>
                  </a:lnTo>
                  <a:lnTo>
                    <a:pt x="460" y="430"/>
                  </a:lnTo>
                  <a:lnTo>
                    <a:pt x="443" y="466"/>
                  </a:lnTo>
                  <a:lnTo>
                    <a:pt x="421" y="505"/>
                  </a:lnTo>
                  <a:lnTo>
                    <a:pt x="398" y="541"/>
                  </a:lnTo>
                  <a:lnTo>
                    <a:pt x="372" y="576"/>
                  </a:lnTo>
                  <a:lnTo>
                    <a:pt x="343" y="606"/>
                  </a:lnTo>
                  <a:lnTo>
                    <a:pt x="313" y="630"/>
                  </a:lnTo>
                  <a:lnTo>
                    <a:pt x="282" y="648"/>
                  </a:lnTo>
                  <a:lnTo>
                    <a:pt x="265" y="652"/>
                  </a:lnTo>
                  <a:lnTo>
                    <a:pt x="250" y="652"/>
                  </a:lnTo>
                  <a:lnTo>
                    <a:pt x="237" y="648"/>
                  </a:lnTo>
                  <a:lnTo>
                    <a:pt x="225" y="641"/>
                  </a:lnTo>
                  <a:lnTo>
                    <a:pt x="211" y="636"/>
                  </a:lnTo>
                  <a:lnTo>
                    <a:pt x="201" y="632"/>
                  </a:lnTo>
                  <a:lnTo>
                    <a:pt x="192" y="625"/>
                  </a:lnTo>
                  <a:lnTo>
                    <a:pt x="181" y="617"/>
                  </a:lnTo>
                  <a:lnTo>
                    <a:pt x="170" y="610"/>
                  </a:lnTo>
                  <a:lnTo>
                    <a:pt x="156" y="604"/>
                  </a:lnTo>
                  <a:lnTo>
                    <a:pt x="141" y="603"/>
                  </a:lnTo>
                  <a:lnTo>
                    <a:pt x="124" y="604"/>
                  </a:lnTo>
                  <a:lnTo>
                    <a:pt x="109" y="606"/>
                  </a:lnTo>
                  <a:lnTo>
                    <a:pt x="94" y="602"/>
                  </a:lnTo>
                  <a:lnTo>
                    <a:pt x="77" y="596"/>
                  </a:lnTo>
                  <a:lnTo>
                    <a:pt x="61" y="588"/>
                  </a:lnTo>
                  <a:lnTo>
                    <a:pt x="45" y="578"/>
                  </a:lnTo>
                  <a:lnTo>
                    <a:pt x="31" y="569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2" y="546"/>
                  </a:lnTo>
                  <a:lnTo>
                    <a:pt x="0" y="544"/>
                  </a:lnTo>
                  <a:lnTo>
                    <a:pt x="19" y="524"/>
                  </a:lnTo>
                  <a:lnTo>
                    <a:pt x="21" y="522"/>
                  </a:lnTo>
                  <a:lnTo>
                    <a:pt x="30" y="517"/>
                  </a:lnTo>
                  <a:lnTo>
                    <a:pt x="39" y="509"/>
                  </a:lnTo>
                  <a:lnTo>
                    <a:pt x="51" y="499"/>
                  </a:lnTo>
                  <a:lnTo>
                    <a:pt x="64" y="487"/>
                  </a:lnTo>
                  <a:lnTo>
                    <a:pt x="77" y="475"/>
                  </a:lnTo>
                  <a:lnTo>
                    <a:pt x="87" y="461"/>
                  </a:lnTo>
                  <a:lnTo>
                    <a:pt x="95" y="449"/>
                  </a:lnTo>
                  <a:lnTo>
                    <a:pt x="94" y="434"/>
                  </a:lnTo>
                  <a:lnTo>
                    <a:pt x="94" y="421"/>
                  </a:lnTo>
                  <a:lnTo>
                    <a:pt x="95" y="412"/>
                  </a:lnTo>
                  <a:lnTo>
                    <a:pt x="95" y="408"/>
                  </a:lnTo>
                  <a:lnTo>
                    <a:pt x="287" y="166"/>
                  </a:lnTo>
                  <a:lnTo>
                    <a:pt x="245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86" name="Freeform 2057"/>
            <p:cNvSpPr>
              <a:spLocks/>
            </p:cNvSpPr>
            <p:nvPr/>
          </p:nvSpPr>
          <p:spPr bwMode="auto">
            <a:xfrm rot="1114411" flipH="1">
              <a:off x="411195" y="4531985"/>
              <a:ext cx="190280" cy="332156"/>
            </a:xfrm>
            <a:custGeom>
              <a:avLst/>
              <a:gdLst>
                <a:gd name="T0" fmla="*/ 202263189 w 342"/>
                <a:gd name="T1" fmla="*/ 1766491 h 597"/>
                <a:gd name="T2" fmla="*/ 228760514 w 342"/>
                <a:gd name="T3" fmla="*/ 3532983 h 597"/>
                <a:gd name="T4" fmla="*/ 255257838 w 342"/>
                <a:gd name="T5" fmla="*/ 12365439 h 597"/>
                <a:gd name="T6" fmla="*/ 278222186 w 342"/>
                <a:gd name="T7" fmla="*/ 25614402 h 597"/>
                <a:gd name="T8" fmla="*/ 295887069 w 342"/>
                <a:gd name="T9" fmla="*/ 48578789 h 597"/>
                <a:gd name="T10" fmla="*/ 302069500 w 342"/>
                <a:gd name="T11" fmla="*/ 81258599 h 597"/>
                <a:gd name="T12" fmla="*/ 295003547 w 342"/>
                <a:gd name="T13" fmla="*/ 124537914 h 597"/>
                <a:gd name="T14" fmla="*/ 282638129 w 342"/>
                <a:gd name="T15" fmla="*/ 172233179 h 597"/>
                <a:gd name="T16" fmla="*/ 274689209 w 342"/>
                <a:gd name="T17" fmla="*/ 207563005 h 597"/>
                <a:gd name="T18" fmla="*/ 264973246 w 342"/>
                <a:gd name="T19" fmla="*/ 230527392 h 597"/>
                <a:gd name="T20" fmla="*/ 259673781 w 342"/>
                <a:gd name="T21" fmla="*/ 238476324 h 597"/>
                <a:gd name="T22" fmla="*/ 265856768 w 342"/>
                <a:gd name="T23" fmla="*/ 247308781 h 597"/>
                <a:gd name="T24" fmla="*/ 275572175 w 342"/>
                <a:gd name="T25" fmla="*/ 271156691 h 597"/>
                <a:gd name="T26" fmla="*/ 278222186 w 342"/>
                <a:gd name="T27" fmla="*/ 305602993 h 597"/>
                <a:gd name="T28" fmla="*/ 269389745 w 342"/>
                <a:gd name="T29" fmla="*/ 345349325 h 597"/>
                <a:gd name="T30" fmla="*/ 272922721 w 342"/>
                <a:gd name="T31" fmla="*/ 375379677 h 597"/>
                <a:gd name="T32" fmla="*/ 282638129 w 342"/>
                <a:gd name="T33" fmla="*/ 393044590 h 597"/>
                <a:gd name="T34" fmla="*/ 287937594 w 342"/>
                <a:gd name="T35" fmla="*/ 399227031 h 597"/>
                <a:gd name="T36" fmla="*/ 291470570 w 342"/>
                <a:gd name="T37" fmla="*/ 411592471 h 597"/>
                <a:gd name="T38" fmla="*/ 295003547 w 342"/>
                <a:gd name="T39" fmla="*/ 439856331 h 597"/>
                <a:gd name="T40" fmla="*/ 288821116 w 342"/>
                <a:gd name="T41" fmla="*/ 481369155 h 597"/>
                <a:gd name="T42" fmla="*/ 264973246 w 342"/>
                <a:gd name="T43" fmla="*/ 527297928 h 597"/>
                <a:gd name="T44" fmla="*/ 251724862 w 342"/>
                <a:gd name="T45" fmla="*/ 504333541 h 597"/>
                <a:gd name="T46" fmla="*/ 233176456 w 342"/>
                <a:gd name="T47" fmla="*/ 496384052 h 597"/>
                <a:gd name="T48" fmla="*/ 219044550 w 342"/>
                <a:gd name="T49" fmla="*/ 496384052 h 597"/>
                <a:gd name="T50" fmla="*/ 218161584 w 342"/>
                <a:gd name="T51" fmla="*/ 494617561 h 597"/>
                <a:gd name="T52" fmla="*/ 218161584 w 342"/>
                <a:gd name="T53" fmla="*/ 476069681 h 597"/>
                <a:gd name="T54" fmla="*/ 212862119 w 342"/>
                <a:gd name="T55" fmla="*/ 448688788 h 597"/>
                <a:gd name="T56" fmla="*/ 196080202 w 342"/>
                <a:gd name="T57" fmla="*/ 416891944 h 597"/>
                <a:gd name="T58" fmla="*/ 161633958 w 342"/>
                <a:gd name="T59" fmla="*/ 390394575 h 597"/>
                <a:gd name="T60" fmla="*/ 129837169 w 342"/>
                <a:gd name="T61" fmla="*/ 377146169 h 597"/>
                <a:gd name="T62" fmla="*/ 99806867 w 342"/>
                <a:gd name="T63" fmla="*/ 370080203 h 597"/>
                <a:gd name="T64" fmla="*/ 75958997 w 342"/>
                <a:gd name="T65" fmla="*/ 372729662 h 597"/>
                <a:gd name="T66" fmla="*/ 56527626 w 342"/>
                <a:gd name="T67" fmla="*/ 373613186 h 597"/>
                <a:gd name="T68" fmla="*/ 30913824 w 342"/>
                <a:gd name="T69" fmla="*/ 365663697 h 597"/>
                <a:gd name="T70" fmla="*/ 9715964 w 342"/>
                <a:gd name="T71" fmla="*/ 355948273 h 597"/>
                <a:gd name="T72" fmla="*/ 0 w 342"/>
                <a:gd name="T73" fmla="*/ 352415290 h 597"/>
                <a:gd name="T74" fmla="*/ 7065953 w 342"/>
                <a:gd name="T75" fmla="*/ 349765275 h 597"/>
                <a:gd name="T76" fmla="*/ 26497325 w 342"/>
                <a:gd name="T77" fmla="*/ 340932819 h 597"/>
                <a:gd name="T78" fmla="*/ 53878171 w 342"/>
                <a:gd name="T79" fmla="*/ 320618447 h 597"/>
                <a:gd name="T80" fmla="*/ 89207938 w 342"/>
                <a:gd name="T81" fmla="*/ 283522130 h 597"/>
                <a:gd name="T82" fmla="*/ 128953646 w 342"/>
                <a:gd name="T83" fmla="*/ 226994409 h 597"/>
                <a:gd name="T84" fmla="*/ 169582877 w 342"/>
                <a:gd name="T85" fmla="*/ 144852286 h 597"/>
                <a:gd name="T86" fmla="*/ 195197236 w 342"/>
                <a:gd name="T87" fmla="*/ 77725617 h 597"/>
                <a:gd name="T88" fmla="*/ 192547225 w 342"/>
                <a:gd name="T89" fmla="*/ 51228247 h 597"/>
                <a:gd name="T90" fmla="*/ 181948295 w 342"/>
                <a:gd name="T91" fmla="*/ 32680367 h 597"/>
                <a:gd name="T92" fmla="*/ 171349365 w 342"/>
                <a:gd name="T93" fmla="*/ 24730878 h 597"/>
                <a:gd name="T94" fmla="*/ 168699911 w 342"/>
                <a:gd name="T95" fmla="*/ 1766491 h 597"/>
                <a:gd name="T96" fmla="*/ 174882342 w 342"/>
                <a:gd name="T97" fmla="*/ 1766491 h 597"/>
                <a:gd name="T98" fmla="*/ 191664259 w 342"/>
                <a:gd name="T99" fmla="*/ 0 h 59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42"/>
                <a:gd name="T151" fmla="*/ 0 h 597"/>
                <a:gd name="T152" fmla="*/ 342 w 342"/>
                <a:gd name="T153" fmla="*/ 597 h 59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42" h="597">
                  <a:moveTo>
                    <a:pt x="217" y="0"/>
                  </a:moveTo>
                  <a:lnTo>
                    <a:pt x="229" y="2"/>
                  </a:lnTo>
                  <a:lnTo>
                    <a:pt x="244" y="3"/>
                  </a:lnTo>
                  <a:lnTo>
                    <a:pt x="259" y="4"/>
                  </a:lnTo>
                  <a:lnTo>
                    <a:pt x="274" y="9"/>
                  </a:lnTo>
                  <a:lnTo>
                    <a:pt x="289" y="14"/>
                  </a:lnTo>
                  <a:lnTo>
                    <a:pt x="303" y="21"/>
                  </a:lnTo>
                  <a:lnTo>
                    <a:pt x="315" y="29"/>
                  </a:lnTo>
                  <a:lnTo>
                    <a:pt x="326" y="41"/>
                  </a:lnTo>
                  <a:lnTo>
                    <a:pt x="335" y="55"/>
                  </a:lnTo>
                  <a:lnTo>
                    <a:pt x="341" y="71"/>
                  </a:lnTo>
                  <a:lnTo>
                    <a:pt x="342" y="92"/>
                  </a:lnTo>
                  <a:lnTo>
                    <a:pt x="341" y="115"/>
                  </a:lnTo>
                  <a:lnTo>
                    <a:pt x="334" y="141"/>
                  </a:lnTo>
                  <a:lnTo>
                    <a:pt x="322" y="172"/>
                  </a:lnTo>
                  <a:lnTo>
                    <a:pt x="320" y="195"/>
                  </a:lnTo>
                  <a:lnTo>
                    <a:pt x="316" y="217"/>
                  </a:lnTo>
                  <a:lnTo>
                    <a:pt x="311" y="235"/>
                  </a:lnTo>
                  <a:lnTo>
                    <a:pt x="305" y="250"/>
                  </a:lnTo>
                  <a:lnTo>
                    <a:pt x="300" y="261"/>
                  </a:lnTo>
                  <a:lnTo>
                    <a:pt x="296" y="268"/>
                  </a:lnTo>
                  <a:lnTo>
                    <a:pt x="294" y="270"/>
                  </a:lnTo>
                  <a:lnTo>
                    <a:pt x="296" y="273"/>
                  </a:lnTo>
                  <a:lnTo>
                    <a:pt x="301" y="280"/>
                  </a:lnTo>
                  <a:lnTo>
                    <a:pt x="307" y="292"/>
                  </a:lnTo>
                  <a:lnTo>
                    <a:pt x="312" y="307"/>
                  </a:lnTo>
                  <a:lnTo>
                    <a:pt x="315" y="325"/>
                  </a:lnTo>
                  <a:lnTo>
                    <a:pt x="315" y="346"/>
                  </a:lnTo>
                  <a:lnTo>
                    <a:pt x="311" y="369"/>
                  </a:lnTo>
                  <a:lnTo>
                    <a:pt x="305" y="391"/>
                  </a:lnTo>
                  <a:lnTo>
                    <a:pt x="305" y="408"/>
                  </a:lnTo>
                  <a:lnTo>
                    <a:pt x="309" y="425"/>
                  </a:lnTo>
                  <a:lnTo>
                    <a:pt x="315" y="436"/>
                  </a:lnTo>
                  <a:lnTo>
                    <a:pt x="320" y="445"/>
                  </a:lnTo>
                  <a:lnTo>
                    <a:pt x="324" y="451"/>
                  </a:lnTo>
                  <a:lnTo>
                    <a:pt x="326" y="452"/>
                  </a:lnTo>
                  <a:lnTo>
                    <a:pt x="327" y="456"/>
                  </a:lnTo>
                  <a:lnTo>
                    <a:pt x="330" y="466"/>
                  </a:lnTo>
                  <a:lnTo>
                    <a:pt x="333" y="481"/>
                  </a:lnTo>
                  <a:lnTo>
                    <a:pt x="334" y="498"/>
                  </a:lnTo>
                  <a:lnTo>
                    <a:pt x="333" y="521"/>
                  </a:lnTo>
                  <a:lnTo>
                    <a:pt x="327" y="545"/>
                  </a:lnTo>
                  <a:lnTo>
                    <a:pt x="316" y="571"/>
                  </a:lnTo>
                  <a:lnTo>
                    <a:pt x="300" y="597"/>
                  </a:lnTo>
                  <a:lnTo>
                    <a:pt x="293" y="580"/>
                  </a:lnTo>
                  <a:lnTo>
                    <a:pt x="285" y="571"/>
                  </a:lnTo>
                  <a:lnTo>
                    <a:pt x="274" y="564"/>
                  </a:lnTo>
                  <a:lnTo>
                    <a:pt x="264" y="562"/>
                  </a:lnTo>
                  <a:lnTo>
                    <a:pt x="255" y="561"/>
                  </a:lnTo>
                  <a:lnTo>
                    <a:pt x="248" y="562"/>
                  </a:lnTo>
                  <a:lnTo>
                    <a:pt x="247" y="562"/>
                  </a:lnTo>
                  <a:lnTo>
                    <a:pt x="247" y="560"/>
                  </a:lnTo>
                  <a:lnTo>
                    <a:pt x="247" y="552"/>
                  </a:lnTo>
                  <a:lnTo>
                    <a:pt x="247" y="539"/>
                  </a:lnTo>
                  <a:lnTo>
                    <a:pt x="245" y="526"/>
                  </a:lnTo>
                  <a:lnTo>
                    <a:pt x="241" y="508"/>
                  </a:lnTo>
                  <a:lnTo>
                    <a:pt x="233" y="490"/>
                  </a:lnTo>
                  <a:lnTo>
                    <a:pt x="222" y="472"/>
                  </a:lnTo>
                  <a:lnTo>
                    <a:pt x="204" y="456"/>
                  </a:lnTo>
                  <a:lnTo>
                    <a:pt x="183" y="442"/>
                  </a:lnTo>
                  <a:lnTo>
                    <a:pt x="165" y="434"/>
                  </a:lnTo>
                  <a:lnTo>
                    <a:pt x="147" y="427"/>
                  </a:lnTo>
                  <a:lnTo>
                    <a:pt x="129" y="422"/>
                  </a:lnTo>
                  <a:lnTo>
                    <a:pt x="113" y="419"/>
                  </a:lnTo>
                  <a:lnTo>
                    <a:pt x="98" y="419"/>
                  </a:lnTo>
                  <a:lnTo>
                    <a:pt x="86" y="422"/>
                  </a:lnTo>
                  <a:lnTo>
                    <a:pt x="76" y="425"/>
                  </a:lnTo>
                  <a:lnTo>
                    <a:pt x="64" y="423"/>
                  </a:lnTo>
                  <a:lnTo>
                    <a:pt x="50" y="419"/>
                  </a:lnTo>
                  <a:lnTo>
                    <a:pt x="35" y="414"/>
                  </a:lnTo>
                  <a:lnTo>
                    <a:pt x="22" y="408"/>
                  </a:lnTo>
                  <a:lnTo>
                    <a:pt x="11" y="403"/>
                  </a:lnTo>
                  <a:lnTo>
                    <a:pt x="3" y="400"/>
                  </a:lnTo>
                  <a:lnTo>
                    <a:pt x="0" y="399"/>
                  </a:lnTo>
                  <a:lnTo>
                    <a:pt x="3" y="397"/>
                  </a:lnTo>
                  <a:lnTo>
                    <a:pt x="8" y="396"/>
                  </a:lnTo>
                  <a:lnTo>
                    <a:pt x="18" y="392"/>
                  </a:lnTo>
                  <a:lnTo>
                    <a:pt x="30" y="386"/>
                  </a:lnTo>
                  <a:lnTo>
                    <a:pt x="44" y="377"/>
                  </a:lnTo>
                  <a:lnTo>
                    <a:pt x="61" y="363"/>
                  </a:lnTo>
                  <a:lnTo>
                    <a:pt x="80" y="344"/>
                  </a:lnTo>
                  <a:lnTo>
                    <a:pt x="101" y="321"/>
                  </a:lnTo>
                  <a:lnTo>
                    <a:pt x="123" y="292"/>
                  </a:lnTo>
                  <a:lnTo>
                    <a:pt x="146" y="257"/>
                  </a:lnTo>
                  <a:lnTo>
                    <a:pt x="169" y="215"/>
                  </a:lnTo>
                  <a:lnTo>
                    <a:pt x="192" y="164"/>
                  </a:lnTo>
                  <a:lnTo>
                    <a:pt x="217" y="107"/>
                  </a:lnTo>
                  <a:lnTo>
                    <a:pt x="221" y="88"/>
                  </a:lnTo>
                  <a:lnTo>
                    <a:pt x="221" y="71"/>
                  </a:lnTo>
                  <a:lnTo>
                    <a:pt x="218" y="58"/>
                  </a:lnTo>
                  <a:lnTo>
                    <a:pt x="211" y="45"/>
                  </a:lnTo>
                  <a:lnTo>
                    <a:pt x="206" y="37"/>
                  </a:lnTo>
                  <a:lnTo>
                    <a:pt x="199" y="30"/>
                  </a:lnTo>
                  <a:lnTo>
                    <a:pt x="194" y="28"/>
                  </a:lnTo>
                  <a:lnTo>
                    <a:pt x="192" y="26"/>
                  </a:lnTo>
                  <a:lnTo>
                    <a:pt x="191" y="2"/>
                  </a:lnTo>
                  <a:lnTo>
                    <a:pt x="192" y="2"/>
                  </a:lnTo>
                  <a:lnTo>
                    <a:pt x="198" y="2"/>
                  </a:lnTo>
                  <a:lnTo>
                    <a:pt x="206" y="0"/>
                  </a:lnTo>
                  <a:lnTo>
                    <a:pt x="217" y="0"/>
                  </a:lnTo>
                  <a:close/>
                </a:path>
              </a:pathLst>
            </a:custGeom>
            <a:gradFill rotWithShape="1">
              <a:gsLst>
                <a:gs pos="0">
                  <a:srgbClr val="105E03"/>
                </a:gs>
                <a:gs pos="50000">
                  <a:srgbClr val="1B8A0A"/>
                </a:gs>
                <a:gs pos="100000">
                  <a:srgbClr val="23A50E"/>
                </a:gs>
              </a:gsLst>
              <a:lin ang="16200000" scaled="1"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2157"/>
            <p:cNvSpPr>
              <a:spLocks/>
            </p:cNvSpPr>
            <p:nvPr/>
          </p:nvSpPr>
          <p:spPr bwMode="auto">
            <a:xfrm rot="1114411" flipH="1">
              <a:off x="400155" y="4715546"/>
              <a:ext cx="324752" cy="199075"/>
            </a:xfrm>
            <a:custGeom>
              <a:avLst/>
              <a:gdLst>
                <a:gd name="T0" fmla="*/ 23813 w 584"/>
                <a:gd name="T1" fmla="*/ 3175 h 356"/>
                <a:gd name="T2" fmla="*/ 47625 w 584"/>
                <a:gd name="T3" fmla="*/ 23813 h 356"/>
                <a:gd name="T4" fmla="*/ 88900 w 584"/>
                <a:gd name="T5" fmla="*/ 52388 h 356"/>
                <a:gd name="T6" fmla="*/ 136525 w 584"/>
                <a:gd name="T7" fmla="*/ 80963 h 356"/>
                <a:gd name="T8" fmla="*/ 177800 w 584"/>
                <a:gd name="T9" fmla="*/ 95250 h 356"/>
                <a:gd name="T10" fmla="*/ 223838 w 584"/>
                <a:gd name="T11" fmla="*/ 92075 h 356"/>
                <a:gd name="T12" fmla="*/ 288925 w 584"/>
                <a:gd name="T13" fmla="*/ 106363 h 356"/>
                <a:gd name="T14" fmla="*/ 333375 w 584"/>
                <a:gd name="T15" fmla="*/ 136525 h 356"/>
                <a:gd name="T16" fmla="*/ 366713 w 584"/>
                <a:gd name="T17" fmla="*/ 155575 h 356"/>
                <a:gd name="T18" fmla="*/ 411163 w 584"/>
                <a:gd name="T19" fmla="*/ 169863 h 356"/>
                <a:gd name="T20" fmla="*/ 446088 w 584"/>
                <a:gd name="T21" fmla="*/ 173038 h 356"/>
                <a:gd name="T22" fmla="*/ 455613 w 584"/>
                <a:gd name="T23" fmla="*/ 177800 h 356"/>
                <a:gd name="T24" fmla="*/ 485775 w 584"/>
                <a:gd name="T25" fmla="*/ 190500 h 356"/>
                <a:gd name="T26" fmla="*/ 523875 w 584"/>
                <a:gd name="T27" fmla="*/ 206375 h 356"/>
                <a:gd name="T28" fmla="*/ 552450 w 584"/>
                <a:gd name="T29" fmla="*/ 212725 h 356"/>
                <a:gd name="T30" fmla="*/ 584200 w 584"/>
                <a:gd name="T31" fmla="*/ 207963 h 356"/>
                <a:gd name="T32" fmla="*/ 623888 w 584"/>
                <a:gd name="T33" fmla="*/ 206375 h 356"/>
                <a:gd name="T34" fmla="*/ 647700 w 584"/>
                <a:gd name="T35" fmla="*/ 211138 h 356"/>
                <a:gd name="T36" fmla="*/ 665163 w 584"/>
                <a:gd name="T37" fmla="*/ 217488 h 356"/>
                <a:gd name="T38" fmla="*/ 703263 w 584"/>
                <a:gd name="T39" fmla="*/ 227013 h 356"/>
                <a:gd name="T40" fmla="*/ 749300 w 584"/>
                <a:gd name="T41" fmla="*/ 250825 h 356"/>
                <a:gd name="T42" fmla="*/ 795338 w 584"/>
                <a:gd name="T43" fmla="*/ 290513 h 356"/>
                <a:gd name="T44" fmla="*/ 830263 w 584"/>
                <a:gd name="T45" fmla="*/ 349250 h 356"/>
                <a:gd name="T46" fmla="*/ 842963 w 584"/>
                <a:gd name="T47" fmla="*/ 434975 h 356"/>
                <a:gd name="T48" fmla="*/ 890588 w 584"/>
                <a:gd name="T49" fmla="*/ 442913 h 356"/>
                <a:gd name="T50" fmla="*/ 915988 w 584"/>
                <a:gd name="T51" fmla="*/ 466725 h 356"/>
                <a:gd name="T52" fmla="*/ 927100 w 584"/>
                <a:gd name="T53" fmla="*/ 485775 h 356"/>
                <a:gd name="T54" fmla="*/ 925513 w 584"/>
                <a:gd name="T55" fmla="*/ 493713 h 356"/>
                <a:gd name="T56" fmla="*/ 901700 w 584"/>
                <a:gd name="T57" fmla="*/ 522288 h 356"/>
                <a:gd name="T58" fmla="*/ 857250 w 584"/>
                <a:gd name="T59" fmla="*/ 552450 h 356"/>
                <a:gd name="T60" fmla="*/ 796925 w 584"/>
                <a:gd name="T61" fmla="*/ 565150 h 356"/>
                <a:gd name="T62" fmla="*/ 731838 w 584"/>
                <a:gd name="T63" fmla="*/ 550863 h 356"/>
                <a:gd name="T64" fmla="*/ 652463 w 584"/>
                <a:gd name="T65" fmla="*/ 522288 h 356"/>
                <a:gd name="T66" fmla="*/ 574675 w 584"/>
                <a:gd name="T67" fmla="*/ 485775 h 356"/>
                <a:gd name="T68" fmla="*/ 517525 w 584"/>
                <a:gd name="T69" fmla="*/ 449263 h 356"/>
                <a:gd name="T70" fmla="*/ 463550 w 584"/>
                <a:gd name="T71" fmla="*/ 431800 h 356"/>
                <a:gd name="T72" fmla="*/ 401638 w 584"/>
                <a:gd name="T73" fmla="*/ 403225 h 356"/>
                <a:gd name="T74" fmla="*/ 363538 w 584"/>
                <a:gd name="T75" fmla="*/ 355600 h 356"/>
                <a:gd name="T76" fmla="*/ 361950 w 584"/>
                <a:gd name="T77" fmla="*/ 301625 h 356"/>
                <a:gd name="T78" fmla="*/ 227013 w 584"/>
                <a:gd name="T79" fmla="*/ 260350 h 356"/>
                <a:gd name="T80" fmla="*/ 130175 w 584"/>
                <a:gd name="T81" fmla="*/ 207963 h 356"/>
                <a:gd name="T82" fmla="*/ 65088 w 584"/>
                <a:gd name="T83" fmla="*/ 153988 h 356"/>
                <a:gd name="T84" fmla="*/ 23813 w 584"/>
                <a:gd name="T85" fmla="*/ 107950 h 356"/>
                <a:gd name="T86" fmla="*/ 4763 w 584"/>
                <a:gd name="T87" fmla="*/ 74613 h 356"/>
                <a:gd name="T88" fmla="*/ 0 w 584"/>
                <a:gd name="T89" fmla="*/ 60325 h 3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84"/>
                <a:gd name="T136" fmla="*/ 0 h 356"/>
                <a:gd name="T137" fmla="*/ 584 w 584"/>
                <a:gd name="T138" fmla="*/ 356 h 3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84" h="356">
                  <a:moveTo>
                    <a:pt x="13" y="0"/>
                  </a:moveTo>
                  <a:lnTo>
                    <a:pt x="15" y="2"/>
                  </a:lnTo>
                  <a:lnTo>
                    <a:pt x="21" y="7"/>
                  </a:lnTo>
                  <a:lnTo>
                    <a:pt x="30" y="15"/>
                  </a:lnTo>
                  <a:lnTo>
                    <a:pt x="43" y="23"/>
                  </a:lnTo>
                  <a:lnTo>
                    <a:pt x="56" y="33"/>
                  </a:lnTo>
                  <a:lnTo>
                    <a:pt x="71" y="42"/>
                  </a:lnTo>
                  <a:lnTo>
                    <a:pt x="86" y="51"/>
                  </a:lnTo>
                  <a:lnTo>
                    <a:pt x="100" y="58"/>
                  </a:lnTo>
                  <a:lnTo>
                    <a:pt x="112" y="60"/>
                  </a:lnTo>
                  <a:lnTo>
                    <a:pt x="122" y="60"/>
                  </a:lnTo>
                  <a:lnTo>
                    <a:pt x="141" y="58"/>
                  </a:lnTo>
                  <a:lnTo>
                    <a:pt x="163" y="60"/>
                  </a:lnTo>
                  <a:lnTo>
                    <a:pt x="182" y="67"/>
                  </a:lnTo>
                  <a:lnTo>
                    <a:pt x="199" y="75"/>
                  </a:lnTo>
                  <a:lnTo>
                    <a:pt x="210" y="86"/>
                  </a:lnTo>
                  <a:lnTo>
                    <a:pt x="218" y="93"/>
                  </a:lnTo>
                  <a:lnTo>
                    <a:pt x="231" y="98"/>
                  </a:lnTo>
                  <a:lnTo>
                    <a:pt x="244" y="104"/>
                  </a:lnTo>
                  <a:lnTo>
                    <a:pt x="259" y="107"/>
                  </a:lnTo>
                  <a:lnTo>
                    <a:pt x="272" y="108"/>
                  </a:lnTo>
                  <a:lnTo>
                    <a:pt x="281" y="109"/>
                  </a:lnTo>
                  <a:lnTo>
                    <a:pt x="284" y="111"/>
                  </a:lnTo>
                  <a:lnTo>
                    <a:pt x="287" y="112"/>
                  </a:lnTo>
                  <a:lnTo>
                    <a:pt x="295" y="115"/>
                  </a:lnTo>
                  <a:lnTo>
                    <a:pt x="306" y="120"/>
                  </a:lnTo>
                  <a:lnTo>
                    <a:pt x="318" y="126"/>
                  </a:lnTo>
                  <a:lnTo>
                    <a:pt x="330" y="130"/>
                  </a:lnTo>
                  <a:lnTo>
                    <a:pt x="341" y="134"/>
                  </a:lnTo>
                  <a:lnTo>
                    <a:pt x="348" y="134"/>
                  </a:lnTo>
                  <a:lnTo>
                    <a:pt x="356" y="133"/>
                  </a:lnTo>
                  <a:lnTo>
                    <a:pt x="368" y="131"/>
                  </a:lnTo>
                  <a:lnTo>
                    <a:pt x="381" y="130"/>
                  </a:lnTo>
                  <a:lnTo>
                    <a:pt x="393" y="130"/>
                  </a:lnTo>
                  <a:lnTo>
                    <a:pt x="403" y="130"/>
                  </a:lnTo>
                  <a:lnTo>
                    <a:pt x="408" y="133"/>
                  </a:lnTo>
                  <a:lnTo>
                    <a:pt x="412" y="134"/>
                  </a:lnTo>
                  <a:lnTo>
                    <a:pt x="419" y="137"/>
                  </a:lnTo>
                  <a:lnTo>
                    <a:pt x="430" y="139"/>
                  </a:lnTo>
                  <a:lnTo>
                    <a:pt x="443" y="143"/>
                  </a:lnTo>
                  <a:lnTo>
                    <a:pt x="457" y="150"/>
                  </a:lnTo>
                  <a:lnTo>
                    <a:pt x="472" y="158"/>
                  </a:lnTo>
                  <a:lnTo>
                    <a:pt x="487" y="169"/>
                  </a:lnTo>
                  <a:lnTo>
                    <a:pt x="501" y="183"/>
                  </a:lnTo>
                  <a:lnTo>
                    <a:pt x="513" y="199"/>
                  </a:lnTo>
                  <a:lnTo>
                    <a:pt x="523" y="220"/>
                  </a:lnTo>
                  <a:lnTo>
                    <a:pt x="528" y="246"/>
                  </a:lnTo>
                  <a:lnTo>
                    <a:pt x="531" y="274"/>
                  </a:lnTo>
                  <a:lnTo>
                    <a:pt x="547" y="274"/>
                  </a:lnTo>
                  <a:lnTo>
                    <a:pt x="561" y="279"/>
                  </a:lnTo>
                  <a:lnTo>
                    <a:pt x="570" y="285"/>
                  </a:lnTo>
                  <a:lnTo>
                    <a:pt x="577" y="294"/>
                  </a:lnTo>
                  <a:lnTo>
                    <a:pt x="581" y="300"/>
                  </a:lnTo>
                  <a:lnTo>
                    <a:pt x="584" y="306"/>
                  </a:lnTo>
                  <a:lnTo>
                    <a:pt x="584" y="309"/>
                  </a:lnTo>
                  <a:lnTo>
                    <a:pt x="583" y="311"/>
                  </a:lnTo>
                  <a:lnTo>
                    <a:pt x="577" y="318"/>
                  </a:lnTo>
                  <a:lnTo>
                    <a:pt x="568" y="329"/>
                  </a:lnTo>
                  <a:lnTo>
                    <a:pt x="555" y="339"/>
                  </a:lnTo>
                  <a:lnTo>
                    <a:pt x="540" y="348"/>
                  </a:lnTo>
                  <a:lnTo>
                    <a:pt x="523" y="355"/>
                  </a:lnTo>
                  <a:lnTo>
                    <a:pt x="502" y="356"/>
                  </a:lnTo>
                  <a:lnTo>
                    <a:pt x="483" y="354"/>
                  </a:lnTo>
                  <a:lnTo>
                    <a:pt x="461" y="347"/>
                  </a:lnTo>
                  <a:lnTo>
                    <a:pt x="435" y="339"/>
                  </a:lnTo>
                  <a:lnTo>
                    <a:pt x="411" y="329"/>
                  </a:lnTo>
                  <a:lnTo>
                    <a:pt x="385" y="318"/>
                  </a:lnTo>
                  <a:lnTo>
                    <a:pt x="362" y="306"/>
                  </a:lnTo>
                  <a:lnTo>
                    <a:pt x="341" y="294"/>
                  </a:lnTo>
                  <a:lnTo>
                    <a:pt x="326" y="283"/>
                  </a:lnTo>
                  <a:lnTo>
                    <a:pt x="317" y="272"/>
                  </a:lnTo>
                  <a:lnTo>
                    <a:pt x="292" y="272"/>
                  </a:lnTo>
                  <a:lnTo>
                    <a:pt x="272" y="265"/>
                  </a:lnTo>
                  <a:lnTo>
                    <a:pt x="253" y="254"/>
                  </a:lnTo>
                  <a:lnTo>
                    <a:pt x="239" y="240"/>
                  </a:lnTo>
                  <a:lnTo>
                    <a:pt x="229" y="224"/>
                  </a:lnTo>
                  <a:lnTo>
                    <a:pt x="225" y="208"/>
                  </a:lnTo>
                  <a:lnTo>
                    <a:pt x="228" y="190"/>
                  </a:lnTo>
                  <a:lnTo>
                    <a:pt x="183" y="178"/>
                  </a:lnTo>
                  <a:lnTo>
                    <a:pt x="143" y="164"/>
                  </a:lnTo>
                  <a:lnTo>
                    <a:pt x="109" y="148"/>
                  </a:lnTo>
                  <a:lnTo>
                    <a:pt x="82" y="131"/>
                  </a:lnTo>
                  <a:lnTo>
                    <a:pt x="59" y="115"/>
                  </a:lnTo>
                  <a:lnTo>
                    <a:pt x="41" y="97"/>
                  </a:lnTo>
                  <a:lnTo>
                    <a:pt x="26" y="82"/>
                  </a:lnTo>
                  <a:lnTo>
                    <a:pt x="15" y="68"/>
                  </a:lnTo>
                  <a:lnTo>
                    <a:pt x="8" y="56"/>
                  </a:lnTo>
                  <a:lnTo>
                    <a:pt x="3" y="47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1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  <a:shade val="30000"/>
                    <a:satMod val="115000"/>
                  </a:schemeClr>
                </a:gs>
                <a:gs pos="50000">
                  <a:schemeClr val="accent1">
                    <a:lumMod val="75000"/>
                    <a:shade val="67500"/>
                    <a:satMod val="115000"/>
                  </a:schemeClr>
                </a:gs>
                <a:gs pos="100000">
                  <a:schemeClr val="accent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Calibri" pitchFamily="27" charset="0"/>
                <a:ea typeface="ＭＳ Ｐゴシック" pitchFamily="27" charset="-128"/>
                <a:cs typeface="ＭＳ Ｐゴシック" pitchFamily="27" charset="-128"/>
              </a:endParaRPr>
            </a:p>
          </p:txBody>
        </p:sp>
        <p:sp>
          <p:nvSpPr>
            <p:cNvPr id="13388" name="Freeform 2317"/>
            <p:cNvSpPr>
              <a:spLocks/>
            </p:cNvSpPr>
            <p:nvPr/>
          </p:nvSpPr>
          <p:spPr bwMode="auto">
            <a:xfrm rot="1114411" flipH="1">
              <a:off x="2789208" y="4646165"/>
              <a:ext cx="189168" cy="213648"/>
            </a:xfrm>
            <a:custGeom>
              <a:avLst/>
              <a:gdLst>
                <a:gd name="T0" fmla="*/ 0 w 340"/>
                <a:gd name="T1" fmla="*/ 0 h 384"/>
                <a:gd name="T2" fmla="*/ 2147483647 w 340"/>
                <a:gd name="T3" fmla="*/ 2147483647 h 384"/>
                <a:gd name="T4" fmla="*/ 2147483647 w 340"/>
                <a:gd name="T5" fmla="*/ 2147483647 h 384"/>
                <a:gd name="T6" fmla="*/ 2147483647 w 340"/>
                <a:gd name="T7" fmla="*/ 2147483647 h 384"/>
                <a:gd name="T8" fmla="*/ 2147483647 w 340"/>
                <a:gd name="T9" fmla="*/ 2147483647 h 384"/>
                <a:gd name="T10" fmla="*/ 2147483647 w 340"/>
                <a:gd name="T11" fmla="*/ 2147483647 h 384"/>
                <a:gd name="T12" fmla="*/ 2147483647 w 340"/>
                <a:gd name="T13" fmla="*/ 2147483647 h 384"/>
                <a:gd name="T14" fmla="*/ 2147483647 w 340"/>
                <a:gd name="T15" fmla="*/ 2147483647 h 384"/>
                <a:gd name="T16" fmla="*/ 2147483647 w 340"/>
                <a:gd name="T17" fmla="*/ 2147483647 h 384"/>
                <a:gd name="T18" fmla="*/ 2147483647 w 340"/>
                <a:gd name="T19" fmla="*/ 2147483647 h 384"/>
                <a:gd name="T20" fmla="*/ 2147483647 w 340"/>
                <a:gd name="T21" fmla="*/ 2147483647 h 384"/>
                <a:gd name="T22" fmla="*/ 2147483647 w 340"/>
                <a:gd name="T23" fmla="*/ 2147483647 h 384"/>
                <a:gd name="T24" fmla="*/ 2147483647 w 340"/>
                <a:gd name="T25" fmla="*/ 2147483647 h 384"/>
                <a:gd name="T26" fmla="*/ 2147483647 w 340"/>
                <a:gd name="T27" fmla="*/ 2147483647 h 384"/>
                <a:gd name="T28" fmla="*/ 2147483647 w 340"/>
                <a:gd name="T29" fmla="*/ 2147483647 h 384"/>
                <a:gd name="T30" fmla="*/ 2147483647 w 340"/>
                <a:gd name="T31" fmla="*/ 2147483647 h 384"/>
                <a:gd name="T32" fmla="*/ 2147483647 w 340"/>
                <a:gd name="T33" fmla="*/ 2147483647 h 384"/>
                <a:gd name="T34" fmla="*/ 2147483647 w 340"/>
                <a:gd name="T35" fmla="*/ 2147483647 h 384"/>
                <a:gd name="T36" fmla="*/ 2147483647 w 340"/>
                <a:gd name="T37" fmla="*/ 2147483647 h 384"/>
                <a:gd name="T38" fmla="*/ 2147483647 w 340"/>
                <a:gd name="T39" fmla="*/ 2147483647 h 384"/>
                <a:gd name="T40" fmla="*/ 2147483647 w 340"/>
                <a:gd name="T41" fmla="*/ 2147483647 h 384"/>
                <a:gd name="T42" fmla="*/ 2147483647 w 340"/>
                <a:gd name="T43" fmla="*/ 2147483647 h 384"/>
                <a:gd name="T44" fmla="*/ 2147483647 w 340"/>
                <a:gd name="T45" fmla="*/ 2147483647 h 384"/>
                <a:gd name="T46" fmla="*/ 2147483647 w 340"/>
                <a:gd name="T47" fmla="*/ 2147483647 h 384"/>
                <a:gd name="T48" fmla="*/ 2147483647 w 340"/>
                <a:gd name="T49" fmla="*/ 2147483647 h 384"/>
                <a:gd name="T50" fmla="*/ 2147483647 w 340"/>
                <a:gd name="T51" fmla="*/ 2147483647 h 384"/>
                <a:gd name="T52" fmla="*/ 2147483647 w 340"/>
                <a:gd name="T53" fmla="*/ 2147483647 h 384"/>
                <a:gd name="T54" fmla="*/ 2147483647 w 340"/>
                <a:gd name="T55" fmla="*/ 2147483647 h 384"/>
                <a:gd name="T56" fmla="*/ 2147483647 w 340"/>
                <a:gd name="T57" fmla="*/ 2147483647 h 384"/>
                <a:gd name="T58" fmla="*/ 2147483647 w 340"/>
                <a:gd name="T59" fmla="*/ 2147483647 h 384"/>
                <a:gd name="T60" fmla="*/ 2147483647 w 340"/>
                <a:gd name="T61" fmla="*/ 2147483647 h 384"/>
                <a:gd name="T62" fmla="*/ 2147483647 w 340"/>
                <a:gd name="T63" fmla="*/ 2147483647 h 384"/>
                <a:gd name="T64" fmla="*/ 2147483647 w 340"/>
                <a:gd name="T65" fmla="*/ 2147483647 h 384"/>
                <a:gd name="T66" fmla="*/ 2147483647 w 340"/>
                <a:gd name="T67" fmla="*/ 2147483647 h 384"/>
                <a:gd name="T68" fmla="*/ 2147483647 w 340"/>
                <a:gd name="T69" fmla="*/ 2147483647 h 384"/>
                <a:gd name="T70" fmla="*/ 2147483647 w 340"/>
                <a:gd name="T71" fmla="*/ 2147483647 h 384"/>
                <a:gd name="T72" fmla="*/ 2147483647 w 340"/>
                <a:gd name="T73" fmla="*/ 2147483647 h 384"/>
                <a:gd name="T74" fmla="*/ 2147483647 w 340"/>
                <a:gd name="T75" fmla="*/ 2147483647 h 384"/>
                <a:gd name="T76" fmla="*/ 2147483647 w 340"/>
                <a:gd name="T77" fmla="*/ 2147483647 h 384"/>
                <a:gd name="T78" fmla="*/ 2147483647 w 340"/>
                <a:gd name="T79" fmla="*/ 2147483647 h 384"/>
                <a:gd name="T80" fmla="*/ 2147483647 w 340"/>
                <a:gd name="T81" fmla="*/ 2147483647 h 384"/>
                <a:gd name="T82" fmla="*/ 0 w 340"/>
                <a:gd name="T83" fmla="*/ 0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40"/>
                <a:gd name="T127" fmla="*/ 0 h 384"/>
                <a:gd name="T128" fmla="*/ 340 w 340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40" h="384">
                  <a:moveTo>
                    <a:pt x="0" y="0"/>
                  </a:moveTo>
                  <a:lnTo>
                    <a:pt x="30" y="60"/>
                  </a:lnTo>
                  <a:lnTo>
                    <a:pt x="61" y="112"/>
                  </a:lnTo>
                  <a:lnTo>
                    <a:pt x="92" y="156"/>
                  </a:lnTo>
                  <a:lnTo>
                    <a:pt x="124" y="193"/>
                  </a:lnTo>
                  <a:lnTo>
                    <a:pt x="154" y="224"/>
                  </a:lnTo>
                  <a:lnTo>
                    <a:pt x="184" y="249"/>
                  </a:lnTo>
                  <a:lnTo>
                    <a:pt x="211" y="269"/>
                  </a:lnTo>
                  <a:lnTo>
                    <a:pt x="238" y="286"/>
                  </a:lnTo>
                  <a:lnTo>
                    <a:pt x="261" y="298"/>
                  </a:lnTo>
                  <a:lnTo>
                    <a:pt x="283" y="306"/>
                  </a:lnTo>
                  <a:lnTo>
                    <a:pt x="302" y="311"/>
                  </a:lnTo>
                  <a:lnTo>
                    <a:pt x="317" y="316"/>
                  </a:lnTo>
                  <a:lnTo>
                    <a:pt x="330" y="318"/>
                  </a:lnTo>
                  <a:lnTo>
                    <a:pt x="336" y="321"/>
                  </a:lnTo>
                  <a:lnTo>
                    <a:pt x="339" y="322"/>
                  </a:lnTo>
                  <a:lnTo>
                    <a:pt x="340" y="326"/>
                  </a:lnTo>
                  <a:lnTo>
                    <a:pt x="340" y="333"/>
                  </a:lnTo>
                  <a:lnTo>
                    <a:pt x="340" y="343"/>
                  </a:lnTo>
                  <a:lnTo>
                    <a:pt x="339" y="352"/>
                  </a:lnTo>
                  <a:lnTo>
                    <a:pt x="336" y="362"/>
                  </a:lnTo>
                  <a:lnTo>
                    <a:pt x="331" y="370"/>
                  </a:lnTo>
                  <a:lnTo>
                    <a:pt x="323" y="378"/>
                  </a:lnTo>
                  <a:lnTo>
                    <a:pt x="312" y="382"/>
                  </a:lnTo>
                  <a:lnTo>
                    <a:pt x="298" y="384"/>
                  </a:lnTo>
                  <a:lnTo>
                    <a:pt x="280" y="381"/>
                  </a:lnTo>
                  <a:lnTo>
                    <a:pt x="257" y="373"/>
                  </a:lnTo>
                  <a:lnTo>
                    <a:pt x="222" y="354"/>
                  </a:lnTo>
                  <a:lnTo>
                    <a:pt x="190" y="331"/>
                  </a:lnTo>
                  <a:lnTo>
                    <a:pt x="160" y="303"/>
                  </a:lnTo>
                  <a:lnTo>
                    <a:pt x="135" y="273"/>
                  </a:lnTo>
                  <a:lnTo>
                    <a:pt x="110" y="240"/>
                  </a:lnTo>
                  <a:lnTo>
                    <a:pt x="88" y="208"/>
                  </a:lnTo>
                  <a:lnTo>
                    <a:pt x="69" y="174"/>
                  </a:lnTo>
                  <a:lnTo>
                    <a:pt x="53" y="141"/>
                  </a:lnTo>
                  <a:lnTo>
                    <a:pt x="38" y="108"/>
                  </a:lnTo>
                  <a:lnTo>
                    <a:pt x="25" y="80"/>
                  </a:lnTo>
                  <a:lnTo>
                    <a:pt x="16" y="54"/>
                  </a:lnTo>
                  <a:lnTo>
                    <a:pt x="9" y="32"/>
                  </a:lnTo>
                  <a:lnTo>
                    <a:pt x="4" y="15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9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89" name="Freeform 2359"/>
            <p:cNvSpPr>
              <a:spLocks/>
            </p:cNvSpPr>
            <p:nvPr/>
          </p:nvSpPr>
          <p:spPr bwMode="auto">
            <a:xfrm rot="1114411" flipH="1">
              <a:off x="2769407" y="4611213"/>
              <a:ext cx="220325" cy="210867"/>
            </a:xfrm>
            <a:custGeom>
              <a:avLst/>
              <a:gdLst>
                <a:gd name="T0" fmla="*/ 2147483647 w 396"/>
                <a:gd name="T1" fmla="*/ 0 h 379"/>
                <a:gd name="T2" fmla="*/ 2147483647 w 396"/>
                <a:gd name="T3" fmla="*/ 2147483647 h 379"/>
                <a:gd name="T4" fmla="*/ 2147483647 w 396"/>
                <a:gd name="T5" fmla="*/ 2147483647 h 379"/>
                <a:gd name="T6" fmla="*/ 2147483647 w 396"/>
                <a:gd name="T7" fmla="*/ 2147483647 h 379"/>
                <a:gd name="T8" fmla="*/ 2147483647 w 396"/>
                <a:gd name="T9" fmla="*/ 2147483647 h 379"/>
                <a:gd name="T10" fmla="*/ 2147483647 w 396"/>
                <a:gd name="T11" fmla="*/ 2147483647 h 379"/>
                <a:gd name="T12" fmla="*/ 2147483647 w 396"/>
                <a:gd name="T13" fmla="*/ 2147483647 h 379"/>
                <a:gd name="T14" fmla="*/ 2147483647 w 396"/>
                <a:gd name="T15" fmla="*/ 2147483647 h 379"/>
                <a:gd name="T16" fmla="*/ 2147483647 w 396"/>
                <a:gd name="T17" fmla="*/ 2147483647 h 379"/>
                <a:gd name="T18" fmla="*/ 2147483647 w 396"/>
                <a:gd name="T19" fmla="*/ 2147483647 h 379"/>
                <a:gd name="T20" fmla="*/ 2147483647 w 396"/>
                <a:gd name="T21" fmla="*/ 2147483647 h 379"/>
                <a:gd name="T22" fmla="*/ 2147483647 w 396"/>
                <a:gd name="T23" fmla="*/ 2147483647 h 379"/>
                <a:gd name="T24" fmla="*/ 2147483647 w 396"/>
                <a:gd name="T25" fmla="*/ 2147483647 h 379"/>
                <a:gd name="T26" fmla="*/ 2147483647 w 396"/>
                <a:gd name="T27" fmla="*/ 2147483647 h 379"/>
                <a:gd name="T28" fmla="*/ 2147483647 w 396"/>
                <a:gd name="T29" fmla="*/ 2147483647 h 379"/>
                <a:gd name="T30" fmla="*/ 2147483647 w 396"/>
                <a:gd name="T31" fmla="*/ 2147483647 h 379"/>
                <a:gd name="T32" fmla="*/ 2147483647 w 396"/>
                <a:gd name="T33" fmla="*/ 2147483647 h 379"/>
                <a:gd name="T34" fmla="*/ 2147483647 w 396"/>
                <a:gd name="T35" fmla="*/ 2147483647 h 379"/>
                <a:gd name="T36" fmla="*/ 2147483647 w 396"/>
                <a:gd name="T37" fmla="*/ 2147483647 h 379"/>
                <a:gd name="T38" fmla="*/ 2147483647 w 396"/>
                <a:gd name="T39" fmla="*/ 2147483647 h 379"/>
                <a:gd name="T40" fmla="*/ 2147483647 w 396"/>
                <a:gd name="T41" fmla="*/ 2147483647 h 379"/>
                <a:gd name="T42" fmla="*/ 2147483647 w 396"/>
                <a:gd name="T43" fmla="*/ 2147483647 h 379"/>
                <a:gd name="T44" fmla="*/ 2147483647 w 396"/>
                <a:gd name="T45" fmla="*/ 2147483647 h 379"/>
                <a:gd name="T46" fmla="*/ 2147483647 w 396"/>
                <a:gd name="T47" fmla="*/ 2147483647 h 379"/>
                <a:gd name="T48" fmla="*/ 2147483647 w 396"/>
                <a:gd name="T49" fmla="*/ 2147483647 h 379"/>
                <a:gd name="T50" fmla="*/ 2147483647 w 396"/>
                <a:gd name="T51" fmla="*/ 2147483647 h 379"/>
                <a:gd name="T52" fmla="*/ 2147483647 w 396"/>
                <a:gd name="T53" fmla="*/ 2147483647 h 379"/>
                <a:gd name="T54" fmla="*/ 2147483647 w 396"/>
                <a:gd name="T55" fmla="*/ 2147483647 h 379"/>
                <a:gd name="T56" fmla="*/ 2147483647 w 396"/>
                <a:gd name="T57" fmla="*/ 2147483647 h 379"/>
                <a:gd name="T58" fmla="*/ 2147483647 w 396"/>
                <a:gd name="T59" fmla="*/ 2147483647 h 379"/>
                <a:gd name="T60" fmla="*/ 2147483647 w 396"/>
                <a:gd name="T61" fmla="*/ 2147483647 h 379"/>
                <a:gd name="T62" fmla="*/ 0 w 396"/>
                <a:gd name="T63" fmla="*/ 2147483647 h 379"/>
                <a:gd name="T64" fmla="*/ 2147483647 w 396"/>
                <a:gd name="T65" fmla="*/ 2147483647 h 379"/>
                <a:gd name="T66" fmla="*/ 2147483647 w 396"/>
                <a:gd name="T67" fmla="*/ 2147483647 h 37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96"/>
                <a:gd name="T103" fmla="*/ 0 h 379"/>
                <a:gd name="T104" fmla="*/ 396 w 396"/>
                <a:gd name="T105" fmla="*/ 379 h 37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96" h="379">
                  <a:moveTo>
                    <a:pt x="23" y="0"/>
                  </a:moveTo>
                  <a:lnTo>
                    <a:pt x="27" y="0"/>
                  </a:lnTo>
                  <a:lnTo>
                    <a:pt x="30" y="6"/>
                  </a:lnTo>
                  <a:lnTo>
                    <a:pt x="34" y="10"/>
                  </a:lnTo>
                  <a:lnTo>
                    <a:pt x="43" y="15"/>
                  </a:lnTo>
                  <a:lnTo>
                    <a:pt x="58" y="23"/>
                  </a:lnTo>
                  <a:lnTo>
                    <a:pt x="77" y="33"/>
                  </a:lnTo>
                  <a:lnTo>
                    <a:pt x="100" y="42"/>
                  </a:lnTo>
                  <a:lnTo>
                    <a:pt x="126" y="53"/>
                  </a:lnTo>
                  <a:lnTo>
                    <a:pt x="154" y="66"/>
                  </a:lnTo>
                  <a:lnTo>
                    <a:pt x="182" y="76"/>
                  </a:lnTo>
                  <a:lnTo>
                    <a:pt x="211" y="87"/>
                  </a:lnTo>
                  <a:lnTo>
                    <a:pt x="238" y="98"/>
                  </a:lnTo>
                  <a:lnTo>
                    <a:pt x="263" y="109"/>
                  </a:lnTo>
                  <a:lnTo>
                    <a:pt x="286" y="117"/>
                  </a:lnTo>
                  <a:lnTo>
                    <a:pt x="305" y="126"/>
                  </a:lnTo>
                  <a:lnTo>
                    <a:pt x="320" y="131"/>
                  </a:lnTo>
                  <a:lnTo>
                    <a:pt x="330" y="134"/>
                  </a:lnTo>
                  <a:lnTo>
                    <a:pt x="334" y="135"/>
                  </a:lnTo>
                  <a:lnTo>
                    <a:pt x="335" y="137"/>
                  </a:lnTo>
                  <a:lnTo>
                    <a:pt x="339" y="139"/>
                  </a:lnTo>
                  <a:lnTo>
                    <a:pt x="345" y="145"/>
                  </a:lnTo>
                  <a:lnTo>
                    <a:pt x="350" y="152"/>
                  </a:lnTo>
                  <a:lnTo>
                    <a:pt x="354" y="162"/>
                  </a:lnTo>
                  <a:lnTo>
                    <a:pt x="357" y="175"/>
                  </a:lnTo>
                  <a:lnTo>
                    <a:pt x="355" y="191"/>
                  </a:lnTo>
                  <a:lnTo>
                    <a:pt x="354" y="205"/>
                  </a:lnTo>
                  <a:lnTo>
                    <a:pt x="357" y="216"/>
                  </a:lnTo>
                  <a:lnTo>
                    <a:pt x="362" y="222"/>
                  </a:lnTo>
                  <a:lnTo>
                    <a:pt x="369" y="227"/>
                  </a:lnTo>
                  <a:lnTo>
                    <a:pt x="377" y="231"/>
                  </a:lnTo>
                  <a:lnTo>
                    <a:pt x="384" y="233"/>
                  </a:lnTo>
                  <a:lnTo>
                    <a:pt x="391" y="237"/>
                  </a:lnTo>
                  <a:lnTo>
                    <a:pt x="395" y="243"/>
                  </a:lnTo>
                  <a:lnTo>
                    <a:pt x="396" y="250"/>
                  </a:lnTo>
                  <a:lnTo>
                    <a:pt x="392" y="259"/>
                  </a:lnTo>
                  <a:lnTo>
                    <a:pt x="385" y="269"/>
                  </a:lnTo>
                  <a:lnTo>
                    <a:pt x="376" y="281"/>
                  </a:lnTo>
                  <a:lnTo>
                    <a:pt x="368" y="292"/>
                  </a:lnTo>
                  <a:lnTo>
                    <a:pt x="360" y="304"/>
                  </a:lnTo>
                  <a:lnTo>
                    <a:pt x="354" y="314"/>
                  </a:lnTo>
                  <a:lnTo>
                    <a:pt x="351" y="322"/>
                  </a:lnTo>
                  <a:lnTo>
                    <a:pt x="350" y="332"/>
                  </a:lnTo>
                  <a:lnTo>
                    <a:pt x="349" y="345"/>
                  </a:lnTo>
                  <a:lnTo>
                    <a:pt x="346" y="358"/>
                  </a:lnTo>
                  <a:lnTo>
                    <a:pt x="342" y="368"/>
                  </a:lnTo>
                  <a:lnTo>
                    <a:pt x="340" y="377"/>
                  </a:lnTo>
                  <a:lnTo>
                    <a:pt x="339" y="379"/>
                  </a:lnTo>
                  <a:lnTo>
                    <a:pt x="301" y="370"/>
                  </a:lnTo>
                  <a:lnTo>
                    <a:pt x="265" y="356"/>
                  </a:lnTo>
                  <a:lnTo>
                    <a:pt x="231" y="337"/>
                  </a:lnTo>
                  <a:lnTo>
                    <a:pt x="199" y="314"/>
                  </a:lnTo>
                  <a:lnTo>
                    <a:pt x="169" y="289"/>
                  </a:lnTo>
                  <a:lnTo>
                    <a:pt x="141" y="262"/>
                  </a:lnTo>
                  <a:lnTo>
                    <a:pt x="115" y="233"/>
                  </a:lnTo>
                  <a:lnTo>
                    <a:pt x="92" y="205"/>
                  </a:lnTo>
                  <a:lnTo>
                    <a:pt x="70" y="177"/>
                  </a:lnTo>
                  <a:lnTo>
                    <a:pt x="53" y="150"/>
                  </a:lnTo>
                  <a:lnTo>
                    <a:pt x="36" y="126"/>
                  </a:lnTo>
                  <a:lnTo>
                    <a:pt x="24" y="102"/>
                  </a:lnTo>
                  <a:lnTo>
                    <a:pt x="13" y="85"/>
                  </a:lnTo>
                  <a:lnTo>
                    <a:pt x="5" y="70"/>
                  </a:lnTo>
                  <a:lnTo>
                    <a:pt x="1" y="60"/>
                  </a:lnTo>
                  <a:lnTo>
                    <a:pt x="0" y="57"/>
                  </a:lnTo>
                  <a:lnTo>
                    <a:pt x="8" y="14"/>
                  </a:lnTo>
                  <a:lnTo>
                    <a:pt x="9" y="12"/>
                  </a:lnTo>
                  <a:lnTo>
                    <a:pt x="13" y="8"/>
                  </a:lnTo>
                  <a:lnTo>
                    <a:pt x="17" y="4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1D7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0" name="Freeform 2429"/>
            <p:cNvSpPr>
              <a:spLocks/>
            </p:cNvSpPr>
            <p:nvPr/>
          </p:nvSpPr>
          <p:spPr bwMode="auto">
            <a:xfrm rot="1114411" flipH="1">
              <a:off x="2500438" y="4694514"/>
              <a:ext cx="92915" cy="90689"/>
            </a:xfrm>
            <a:custGeom>
              <a:avLst/>
              <a:gdLst>
                <a:gd name="T0" fmla="*/ 2147483647 w 167"/>
                <a:gd name="T1" fmla="*/ 0 h 163"/>
                <a:gd name="T2" fmla="*/ 2147483647 w 167"/>
                <a:gd name="T3" fmla="*/ 2147483647 h 163"/>
                <a:gd name="T4" fmla="*/ 2147483647 w 167"/>
                <a:gd name="T5" fmla="*/ 2147483647 h 163"/>
                <a:gd name="T6" fmla="*/ 2147483647 w 167"/>
                <a:gd name="T7" fmla="*/ 2147483647 h 163"/>
                <a:gd name="T8" fmla="*/ 2147483647 w 167"/>
                <a:gd name="T9" fmla="*/ 2147483647 h 163"/>
                <a:gd name="T10" fmla="*/ 2147483647 w 167"/>
                <a:gd name="T11" fmla="*/ 2147483647 h 163"/>
                <a:gd name="T12" fmla="*/ 2147483647 w 167"/>
                <a:gd name="T13" fmla="*/ 2147483647 h 163"/>
                <a:gd name="T14" fmla="*/ 2147483647 w 167"/>
                <a:gd name="T15" fmla="*/ 2147483647 h 163"/>
                <a:gd name="T16" fmla="*/ 2147483647 w 167"/>
                <a:gd name="T17" fmla="*/ 2147483647 h 163"/>
                <a:gd name="T18" fmla="*/ 2147483647 w 167"/>
                <a:gd name="T19" fmla="*/ 2147483647 h 163"/>
                <a:gd name="T20" fmla="*/ 2147483647 w 167"/>
                <a:gd name="T21" fmla="*/ 2147483647 h 163"/>
                <a:gd name="T22" fmla="*/ 2147483647 w 167"/>
                <a:gd name="T23" fmla="*/ 2147483647 h 163"/>
                <a:gd name="T24" fmla="*/ 2147483647 w 167"/>
                <a:gd name="T25" fmla="*/ 2147483647 h 163"/>
                <a:gd name="T26" fmla="*/ 2147483647 w 167"/>
                <a:gd name="T27" fmla="*/ 2147483647 h 163"/>
                <a:gd name="T28" fmla="*/ 2147483647 w 167"/>
                <a:gd name="T29" fmla="*/ 2147483647 h 163"/>
                <a:gd name="T30" fmla="*/ 2147483647 w 167"/>
                <a:gd name="T31" fmla="*/ 2147483647 h 163"/>
                <a:gd name="T32" fmla="*/ 2147483647 w 167"/>
                <a:gd name="T33" fmla="*/ 2147483647 h 163"/>
                <a:gd name="T34" fmla="*/ 2147483647 w 167"/>
                <a:gd name="T35" fmla="*/ 2147483647 h 163"/>
                <a:gd name="T36" fmla="*/ 2147483647 w 167"/>
                <a:gd name="T37" fmla="*/ 2147483647 h 163"/>
                <a:gd name="T38" fmla="*/ 2147483647 w 167"/>
                <a:gd name="T39" fmla="*/ 2147483647 h 163"/>
                <a:gd name="T40" fmla="*/ 2147483647 w 167"/>
                <a:gd name="T41" fmla="*/ 2147483647 h 163"/>
                <a:gd name="T42" fmla="*/ 2147483647 w 167"/>
                <a:gd name="T43" fmla="*/ 2147483647 h 163"/>
                <a:gd name="T44" fmla="*/ 2147483647 w 167"/>
                <a:gd name="T45" fmla="*/ 2147483647 h 163"/>
                <a:gd name="T46" fmla="*/ 2147483647 w 167"/>
                <a:gd name="T47" fmla="*/ 2147483647 h 163"/>
                <a:gd name="T48" fmla="*/ 2147483647 w 167"/>
                <a:gd name="T49" fmla="*/ 2147483647 h 163"/>
                <a:gd name="T50" fmla="*/ 2147483647 w 167"/>
                <a:gd name="T51" fmla="*/ 2147483647 h 163"/>
                <a:gd name="T52" fmla="*/ 2147483647 w 167"/>
                <a:gd name="T53" fmla="*/ 2147483647 h 163"/>
                <a:gd name="T54" fmla="*/ 2147483647 w 167"/>
                <a:gd name="T55" fmla="*/ 2147483647 h 163"/>
                <a:gd name="T56" fmla="*/ 2147483647 w 167"/>
                <a:gd name="T57" fmla="*/ 2147483647 h 163"/>
                <a:gd name="T58" fmla="*/ 0 w 167"/>
                <a:gd name="T59" fmla="*/ 2147483647 h 163"/>
                <a:gd name="T60" fmla="*/ 2147483647 w 167"/>
                <a:gd name="T61" fmla="*/ 2147483647 h 163"/>
                <a:gd name="T62" fmla="*/ 2147483647 w 167"/>
                <a:gd name="T63" fmla="*/ 2147483647 h 163"/>
                <a:gd name="T64" fmla="*/ 2147483647 w 167"/>
                <a:gd name="T65" fmla="*/ 2147483647 h 163"/>
                <a:gd name="T66" fmla="*/ 2147483647 w 167"/>
                <a:gd name="T67" fmla="*/ 2147483647 h 163"/>
                <a:gd name="T68" fmla="*/ 2147483647 w 167"/>
                <a:gd name="T69" fmla="*/ 2147483647 h 163"/>
                <a:gd name="T70" fmla="*/ 2147483647 w 167"/>
                <a:gd name="T71" fmla="*/ 2147483647 h 163"/>
                <a:gd name="T72" fmla="*/ 2147483647 w 167"/>
                <a:gd name="T73" fmla="*/ 2147483647 h 163"/>
                <a:gd name="T74" fmla="*/ 2147483647 w 167"/>
                <a:gd name="T75" fmla="*/ 2147483647 h 163"/>
                <a:gd name="T76" fmla="*/ 2147483647 w 167"/>
                <a:gd name="T77" fmla="*/ 2147483647 h 163"/>
                <a:gd name="T78" fmla="*/ 2147483647 w 167"/>
                <a:gd name="T79" fmla="*/ 2147483647 h 163"/>
                <a:gd name="T80" fmla="*/ 2147483647 w 167"/>
                <a:gd name="T81" fmla="*/ 2147483647 h 163"/>
                <a:gd name="T82" fmla="*/ 2147483647 w 167"/>
                <a:gd name="T83" fmla="*/ 2147483647 h 163"/>
                <a:gd name="T84" fmla="*/ 2147483647 w 167"/>
                <a:gd name="T85" fmla="*/ 0 h 163"/>
                <a:gd name="T86" fmla="*/ 2147483647 w 167"/>
                <a:gd name="T87" fmla="*/ 0 h 16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7"/>
                <a:gd name="T133" fmla="*/ 0 h 163"/>
                <a:gd name="T134" fmla="*/ 167 w 167"/>
                <a:gd name="T135" fmla="*/ 163 h 16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7" h="163">
                  <a:moveTo>
                    <a:pt x="69" y="0"/>
                  </a:moveTo>
                  <a:lnTo>
                    <a:pt x="72" y="2"/>
                  </a:lnTo>
                  <a:lnTo>
                    <a:pt x="80" y="6"/>
                  </a:lnTo>
                  <a:lnTo>
                    <a:pt x="91" y="13"/>
                  </a:lnTo>
                  <a:lnTo>
                    <a:pt x="105" y="21"/>
                  </a:lnTo>
                  <a:lnTo>
                    <a:pt x="120" y="32"/>
                  </a:lnTo>
                  <a:lnTo>
                    <a:pt x="135" y="44"/>
                  </a:lnTo>
                  <a:lnTo>
                    <a:pt x="148" y="59"/>
                  </a:lnTo>
                  <a:lnTo>
                    <a:pt x="159" y="74"/>
                  </a:lnTo>
                  <a:lnTo>
                    <a:pt x="166" y="90"/>
                  </a:lnTo>
                  <a:lnTo>
                    <a:pt x="167" y="108"/>
                  </a:lnTo>
                  <a:lnTo>
                    <a:pt x="163" y="126"/>
                  </a:lnTo>
                  <a:lnTo>
                    <a:pt x="151" y="144"/>
                  </a:lnTo>
                  <a:lnTo>
                    <a:pt x="129" y="163"/>
                  </a:lnTo>
                  <a:lnTo>
                    <a:pt x="128" y="161"/>
                  </a:lnTo>
                  <a:lnTo>
                    <a:pt x="127" y="156"/>
                  </a:lnTo>
                  <a:lnTo>
                    <a:pt x="121" y="149"/>
                  </a:lnTo>
                  <a:lnTo>
                    <a:pt x="113" y="141"/>
                  </a:lnTo>
                  <a:lnTo>
                    <a:pt x="101" y="134"/>
                  </a:lnTo>
                  <a:lnTo>
                    <a:pt x="86" y="129"/>
                  </a:lnTo>
                  <a:lnTo>
                    <a:pt x="65" y="125"/>
                  </a:lnTo>
                  <a:lnTo>
                    <a:pt x="39" y="126"/>
                  </a:lnTo>
                  <a:lnTo>
                    <a:pt x="39" y="104"/>
                  </a:lnTo>
                  <a:lnTo>
                    <a:pt x="35" y="85"/>
                  </a:lnTo>
                  <a:lnTo>
                    <a:pt x="30" y="66"/>
                  </a:lnTo>
                  <a:lnTo>
                    <a:pt x="22" y="51"/>
                  </a:lnTo>
                  <a:lnTo>
                    <a:pt x="15" y="37"/>
                  </a:lnTo>
                  <a:lnTo>
                    <a:pt x="8" y="28"/>
                  </a:lnTo>
                  <a:lnTo>
                    <a:pt x="2" y="21"/>
                  </a:lnTo>
                  <a:lnTo>
                    <a:pt x="0" y="18"/>
                  </a:lnTo>
                  <a:lnTo>
                    <a:pt x="2" y="17"/>
                  </a:lnTo>
                  <a:lnTo>
                    <a:pt x="9" y="14"/>
                  </a:lnTo>
                  <a:lnTo>
                    <a:pt x="20" y="10"/>
                  </a:lnTo>
                  <a:lnTo>
                    <a:pt x="35" y="7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0"/>
                  </a:lnTo>
                  <a:lnTo>
                    <a:pt x="62" y="9"/>
                  </a:lnTo>
                  <a:lnTo>
                    <a:pt x="65" y="7"/>
                  </a:lnTo>
                  <a:lnTo>
                    <a:pt x="67" y="6"/>
                  </a:lnTo>
                  <a:lnTo>
                    <a:pt x="68" y="5"/>
                  </a:lnTo>
                  <a:lnTo>
                    <a:pt x="69" y="2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1D7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1" name="Freeform 2473"/>
            <p:cNvSpPr>
              <a:spLocks/>
            </p:cNvSpPr>
            <p:nvPr/>
          </p:nvSpPr>
          <p:spPr bwMode="auto">
            <a:xfrm rot="1114411" flipH="1">
              <a:off x="2488623" y="4762230"/>
              <a:ext cx="81231" cy="79562"/>
            </a:xfrm>
            <a:custGeom>
              <a:avLst/>
              <a:gdLst>
                <a:gd name="T0" fmla="*/ 2147483647 w 146"/>
                <a:gd name="T1" fmla="*/ 0 h 143"/>
                <a:gd name="T2" fmla="*/ 2147483647 w 146"/>
                <a:gd name="T3" fmla="*/ 2147483647 h 143"/>
                <a:gd name="T4" fmla="*/ 2147483647 w 146"/>
                <a:gd name="T5" fmla="*/ 2147483647 h 143"/>
                <a:gd name="T6" fmla="*/ 2147483647 w 146"/>
                <a:gd name="T7" fmla="*/ 2147483647 h 143"/>
                <a:gd name="T8" fmla="*/ 2147483647 w 146"/>
                <a:gd name="T9" fmla="*/ 2147483647 h 143"/>
                <a:gd name="T10" fmla="*/ 2147483647 w 146"/>
                <a:gd name="T11" fmla="*/ 2147483647 h 143"/>
                <a:gd name="T12" fmla="*/ 2147483647 w 146"/>
                <a:gd name="T13" fmla="*/ 2147483647 h 143"/>
                <a:gd name="T14" fmla="*/ 2147483647 w 146"/>
                <a:gd name="T15" fmla="*/ 2147483647 h 143"/>
                <a:gd name="T16" fmla="*/ 2147483647 w 146"/>
                <a:gd name="T17" fmla="*/ 2147483647 h 143"/>
                <a:gd name="T18" fmla="*/ 2147483647 w 146"/>
                <a:gd name="T19" fmla="*/ 2147483647 h 143"/>
                <a:gd name="T20" fmla="*/ 2147483647 w 146"/>
                <a:gd name="T21" fmla="*/ 2147483647 h 143"/>
                <a:gd name="T22" fmla="*/ 2147483647 w 146"/>
                <a:gd name="T23" fmla="*/ 2147483647 h 143"/>
                <a:gd name="T24" fmla="*/ 2147483647 w 146"/>
                <a:gd name="T25" fmla="*/ 2147483647 h 143"/>
                <a:gd name="T26" fmla="*/ 2147483647 w 146"/>
                <a:gd name="T27" fmla="*/ 2147483647 h 143"/>
                <a:gd name="T28" fmla="*/ 2147483647 w 146"/>
                <a:gd name="T29" fmla="*/ 2147483647 h 143"/>
                <a:gd name="T30" fmla="*/ 2147483647 w 146"/>
                <a:gd name="T31" fmla="*/ 2147483647 h 143"/>
                <a:gd name="T32" fmla="*/ 2147483647 w 146"/>
                <a:gd name="T33" fmla="*/ 2147483647 h 143"/>
                <a:gd name="T34" fmla="*/ 2147483647 w 146"/>
                <a:gd name="T35" fmla="*/ 2147483647 h 143"/>
                <a:gd name="T36" fmla="*/ 2147483647 w 146"/>
                <a:gd name="T37" fmla="*/ 2147483647 h 143"/>
                <a:gd name="T38" fmla="*/ 2147483647 w 146"/>
                <a:gd name="T39" fmla="*/ 2147483647 h 143"/>
                <a:gd name="T40" fmla="*/ 2147483647 w 146"/>
                <a:gd name="T41" fmla="*/ 2147483647 h 143"/>
                <a:gd name="T42" fmla="*/ 2147483647 w 146"/>
                <a:gd name="T43" fmla="*/ 2147483647 h 143"/>
                <a:gd name="T44" fmla="*/ 2147483647 w 146"/>
                <a:gd name="T45" fmla="*/ 2147483647 h 143"/>
                <a:gd name="T46" fmla="*/ 2147483647 w 146"/>
                <a:gd name="T47" fmla="*/ 2147483647 h 143"/>
                <a:gd name="T48" fmla="*/ 2147483647 w 146"/>
                <a:gd name="T49" fmla="*/ 2147483647 h 143"/>
                <a:gd name="T50" fmla="*/ 2147483647 w 146"/>
                <a:gd name="T51" fmla="*/ 2147483647 h 143"/>
                <a:gd name="T52" fmla="*/ 2147483647 w 146"/>
                <a:gd name="T53" fmla="*/ 2147483647 h 143"/>
                <a:gd name="T54" fmla="*/ 0 w 146"/>
                <a:gd name="T55" fmla="*/ 2147483647 h 143"/>
                <a:gd name="T56" fmla="*/ 2147483647 w 146"/>
                <a:gd name="T57" fmla="*/ 2147483647 h 143"/>
                <a:gd name="T58" fmla="*/ 2147483647 w 146"/>
                <a:gd name="T59" fmla="*/ 2147483647 h 143"/>
                <a:gd name="T60" fmla="*/ 2147483647 w 146"/>
                <a:gd name="T61" fmla="*/ 2147483647 h 143"/>
                <a:gd name="T62" fmla="*/ 2147483647 w 146"/>
                <a:gd name="T63" fmla="*/ 2147483647 h 143"/>
                <a:gd name="T64" fmla="*/ 2147483647 w 146"/>
                <a:gd name="T65" fmla="*/ 2147483647 h 143"/>
                <a:gd name="T66" fmla="*/ 2147483647 w 146"/>
                <a:gd name="T67" fmla="*/ 2147483647 h 143"/>
                <a:gd name="T68" fmla="*/ 2147483647 w 146"/>
                <a:gd name="T69" fmla="*/ 2147483647 h 143"/>
                <a:gd name="T70" fmla="*/ 2147483647 w 146"/>
                <a:gd name="T71" fmla="*/ 0 h 143"/>
                <a:gd name="T72" fmla="*/ 2147483647 w 146"/>
                <a:gd name="T73" fmla="*/ 0 h 14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6"/>
                <a:gd name="T112" fmla="*/ 0 h 143"/>
                <a:gd name="T113" fmla="*/ 146 w 146"/>
                <a:gd name="T114" fmla="*/ 143 h 14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6" h="143">
                  <a:moveTo>
                    <a:pt x="59" y="0"/>
                  </a:moveTo>
                  <a:lnTo>
                    <a:pt x="79" y="3"/>
                  </a:lnTo>
                  <a:lnTo>
                    <a:pt x="96" y="8"/>
                  </a:lnTo>
                  <a:lnTo>
                    <a:pt x="107" y="16"/>
                  </a:lnTo>
                  <a:lnTo>
                    <a:pt x="115" y="23"/>
                  </a:lnTo>
                  <a:lnTo>
                    <a:pt x="120" y="30"/>
                  </a:lnTo>
                  <a:lnTo>
                    <a:pt x="123" y="35"/>
                  </a:lnTo>
                  <a:lnTo>
                    <a:pt x="124" y="37"/>
                  </a:lnTo>
                  <a:lnTo>
                    <a:pt x="146" y="52"/>
                  </a:lnTo>
                  <a:lnTo>
                    <a:pt x="145" y="54"/>
                  </a:lnTo>
                  <a:lnTo>
                    <a:pt x="141" y="61"/>
                  </a:lnTo>
                  <a:lnTo>
                    <a:pt x="132" y="72"/>
                  </a:lnTo>
                  <a:lnTo>
                    <a:pt x="124" y="85"/>
                  </a:lnTo>
                  <a:lnTo>
                    <a:pt x="113" y="98"/>
                  </a:lnTo>
                  <a:lnTo>
                    <a:pt x="101" y="112"/>
                  </a:lnTo>
                  <a:lnTo>
                    <a:pt x="87" y="125"/>
                  </a:lnTo>
                  <a:lnTo>
                    <a:pt x="74" y="135"/>
                  </a:lnTo>
                  <a:lnTo>
                    <a:pt x="60" y="142"/>
                  </a:lnTo>
                  <a:lnTo>
                    <a:pt x="47" y="143"/>
                  </a:lnTo>
                  <a:lnTo>
                    <a:pt x="47" y="127"/>
                  </a:lnTo>
                  <a:lnTo>
                    <a:pt x="45" y="113"/>
                  </a:lnTo>
                  <a:lnTo>
                    <a:pt x="40" y="104"/>
                  </a:lnTo>
                  <a:lnTo>
                    <a:pt x="32" y="95"/>
                  </a:lnTo>
                  <a:lnTo>
                    <a:pt x="23" y="90"/>
                  </a:lnTo>
                  <a:lnTo>
                    <a:pt x="15" y="86"/>
                  </a:lnTo>
                  <a:lnTo>
                    <a:pt x="8" y="83"/>
                  </a:lnTo>
                  <a:lnTo>
                    <a:pt x="3" y="82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6" y="59"/>
                  </a:lnTo>
                  <a:lnTo>
                    <a:pt x="11" y="46"/>
                  </a:lnTo>
                  <a:lnTo>
                    <a:pt x="17" y="33"/>
                  </a:lnTo>
                  <a:lnTo>
                    <a:pt x="23" y="20"/>
                  </a:lnTo>
                  <a:lnTo>
                    <a:pt x="29" y="9"/>
                  </a:lnTo>
                  <a:lnTo>
                    <a:pt x="33" y="3"/>
                  </a:lnTo>
                  <a:lnTo>
                    <a:pt x="34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1D7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2" name="Freeform 2510"/>
            <p:cNvSpPr>
              <a:spLocks/>
            </p:cNvSpPr>
            <p:nvPr/>
          </p:nvSpPr>
          <p:spPr bwMode="auto">
            <a:xfrm rot="1114411" flipH="1">
              <a:off x="2533266" y="4816608"/>
              <a:ext cx="35052" cy="43397"/>
            </a:xfrm>
            <a:custGeom>
              <a:avLst/>
              <a:gdLst>
                <a:gd name="T0" fmla="*/ 2147483647 w 63"/>
                <a:gd name="T1" fmla="*/ 0 h 78"/>
                <a:gd name="T2" fmla="*/ 2147483647 w 63"/>
                <a:gd name="T3" fmla="*/ 2147483647 h 78"/>
                <a:gd name="T4" fmla="*/ 2147483647 w 63"/>
                <a:gd name="T5" fmla="*/ 2147483647 h 78"/>
                <a:gd name="T6" fmla="*/ 2147483647 w 63"/>
                <a:gd name="T7" fmla="*/ 2147483647 h 78"/>
                <a:gd name="T8" fmla="*/ 2147483647 w 63"/>
                <a:gd name="T9" fmla="*/ 2147483647 h 78"/>
                <a:gd name="T10" fmla="*/ 2147483647 w 63"/>
                <a:gd name="T11" fmla="*/ 2147483647 h 78"/>
                <a:gd name="T12" fmla="*/ 2147483647 w 63"/>
                <a:gd name="T13" fmla="*/ 2147483647 h 78"/>
                <a:gd name="T14" fmla="*/ 2147483647 w 63"/>
                <a:gd name="T15" fmla="*/ 2147483647 h 78"/>
                <a:gd name="T16" fmla="*/ 2147483647 w 63"/>
                <a:gd name="T17" fmla="*/ 2147483647 h 78"/>
                <a:gd name="T18" fmla="*/ 2147483647 w 63"/>
                <a:gd name="T19" fmla="*/ 2147483647 h 78"/>
                <a:gd name="T20" fmla="*/ 2147483647 w 63"/>
                <a:gd name="T21" fmla="*/ 2147483647 h 78"/>
                <a:gd name="T22" fmla="*/ 2147483647 w 63"/>
                <a:gd name="T23" fmla="*/ 2147483647 h 78"/>
                <a:gd name="T24" fmla="*/ 2147483647 w 63"/>
                <a:gd name="T25" fmla="*/ 2147483647 h 78"/>
                <a:gd name="T26" fmla="*/ 2147483647 w 63"/>
                <a:gd name="T27" fmla="*/ 2147483647 h 78"/>
                <a:gd name="T28" fmla="*/ 2147483647 w 63"/>
                <a:gd name="T29" fmla="*/ 2147483647 h 78"/>
                <a:gd name="T30" fmla="*/ 2147483647 w 63"/>
                <a:gd name="T31" fmla="*/ 2147483647 h 78"/>
                <a:gd name="T32" fmla="*/ 0 w 63"/>
                <a:gd name="T33" fmla="*/ 2147483647 h 78"/>
                <a:gd name="T34" fmla="*/ 0 w 63"/>
                <a:gd name="T35" fmla="*/ 2147483647 h 78"/>
                <a:gd name="T36" fmla="*/ 0 w 63"/>
                <a:gd name="T37" fmla="*/ 2147483647 h 78"/>
                <a:gd name="T38" fmla="*/ 0 w 63"/>
                <a:gd name="T39" fmla="*/ 2147483647 h 78"/>
                <a:gd name="T40" fmla="*/ 2147483647 w 63"/>
                <a:gd name="T41" fmla="*/ 2147483647 h 78"/>
                <a:gd name="T42" fmla="*/ 2147483647 w 63"/>
                <a:gd name="T43" fmla="*/ 2147483647 h 78"/>
                <a:gd name="T44" fmla="*/ 2147483647 w 63"/>
                <a:gd name="T45" fmla="*/ 2147483647 h 78"/>
                <a:gd name="T46" fmla="*/ 2147483647 w 63"/>
                <a:gd name="T47" fmla="*/ 2147483647 h 78"/>
                <a:gd name="T48" fmla="*/ 2147483647 w 63"/>
                <a:gd name="T49" fmla="*/ 2147483647 h 78"/>
                <a:gd name="T50" fmla="*/ 2147483647 w 63"/>
                <a:gd name="T51" fmla="*/ 0 h 7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78"/>
                <a:gd name="T80" fmla="*/ 63 w 63"/>
                <a:gd name="T81" fmla="*/ 78 h 7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78">
                  <a:moveTo>
                    <a:pt x="19" y="0"/>
                  </a:moveTo>
                  <a:lnTo>
                    <a:pt x="23" y="1"/>
                  </a:lnTo>
                  <a:lnTo>
                    <a:pt x="30" y="4"/>
                  </a:lnTo>
                  <a:lnTo>
                    <a:pt x="39" y="9"/>
                  </a:lnTo>
                  <a:lnTo>
                    <a:pt x="50" y="18"/>
                  </a:lnTo>
                  <a:lnTo>
                    <a:pt x="58" y="30"/>
                  </a:lnTo>
                  <a:lnTo>
                    <a:pt x="63" y="43"/>
                  </a:lnTo>
                  <a:lnTo>
                    <a:pt x="63" y="61"/>
                  </a:lnTo>
                  <a:lnTo>
                    <a:pt x="58" y="63"/>
                  </a:lnTo>
                  <a:lnTo>
                    <a:pt x="49" y="64"/>
                  </a:lnTo>
                  <a:lnTo>
                    <a:pt x="37" y="67"/>
                  </a:lnTo>
                  <a:lnTo>
                    <a:pt x="23" y="71"/>
                  </a:lnTo>
                  <a:lnTo>
                    <a:pt x="12" y="73"/>
                  </a:lnTo>
                  <a:lnTo>
                    <a:pt x="7" y="76"/>
                  </a:lnTo>
                  <a:lnTo>
                    <a:pt x="4" y="78"/>
                  </a:lnTo>
                  <a:lnTo>
                    <a:pt x="1" y="78"/>
                  </a:lnTo>
                  <a:lnTo>
                    <a:pt x="0" y="76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0" y="65"/>
                  </a:lnTo>
                  <a:lnTo>
                    <a:pt x="3" y="57"/>
                  </a:lnTo>
                  <a:lnTo>
                    <a:pt x="5" y="43"/>
                  </a:lnTo>
                  <a:lnTo>
                    <a:pt x="8" y="28"/>
                  </a:lnTo>
                  <a:lnTo>
                    <a:pt x="12" y="15"/>
                  </a:lnTo>
                  <a:lnTo>
                    <a:pt x="16" y="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3" name="Freeform 2511"/>
            <p:cNvSpPr>
              <a:spLocks/>
            </p:cNvSpPr>
            <p:nvPr/>
          </p:nvSpPr>
          <p:spPr bwMode="auto">
            <a:xfrm rot="1114411" flipH="1">
              <a:off x="2573041" y="4702228"/>
              <a:ext cx="104599" cy="95697"/>
            </a:xfrm>
            <a:custGeom>
              <a:avLst/>
              <a:gdLst>
                <a:gd name="T0" fmla="*/ 2147483647 w 188"/>
                <a:gd name="T1" fmla="*/ 0 h 172"/>
                <a:gd name="T2" fmla="*/ 2147483647 w 188"/>
                <a:gd name="T3" fmla="*/ 2147483647 h 172"/>
                <a:gd name="T4" fmla="*/ 2147483647 w 188"/>
                <a:gd name="T5" fmla="*/ 2147483647 h 172"/>
                <a:gd name="T6" fmla="*/ 2147483647 w 188"/>
                <a:gd name="T7" fmla="*/ 2147483647 h 172"/>
                <a:gd name="T8" fmla="*/ 2147483647 w 188"/>
                <a:gd name="T9" fmla="*/ 2147483647 h 172"/>
                <a:gd name="T10" fmla="*/ 2147483647 w 188"/>
                <a:gd name="T11" fmla="*/ 2147483647 h 172"/>
                <a:gd name="T12" fmla="*/ 2147483647 w 188"/>
                <a:gd name="T13" fmla="*/ 2147483647 h 172"/>
                <a:gd name="T14" fmla="*/ 2147483647 w 188"/>
                <a:gd name="T15" fmla="*/ 2147483647 h 172"/>
                <a:gd name="T16" fmla="*/ 2147483647 w 188"/>
                <a:gd name="T17" fmla="*/ 2147483647 h 172"/>
                <a:gd name="T18" fmla="*/ 2147483647 w 188"/>
                <a:gd name="T19" fmla="*/ 2147483647 h 172"/>
                <a:gd name="T20" fmla="*/ 2147483647 w 188"/>
                <a:gd name="T21" fmla="*/ 2147483647 h 172"/>
                <a:gd name="T22" fmla="*/ 2147483647 w 188"/>
                <a:gd name="T23" fmla="*/ 2147483647 h 172"/>
                <a:gd name="T24" fmla="*/ 2147483647 w 188"/>
                <a:gd name="T25" fmla="*/ 2147483647 h 172"/>
                <a:gd name="T26" fmla="*/ 2147483647 w 188"/>
                <a:gd name="T27" fmla="*/ 2147483647 h 172"/>
                <a:gd name="T28" fmla="*/ 2147483647 w 188"/>
                <a:gd name="T29" fmla="*/ 2147483647 h 172"/>
                <a:gd name="T30" fmla="*/ 2147483647 w 188"/>
                <a:gd name="T31" fmla="*/ 2147483647 h 172"/>
                <a:gd name="T32" fmla="*/ 2147483647 w 188"/>
                <a:gd name="T33" fmla="*/ 2147483647 h 172"/>
                <a:gd name="T34" fmla="*/ 2147483647 w 188"/>
                <a:gd name="T35" fmla="*/ 2147483647 h 172"/>
                <a:gd name="T36" fmla="*/ 2147483647 w 188"/>
                <a:gd name="T37" fmla="*/ 2147483647 h 172"/>
                <a:gd name="T38" fmla="*/ 2147483647 w 188"/>
                <a:gd name="T39" fmla="*/ 2147483647 h 172"/>
                <a:gd name="T40" fmla="*/ 2147483647 w 188"/>
                <a:gd name="T41" fmla="*/ 2147483647 h 172"/>
                <a:gd name="T42" fmla="*/ 2147483647 w 188"/>
                <a:gd name="T43" fmla="*/ 2147483647 h 172"/>
                <a:gd name="T44" fmla="*/ 2147483647 w 188"/>
                <a:gd name="T45" fmla="*/ 2147483647 h 172"/>
                <a:gd name="T46" fmla="*/ 2147483647 w 188"/>
                <a:gd name="T47" fmla="*/ 2147483647 h 172"/>
                <a:gd name="T48" fmla="*/ 2147483647 w 188"/>
                <a:gd name="T49" fmla="*/ 2147483647 h 172"/>
                <a:gd name="T50" fmla="*/ 2147483647 w 188"/>
                <a:gd name="T51" fmla="*/ 2147483647 h 172"/>
                <a:gd name="T52" fmla="*/ 2147483647 w 188"/>
                <a:gd name="T53" fmla="*/ 2147483647 h 172"/>
                <a:gd name="T54" fmla="*/ 2147483647 w 188"/>
                <a:gd name="T55" fmla="*/ 2147483647 h 172"/>
                <a:gd name="T56" fmla="*/ 2147483647 w 188"/>
                <a:gd name="T57" fmla="*/ 2147483647 h 172"/>
                <a:gd name="T58" fmla="*/ 2147483647 w 188"/>
                <a:gd name="T59" fmla="*/ 2147483647 h 172"/>
                <a:gd name="T60" fmla="*/ 2147483647 w 188"/>
                <a:gd name="T61" fmla="*/ 2147483647 h 172"/>
                <a:gd name="T62" fmla="*/ 2147483647 w 188"/>
                <a:gd name="T63" fmla="*/ 2147483647 h 172"/>
                <a:gd name="T64" fmla="*/ 2147483647 w 188"/>
                <a:gd name="T65" fmla="*/ 2147483647 h 172"/>
                <a:gd name="T66" fmla="*/ 2147483647 w 188"/>
                <a:gd name="T67" fmla="*/ 2147483647 h 172"/>
                <a:gd name="T68" fmla="*/ 2147483647 w 188"/>
                <a:gd name="T69" fmla="*/ 2147483647 h 172"/>
                <a:gd name="T70" fmla="*/ 2147483647 w 188"/>
                <a:gd name="T71" fmla="*/ 2147483647 h 172"/>
                <a:gd name="T72" fmla="*/ 2147483647 w 188"/>
                <a:gd name="T73" fmla="*/ 2147483647 h 172"/>
                <a:gd name="T74" fmla="*/ 2147483647 w 188"/>
                <a:gd name="T75" fmla="*/ 2147483647 h 172"/>
                <a:gd name="T76" fmla="*/ 2147483647 w 188"/>
                <a:gd name="T77" fmla="*/ 2147483647 h 172"/>
                <a:gd name="T78" fmla="*/ 2147483647 w 188"/>
                <a:gd name="T79" fmla="*/ 2147483647 h 172"/>
                <a:gd name="T80" fmla="*/ 2147483647 w 188"/>
                <a:gd name="T81" fmla="*/ 2147483647 h 172"/>
                <a:gd name="T82" fmla="*/ 0 w 188"/>
                <a:gd name="T83" fmla="*/ 2147483647 h 172"/>
                <a:gd name="T84" fmla="*/ 0 w 188"/>
                <a:gd name="T85" fmla="*/ 2147483647 h 172"/>
                <a:gd name="T86" fmla="*/ 2147483647 w 188"/>
                <a:gd name="T87" fmla="*/ 2147483647 h 172"/>
                <a:gd name="T88" fmla="*/ 2147483647 w 188"/>
                <a:gd name="T89" fmla="*/ 2147483647 h 172"/>
                <a:gd name="T90" fmla="*/ 2147483647 w 188"/>
                <a:gd name="T91" fmla="*/ 2147483647 h 172"/>
                <a:gd name="T92" fmla="*/ 2147483647 w 188"/>
                <a:gd name="T93" fmla="*/ 2147483647 h 172"/>
                <a:gd name="T94" fmla="*/ 2147483647 w 188"/>
                <a:gd name="T95" fmla="*/ 0 h 17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88"/>
                <a:gd name="T145" fmla="*/ 0 h 172"/>
                <a:gd name="T146" fmla="*/ 188 w 188"/>
                <a:gd name="T147" fmla="*/ 172 h 17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88" h="172">
                  <a:moveTo>
                    <a:pt x="17" y="0"/>
                  </a:moveTo>
                  <a:lnTo>
                    <a:pt x="31" y="1"/>
                  </a:lnTo>
                  <a:lnTo>
                    <a:pt x="45" y="6"/>
                  </a:lnTo>
                  <a:lnTo>
                    <a:pt x="61" y="15"/>
                  </a:lnTo>
                  <a:lnTo>
                    <a:pt x="75" y="26"/>
                  </a:lnTo>
                  <a:lnTo>
                    <a:pt x="88" y="37"/>
                  </a:lnTo>
                  <a:lnTo>
                    <a:pt x="99" y="46"/>
                  </a:lnTo>
                  <a:lnTo>
                    <a:pt x="112" y="53"/>
                  </a:lnTo>
                  <a:lnTo>
                    <a:pt x="125" y="54"/>
                  </a:lnTo>
                  <a:lnTo>
                    <a:pt x="137" y="53"/>
                  </a:lnTo>
                  <a:lnTo>
                    <a:pt x="147" y="52"/>
                  </a:lnTo>
                  <a:lnTo>
                    <a:pt x="150" y="50"/>
                  </a:lnTo>
                  <a:lnTo>
                    <a:pt x="152" y="53"/>
                  </a:lnTo>
                  <a:lnTo>
                    <a:pt x="157" y="60"/>
                  </a:lnTo>
                  <a:lnTo>
                    <a:pt x="163" y="71"/>
                  </a:lnTo>
                  <a:lnTo>
                    <a:pt x="170" y="83"/>
                  </a:lnTo>
                  <a:lnTo>
                    <a:pt x="177" y="98"/>
                  </a:lnTo>
                  <a:lnTo>
                    <a:pt x="184" y="112"/>
                  </a:lnTo>
                  <a:lnTo>
                    <a:pt x="188" y="125"/>
                  </a:lnTo>
                  <a:lnTo>
                    <a:pt x="188" y="137"/>
                  </a:lnTo>
                  <a:lnTo>
                    <a:pt x="185" y="148"/>
                  </a:lnTo>
                  <a:lnTo>
                    <a:pt x="174" y="158"/>
                  </a:lnTo>
                  <a:lnTo>
                    <a:pt x="161" y="165"/>
                  </a:lnTo>
                  <a:lnTo>
                    <a:pt x="144" y="169"/>
                  </a:lnTo>
                  <a:lnTo>
                    <a:pt x="129" y="170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51"/>
                  </a:lnTo>
                  <a:lnTo>
                    <a:pt x="105" y="135"/>
                  </a:lnTo>
                  <a:lnTo>
                    <a:pt x="95" y="122"/>
                  </a:lnTo>
                  <a:lnTo>
                    <a:pt x="83" y="114"/>
                  </a:lnTo>
                  <a:lnTo>
                    <a:pt x="69" y="109"/>
                  </a:lnTo>
                  <a:lnTo>
                    <a:pt x="56" y="106"/>
                  </a:lnTo>
                  <a:lnTo>
                    <a:pt x="42" y="105"/>
                  </a:lnTo>
                  <a:lnTo>
                    <a:pt x="30" y="105"/>
                  </a:lnTo>
                  <a:lnTo>
                    <a:pt x="19" y="106"/>
                  </a:lnTo>
                  <a:lnTo>
                    <a:pt x="9" y="107"/>
                  </a:lnTo>
                  <a:lnTo>
                    <a:pt x="4" y="109"/>
                  </a:lnTo>
                  <a:lnTo>
                    <a:pt x="1" y="110"/>
                  </a:lnTo>
                  <a:lnTo>
                    <a:pt x="1" y="106"/>
                  </a:lnTo>
                  <a:lnTo>
                    <a:pt x="1" y="97"/>
                  </a:lnTo>
                  <a:lnTo>
                    <a:pt x="0" y="82"/>
                  </a:lnTo>
                  <a:lnTo>
                    <a:pt x="0" y="65"/>
                  </a:lnTo>
                  <a:lnTo>
                    <a:pt x="1" y="47"/>
                  </a:lnTo>
                  <a:lnTo>
                    <a:pt x="2" y="30"/>
                  </a:lnTo>
                  <a:lnTo>
                    <a:pt x="5" y="15"/>
                  </a:lnTo>
                  <a:lnTo>
                    <a:pt x="11" y="5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1D7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4" name="Freeform 2559"/>
            <p:cNvSpPr>
              <a:spLocks/>
            </p:cNvSpPr>
            <p:nvPr/>
          </p:nvSpPr>
          <p:spPr bwMode="auto">
            <a:xfrm rot="1114411" flipH="1">
              <a:off x="2595646" y="4759193"/>
              <a:ext cx="82900" cy="81231"/>
            </a:xfrm>
            <a:custGeom>
              <a:avLst/>
              <a:gdLst>
                <a:gd name="T0" fmla="*/ 2147483647 w 149"/>
                <a:gd name="T1" fmla="*/ 0 h 146"/>
                <a:gd name="T2" fmla="*/ 2147483647 w 149"/>
                <a:gd name="T3" fmla="*/ 0 h 146"/>
                <a:gd name="T4" fmla="*/ 2147483647 w 149"/>
                <a:gd name="T5" fmla="*/ 2147483647 h 146"/>
                <a:gd name="T6" fmla="*/ 2147483647 w 149"/>
                <a:gd name="T7" fmla="*/ 2147483647 h 146"/>
                <a:gd name="T8" fmla="*/ 2147483647 w 149"/>
                <a:gd name="T9" fmla="*/ 2147483647 h 146"/>
                <a:gd name="T10" fmla="*/ 2147483647 w 149"/>
                <a:gd name="T11" fmla="*/ 2147483647 h 146"/>
                <a:gd name="T12" fmla="*/ 2147483647 w 149"/>
                <a:gd name="T13" fmla="*/ 2147483647 h 146"/>
                <a:gd name="T14" fmla="*/ 2147483647 w 149"/>
                <a:gd name="T15" fmla="*/ 2147483647 h 146"/>
                <a:gd name="T16" fmla="*/ 2147483647 w 149"/>
                <a:gd name="T17" fmla="*/ 2147483647 h 146"/>
                <a:gd name="T18" fmla="*/ 2147483647 w 149"/>
                <a:gd name="T19" fmla="*/ 2147483647 h 146"/>
                <a:gd name="T20" fmla="*/ 2147483647 w 149"/>
                <a:gd name="T21" fmla="*/ 2147483647 h 146"/>
                <a:gd name="T22" fmla="*/ 2147483647 w 149"/>
                <a:gd name="T23" fmla="*/ 2147483647 h 146"/>
                <a:gd name="T24" fmla="*/ 2147483647 w 149"/>
                <a:gd name="T25" fmla="*/ 2147483647 h 146"/>
                <a:gd name="T26" fmla="*/ 2147483647 w 149"/>
                <a:gd name="T27" fmla="*/ 2147483647 h 146"/>
                <a:gd name="T28" fmla="*/ 2147483647 w 149"/>
                <a:gd name="T29" fmla="*/ 2147483647 h 146"/>
                <a:gd name="T30" fmla="*/ 2147483647 w 149"/>
                <a:gd name="T31" fmla="*/ 2147483647 h 146"/>
                <a:gd name="T32" fmla="*/ 2147483647 w 149"/>
                <a:gd name="T33" fmla="*/ 2147483647 h 146"/>
                <a:gd name="T34" fmla="*/ 2147483647 w 149"/>
                <a:gd name="T35" fmla="*/ 2147483647 h 146"/>
                <a:gd name="T36" fmla="*/ 2147483647 w 149"/>
                <a:gd name="T37" fmla="*/ 2147483647 h 146"/>
                <a:gd name="T38" fmla="*/ 2147483647 w 149"/>
                <a:gd name="T39" fmla="*/ 2147483647 h 146"/>
                <a:gd name="T40" fmla="*/ 2147483647 w 149"/>
                <a:gd name="T41" fmla="*/ 2147483647 h 146"/>
                <a:gd name="T42" fmla="*/ 2147483647 w 149"/>
                <a:gd name="T43" fmla="*/ 2147483647 h 146"/>
                <a:gd name="T44" fmla="*/ 2147483647 w 149"/>
                <a:gd name="T45" fmla="*/ 2147483647 h 146"/>
                <a:gd name="T46" fmla="*/ 2147483647 w 149"/>
                <a:gd name="T47" fmla="*/ 2147483647 h 146"/>
                <a:gd name="T48" fmla="*/ 2147483647 w 149"/>
                <a:gd name="T49" fmla="*/ 2147483647 h 146"/>
                <a:gd name="T50" fmla="*/ 2147483647 w 149"/>
                <a:gd name="T51" fmla="*/ 2147483647 h 146"/>
                <a:gd name="T52" fmla="*/ 2147483647 w 149"/>
                <a:gd name="T53" fmla="*/ 2147483647 h 146"/>
                <a:gd name="T54" fmla="*/ 2147483647 w 149"/>
                <a:gd name="T55" fmla="*/ 2147483647 h 146"/>
                <a:gd name="T56" fmla="*/ 2147483647 w 149"/>
                <a:gd name="T57" fmla="*/ 2147483647 h 146"/>
                <a:gd name="T58" fmla="*/ 2147483647 w 149"/>
                <a:gd name="T59" fmla="*/ 2147483647 h 146"/>
                <a:gd name="T60" fmla="*/ 2147483647 w 149"/>
                <a:gd name="T61" fmla="*/ 2147483647 h 146"/>
                <a:gd name="T62" fmla="*/ 0 w 149"/>
                <a:gd name="T63" fmla="*/ 2147483647 h 146"/>
                <a:gd name="T64" fmla="*/ 2147483647 w 149"/>
                <a:gd name="T65" fmla="*/ 2147483647 h 146"/>
                <a:gd name="T66" fmla="*/ 2147483647 w 149"/>
                <a:gd name="T67" fmla="*/ 2147483647 h 146"/>
                <a:gd name="T68" fmla="*/ 2147483647 w 149"/>
                <a:gd name="T69" fmla="*/ 2147483647 h 146"/>
                <a:gd name="T70" fmla="*/ 2147483647 w 149"/>
                <a:gd name="T71" fmla="*/ 2147483647 h 146"/>
                <a:gd name="T72" fmla="*/ 2147483647 w 149"/>
                <a:gd name="T73" fmla="*/ 2147483647 h 146"/>
                <a:gd name="T74" fmla="*/ 2147483647 w 149"/>
                <a:gd name="T75" fmla="*/ 2147483647 h 146"/>
                <a:gd name="T76" fmla="*/ 2147483647 w 149"/>
                <a:gd name="T77" fmla="*/ 2147483647 h 146"/>
                <a:gd name="T78" fmla="*/ 2147483647 w 149"/>
                <a:gd name="T79" fmla="*/ 2147483647 h 146"/>
                <a:gd name="T80" fmla="*/ 2147483647 w 149"/>
                <a:gd name="T81" fmla="*/ 0 h 146"/>
                <a:gd name="T82" fmla="*/ 2147483647 w 149"/>
                <a:gd name="T83" fmla="*/ 0 h 14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9"/>
                <a:gd name="T127" fmla="*/ 0 h 146"/>
                <a:gd name="T128" fmla="*/ 149 w 149"/>
                <a:gd name="T129" fmla="*/ 146 h 14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9" h="146">
                  <a:moveTo>
                    <a:pt x="60" y="0"/>
                  </a:moveTo>
                  <a:lnTo>
                    <a:pt x="75" y="0"/>
                  </a:lnTo>
                  <a:lnTo>
                    <a:pt x="90" y="3"/>
                  </a:lnTo>
                  <a:lnTo>
                    <a:pt x="105" y="7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8" y="34"/>
                  </a:lnTo>
                  <a:lnTo>
                    <a:pt x="146" y="48"/>
                  </a:lnTo>
                  <a:lnTo>
                    <a:pt x="149" y="63"/>
                  </a:lnTo>
                  <a:lnTo>
                    <a:pt x="145" y="81"/>
                  </a:lnTo>
                  <a:lnTo>
                    <a:pt x="138" y="90"/>
                  </a:lnTo>
                  <a:lnTo>
                    <a:pt x="126" y="100"/>
                  </a:lnTo>
                  <a:lnTo>
                    <a:pt x="111" y="111"/>
                  </a:lnTo>
                  <a:lnTo>
                    <a:pt x="94" y="120"/>
                  </a:lnTo>
                  <a:lnTo>
                    <a:pt x="76" y="128"/>
                  </a:lnTo>
                  <a:lnTo>
                    <a:pt x="59" y="137"/>
                  </a:lnTo>
                  <a:lnTo>
                    <a:pt x="42" y="142"/>
                  </a:lnTo>
                  <a:lnTo>
                    <a:pt x="29" y="145"/>
                  </a:lnTo>
                  <a:lnTo>
                    <a:pt x="21" y="146"/>
                  </a:lnTo>
                  <a:lnTo>
                    <a:pt x="16" y="143"/>
                  </a:lnTo>
                  <a:lnTo>
                    <a:pt x="19" y="141"/>
                  </a:lnTo>
                  <a:lnTo>
                    <a:pt x="25" y="135"/>
                  </a:lnTo>
                  <a:lnTo>
                    <a:pt x="30" y="128"/>
                  </a:lnTo>
                  <a:lnTo>
                    <a:pt x="34" y="120"/>
                  </a:lnTo>
                  <a:lnTo>
                    <a:pt x="40" y="112"/>
                  </a:lnTo>
                  <a:lnTo>
                    <a:pt x="42" y="102"/>
                  </a:lnTo>
                  <a:lnTo>
                    <a:pt x="44" y="94"/>
                  </a:lnTo>
                  <a:lnTo>
                    <a:pt x="44" y="87"/>
                  </a:lnTo>
                  <a:lnTo>
                    <a:pt x="38" y="81"/>
                  </a:lnTo>
                  <a:lnTo>
                    <a:pt x="30" y="76"/>
                  </a:lnTo>
                  <a:lnTo>
                    <a:pt x="18" y="75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6" y="66"/>
                  </a:lnTo>
                  <a:lnTo>
                    <a:pt x="11" y="55"/>
                  </a:lnTo>
                  <a:lnTo>
                    <a:pt x="18" y="42"/>
                  </a:lnTo>
                  <a:lnTo>
                    <a:pt x="25" y="29"/>
                  </a:lnTo>
                  <a:lnTo>
                    <a:pt x="30" y="16"/>
                  </a:lnTo>
                  <a:lnTo>
                    <a:pt x="37" y="8"/>
                  </a:lnTo>
                  <a:lnTo>
                    <a:pt x="41" y="3"/>
                  </a:lnTo>
                  <a:lnTo>
                    <a:pt x="48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1D7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5" name="Freeform 2601"/>
            <p:cNvSpPr>
              <a:spLocks/>
            </p:cNvSpPr>
            <p:nvPr/>
          </p:nvSpPr>
          <p:spPr bwMode="auto">
            <a:xfrm rot="1114411" flipH="1">
              <a:off x="2644354" y="4814628"/>
              <a:ext cx="56750" cy="39503"/>
            </a:xfrm>
            <a:custGeom>
              <a:avLst/>
              <a:gdLst>
                <a:gd name="T0" fmla="*/ 2147483647 w 102"/>
                <a:gd name="T1" fmla="*/ 0 h 71"/>
                <a:gd name="T2" fmla="*/ 2147483647 w 102"/>
                <a:gd name="T3" fmla="*/ 2147483647 h 71"/>
                <a:gd name="T4" fmla="*/ 2147483647 w 102"/>
                <a:gd name="T5" fmla="*/ 2147483647 h 71"/>
                <a:gd name="T6" fmla="*/ 2147483647 w 102"/>
                <a:gd name="T7" fmla="*/ 2147483647 h 71"/>
                <a:gd name="T8" fmla="*/ 2147483647 w 102"/>
                <a:gd name="T9" fmla="*/ 2147483647 h 71"/>
                <a:gd name="T10" fmla="*/ 2147483647 w 102"/>
                <a:gd name="T11" fmla="*/ 2147483647 h 71"/>
                <a:gd name="T12" fmla="*/ 2147483647 w 102"/>
                <a:gd name="T13" fmla="*/ 2147483647 h 71"/>
                <a:gd name="T14" fmla="*/ 2147483647 w 102"/>
                <a:gd name="T15" fmla="*/ 2147483647 h 71"/>
                <a:gd name="T16" fmla="*/ 2147483647 w 102"/>
                <a:gd name="T17" fmla="*/ 2147483647 h 71"/>
                <a:gd name="T18" fmla="*/ 2147483647 w 102"/>
                <a:gd name="T19" fmla="*/ 2147483647 h 71"/>
                <a:gd name="T20" fmla="*/ 2147483647 w 102"/>
                <a:gd name="T21" fmla="*/ 2147483647 h 71"/>
                <a:gd name="T22" fmla="*/ 2147483647 w 102"/>
                <a:gd name="T23" fmla="*/ 2147483647 h 71"/>
                <a:gd name="T24" fmla="*/ 2147483647 w 102"/>
                <a:gd name="T25" fmla="*/ 2147483647 h 71"/>
                <a:gd name="T26" fmla="*/ 2147483647 w 102"/>
                <a:gd name="T27" fmla="*/ 2147483647 h 71"/>
                <a:gd name="T28" fmla="*/ 2147483647 w 102"/>
                <a:gd name="T29" fmla="*/ 2147483647 h 71"/>
                <a:gd name="T30" fmla="*/ 2147483647 w 102"/>
                <a:gd name="T31" fmla="*/ 2147483647 h 71"/>
                <a:gd name="T32" fmla="*/ 2147483647 w 102"/>
                <a:gd name="T33" fmla="*/ 2147483647 h 71"/>
                <a:gd name="T34" fmla="*/ 0 w 102"/>
                <a:gd name="T35" fmla="*/ 2147483647 h 71"/>
                <a:gd name="T36" fmla="*/ 2147483647 w 102"/>
                <a:gd name="T37" fmla="*/ 2147483647 h 71"/>
                <a:gd name="T38" fmla="*/ 2147483647 w 102"/>
                <a:gd name="T39" fmla="*/ 2147483647 h 71"/>
                <a:gd name="T40" fmla="*/ 2147483647 w 102"/>
                <a:gd name="T41" fmla="*/ 2147483647 h 71"/>
                <a:gd name="T42" fmla="*/ 2147483647 w 102"/>
                <a:gd name="T43" fmla="*/ 2147483647 h 71"/>
                <a:gd name="T44" fmla="*/ 2147483647 w 102"/>
                <a:gd name="T45" fmla="*/ 2147483647 h 71"/>
                <a:gd name="T46" fmla="*/ 2147483647 w 102"/>
                <a:gd name="T47" fmla="*/ 0 h 71"/>
                <a:gd name="T48" fmla="*/ 2147483647 w 102"/>
                <a:gd name="T49" fmla="*/ 0 h 7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71"/>
                <a:gd name="T77" fmla="*/ 102 w 102"/>
                <a:gd name="T78" fmla="*/ 71 h 7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71">
                  <a:moveTo>
                    <a:pt x="75" y="0"/>
                  </a:moveTo>
                  <a:lnTo>
                    <a:pt x="88" y="2"/>
                  </a:lnTo>
                  <a:lnTo>
                    <a:pt x="97" y="7"/>
                  </a:lnTo>
                  <a:lnTo>
                    <a:pt x="101" y="14"/>
                  </a:lnTo>
                  <a:lnTo>
                    <a:pt x="102" y="22"/>
                  </a:lnTo>
                  <a:lnTo>
                    <a:pt x="101" y="32"/>
                  </a:lnTo>
                  <a:lnTo>
                    <a:pt x="97" y="41"/>
                  </a:lnTo>
                  <a:lnTo>
                    <a:pt x="93" y="51"/>
                  </a:lnTo>
                  <a:lnTo>
                    <a:pt x="88" y="58"/>
                  </a:lnTo>
                  <a:lnTo>
                    <a:pt x="83" y="65"/>
                  </a:lnTo>
                  <a:lnTo>
                    <a:pt x="79" y="69"/>
                  </a:lnTo>
                  <a:lnTo>
                    <a:pt x="71" y="71"/>
                  </a:lnTo>
                  <a:lnTo>
                    <a:pt x="58" y="71"/>
                  </a:lnTo>
                  <a:lnTo>
                    <a:pt x="43" y="69"/>
                  </a:lnTo>
                  <a:lnTo>
                    <a:pt x="27" y="66"/>
                  </a:lnTo>
                  <a:lnTo>
                    <a:pt x="13" y="62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5" y="48"/>
                  </a:lnTo>
                  <a:lnTo>
                    <a:pt x="13" y="37"/>
                  </a:lnTo>
                  <a:lnTo>
                    <a:pt x="24" y="25"/>
                  </a:lnTo>
                  <a:lnTo>
                    <a:pt x="39" y="13"/>
                  </a:lnTo>
                  <a:lnTo>
                    <a:pt x="57" y="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6" name="Freeform 2613"/>
            <p:cNvSpPr>
              <a:spLocks/>
            </p:cNvSpPr>
            <p:nvPr/>
          </p:nvSpPr>
          <p:spPr bwMode="auto">
            <a:xfrm rot="1114411" flipH="1">
              <a:off x="2683562" y="4751072"/>
              <a:ext cx="79005" cy="80118"/>
            </a:xfrm>
            <a:custGeom>
              <a:avLst/>
              <a:gdLst>
                <a:gd name="T0" fmla="*/ 2147483647 w 142"/>
                <a:gd name="T1" fmla="*/ 0 h 144"/>
                <a:gd name="T2" fmla="*/ 2147483647 w 142"/>
                <a:gd name="T3" fmla="*/ 2147483647 h 144"/>
                <a:gd name="T4" fmla="*/ 2147483647 w 142"/>
                <a:gd name="T5" fmla="*/ 2147483647 h 144"/>
                <a:gd name="T6" fmla="*/ 2147483647 w 142"/>
                <a:gd name="T7" fmla="*/ 2147483647 h 144"/>
                <a:gd name="T8" fmla="*/ 2147483647 w 142"/>
                <a:gd name="T9" fmla="*/ 2147483647 h 144"/>
                <a:gd name="T10" fmla="*/ 2147483647 w 142"/>
                <a:gd name="T11" fmla="*/ 2147483647 h 144"/>
                <a:gd name="T12" fmla="*/ 2147483647 w 142"/>
                <a:gd name="T13" fmla="*/ 2147483647 h 144"/>
                <a:gd name="T14" fmla="*/ 2147483647 w 142"/>
                <a:gd name="T15" fmla="*/ 2147483647 h 144"/>
                <a:gd name="T16" fmla="*/ 2147483647 w 142"/>
                <a:gd name="T17" fmla="*/ 2147483647 h 144"/>
                <a:gd name="T18" fmla="*/ 2147483647 w 142"/>
                <a:gd name="T19" fmla="*/ 2147483647 h 144"/>
                <a:gd name="T20" fmla="*/ 2147483647 w 142"/>
                <a:gd name="T21" fmla="*/ 2147483647 h 144"/>
                <a:gd name="T22" fmla="*/ 2147483647 w 142"/>
                <a:gd name="T23" fmla="*/ 2147483647 h 144"/>
                <a:gd name="T24" fmla="*/ 2147483647 w 142"/>
                <a:gd name="T25" fmla="*/ 2147483647 h 144"/>
                <a:gd name="T26" fmla="*/ 2147483647 w 142"/>
                <a:gd name="T27" fmla="*/ 2147483647 h 144"/>
                <a:gd name="T28" fmla="*/ 2147483647 w 142"/>
                <a:gd name="T29" fmla="*/ 2147483647 h 144"/>
                <a:gd name="T30" fmla="*/ 2147483647 w 142"/>
                <a:gd name="T31" fmla="*/ 2147483647 h 144"/>
                <a:gd name="T32" fmla="*/ 2147483647 w 142"/>
                <a:gd name="T33" fmla="*/ 2147483647 h 144"/>
                <a:gd name="T34" fmla="*/ 2147483647 w 142"/>
                <a:gd name="T35" fmla="*/ 2147483647 h 144"/>
                <a:gd name="T36" fmla="*/ 2147483647 w 142"/>
                <a:gd name="T37" fmla="*/ 2147483647 h 144"/>
                <a:gd name="T38" fmla="*/ 2147483647 w 142"/>
                <a:gd name="T39" fmla="*/ 2147483647 h 144"/>
                <a:gd name="T40" fmla="*/ 2147483647 w 142"/>
                <a:gd name="T41" fmla="*/ 2147483647 h 144"/>
                <a:gd name="T42" fmla="*/ 2147483647 w 142"/>
                <a:gd name="T43" fmla="*/ 2147483647 h 144"/>
                <a:gd name="T44" fmla="*/ 2147483647 w 142"/>
                <a:gd name="T45" fmla="*/ 2147483647 h 144"/>
                <a:gd name="T46" fmla="*/ 2147483647 w 142"/>
                <a:gd name="T47" fmla="*/ 2147483647 h 144"/>
                <a:gd name="T48" fmla="*/ 0 w 142"/>
                <a:gd name="T49" fmla="*/ 2147483647 h 144"/>
                <a:gd name="T50" fmla="*/ 0 w 142"/>
                <a:gd name="T51" fmla="*/ 2147483647 h 144"/>
                <a:gd name="T52" fmla="*/ 2147483647 w 142"/>
                <a:gd name="T53" fmla="*/ 2147483647 h 144"/>
                <a:gd name="T54" fmla="*/ 2147483647 w 142"/>
                <a:gd name="T55" fmla="*/ 2147483647 h 144"/>
                <a:gd name="T56" fmla="*/ 2147483647 w 142"/>
                <a:gd name="T57" fmla="*/ 2147483647 h 144"/>
                <a:gd name="T58" fmla="*/ 2147483647 w 142"/>
                <a:gd name="T59" fmla="*/ 2147483647 h 144"/>
                <a:gd name="T60" fmla="*/ 2147483647 w 142"/>
                <a:gd name="T61" fmla="*/ 2147483647 h 144"/>
                <a:gd name="T62" fmla="*/ 2147483647 w 142"/>
                <a:gd name="T63" fmla="*/ 2147483647 h 144"/>
                <a:gd name="T64" fmla="*/ 2147483647 w 142"/>
                <a:gd name="T65" fmla="*/ 2147483647 h 144"/>
                <a:gd name="T66" fmla="*/ 2147483647 w 142"/>
                <a:gd name="T67" fmla="*/ 2147483647 h 144"/>
                <a:gd name="T68" fmla="*/ 2147483647 w 142"/>
                <a:gd name="T69" fmla="*/ 2147483647 h 144"/>
                <a:gd name="T70" fmla="*/ 2147483647 w 142"/>
                <a:gd name="T71" fmla="*/ 2147483647 h 144"/>
                <a:gd name="T72" fmla="*/ 2147483647 w 142"/>
                <a:gd name="T73" fmla="*/ 2147483647 h 144"/>
                <a:gd name="T74" fmla="*/ 2147483647 w 142"/>
                <a:gd name="T75" fmla="*/ 2147483647 h 144"/>
                <a:gd name="T76" fmla="*/ 2147483647 w 142"/>
                <a:gd name="T77" fmla="*/ 2147483647 h 144"/>
                <a:gd name="T78" fmla="*/ 2147483647 w 142"/>
                <a:gd name="T79" fmla="*/ 2147483647 h 144"/>
                <a:gd name="T80" fmla="*/ 2147483647 w 142"/>
                <a:gd name="T81" fmla="*/ 2147483647 h 144"/>
                <a:gd name="T82" fmla="*/ 2147483647 w 142"/>
                <a:gd name="T83" fmla="*/ 2147483647 h 144"/>
                <a:gd name="T84" fmla="*/ 2147483647 w 142"/>
                <a:gd name="T85" fmla="*/ 2147483647 h 144"/>
                <a:gd name="T86" fmla="*/ 2147483647 w 142"/>
                <a:gd name="T87" fmla="*/ 2147483647 h 144"/>
                <a:gd name="T88" fmla="*/ 2147483647 w 142"/>
                <a:gd name="T89" fmla="*/ 2147483647 h 144"/>
                <a:gd name="T90" fmla="*/ 2147483647 w 142"/>
                <a:gd name="T91" fmla="*/ 0 h 144"/>
                <a:gd name="T92" fmla="*/ 2147483647 w 142"/>
                <a:gd name="T93" fmla="*/ 0 h 1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42"/>
                <a:gd name="T142" fmla="*/ 0 h 144"/>
                <a:gd name="T143" fmla="*/ 142 w 142"/>
                <a:gd name="T144" fmla="*/ 144 h 1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42" h="144">
                  <a:moveTo>
                    <a:pt x="105" y="0"/>
                  </a:moveTo>
                  <a:lnTo>
                    <a:pt x="119" y="4"/>
                  </a:lnTo>
                  <a:lnTo>
                    <a:pt x="133" y="15"/>
                  </a:lnTo>
                  <a:lnTo>
                    <a:pt x="141" y="32"/>
                  </a:lnTo>
                  <a:lnTo>
                    <a:pt x="142" y="48"/>
                  </a:lnTo>
                  <a:lnTo>
                    <a:pt x="139" y="63"/>
                  </a:lnTo>
                  <a:lnTo>
                    <a:pt x="133" y="77"/>
                  </a:lnTo>
                  <a:lnTo>
                    <a:pt x="124" y="89"/>
                  </a:lnTo>
                  <a:lnTo>
                    <a:pt x="116" y="96"/>
                  </a:lnTo>
                  <a:lnTo>
                    <a:pt x="111" y="100"/>
                  </a:lnTo>
                  <a:lnTo>
                    <a:pt x="105" y="100"/>
                  </a:lnTo>
                  <a:lnTo>
                    <a:pt x="101" y="101"/>
                  </a:lnTo>
                  <a:lnTo>
                    <a:pt x="96" y="103"/>
                  </a:lnTo>
                  <a:lnTo>
                    <a:pt x="89" y="105"/>
                  </a:lnTo>
                  <a:lnTo>
                    <a:pt x="81" y="111"/>
                  </a:lnTo>
                  <a:lnTo>
                    <a:pt x="67" y="119"/>
                  </a:lnTo>
                  <a:lnTo>
                    <a:pt x="51" y="131"/>
                  </a:lnTo>
                  <a:lnTo>
                    <a:pt x="36" y="141"/>
                  </a:lnTo>
                  <a:lnTo>
                    <a:pt x="25" y="144"/>
                  </a:lnTo>
                  <a:lnTo>
                    <a:pt x="17" y="144"/>
                  </a:lnTo>
                  <a:lnTo>
                    <a:pt x="10" y="139"/>
                  </a:lnTo>
                  <a:lnTo>
                    <a:pt x="6" y="135"/>
                  </a:lnTo>
                  <a:lnTo>
                    <a:pt x="3" y="129"/>
                  </a:lnTo>
                  <a:lnTo>
                    <a:pt x="2" y="123"/>
                  </a:lnTo>
                  <a:lnTo>
                    <a:pt x="0" y="119"/>
                  </a:lnTo>
                  <a:lnTo>
                    <a:pt x="0" y="118"/>
                  </a:lnTo>
                  <a:lnTo>
                    <a:pt x="13" y="103"/>
                  </a:lnTo>
                  <a:lnTo>
                    <a:pt x="19" y="92"/>
                  </a:lnTo>
                  <a:lnTo>
                    <a:pt x="22" y="82"/>
                  </a:lnTo>
                  <a:lnTo>
                    <a:pt x="22" y="75"/>
                  </a:lnTo>
                  <a:lnTo>
                    <a:pt x="19" y="70"/>
                  </a:lnTo>
                  <a:lnTo>
                    <a:pt x="15" y="67"/>
                  </a:lnTo>
                  <a:lnTo>
                    <a:pt x="11" y="66"/>
                  </a:lnTo>
                  <a:lnTo>
                    <a:pt x="7" y="64"/>
                  </a:lnTo>
                  <a:lnTo>
                    <a:pt x="3" y="63"/>
                  </a:lnTo>
                  <a:lnTo>
                    <a:pt x="2" y="63"/>
                  </a:lnTo>
                  <a:lnTo>
                    <a:pt x="4" y="62"/>
                  </a:lnTo>
                  <a:lnTo>
                    <a:pt x="11" y="58"/>
                  </a:lnTo>
                  <a:lnTo>
                    <a:pt x="19" y="51"/>
                  </a:lnTo>
                  <a:lnTo>
                    <a:pt x="29" y="43"/>
                  </a:lnTo>
                  <a:lnTo>
                    <a:pt x="39" y="36"/>
                  </a:lnTo>
                  <a:lnTo>
                    <a:pt x="47" y="28"/>
                  </a:lnTo>
                  <a:lnTo>
                    <a:pt x="54" y="21"/>
                  </a:lnTo>
                  <a:lnTo>
                    <a:pt x="63" y="13"/>
                  </a:lnTo>
                  <a:lnTo>
                    <a:pt x="77" y="6"/>
                  </a:lnTo>
                  <a:lnTo>
                    <a:pt x="90" y="0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1D7B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7" name="Freeform 2661"/>
            <p:cNvSpPr>
              <a:spLocks/>
            </p:cNvSpPr>
            <p:nvPr/>
          </p:nvSpPr>
          <p:spPr bwMode="auto">
            <a:xfrm rot="1114411" flipH="1">
              <a:off x="2669313" y="4699204"/>
              <a:ext cx="109050" cy="126854"/>
            </a:xfrm>
            <a:custGeom>
              <a:avLst/>
              <a:gdLst>
                <a:gd name="T0" fmla="*/ 2147483647 w 196"/>
                <a:gd name="T1" fmla="*/ 0 h 228"/>
                <a:gd name="T2" fmla="*/ 2147483647 w 196"/>
                <a:gd name="T3" fmla="*/ 2147483647 h 228"/>
                <a:gd name="T4" fmla="*/ 2147483647 w 196"/>
                <a:gd name="T5" fmla="*/ 2147483647 h 228"/>
                <a:gd name="T6" fmla="*/ 2147483647 w 196"/>
                <a:gd name="T7" fmla="*/ 2147483647 h 228"/>
                <a:gd name="T8" fmla="*/ 2147483647 w 196"/>
                <a:gd name="T9" fmla="*/ 2147483647 h 228"/>
                <a:gd name="T10" fmla="*/ 2147483647 w 196"/>
                <a:gd name="T11" fmla="*/ 2147483647 h 228"/>
                <a:gd name="T12" fmla="*/ 2147483647 w 196"/>
                <a:gd name="T13" fmla="*/ 2147483647 h 228"/>
                <a:gd name="T14" fmla="*/ 2147483647 w 196"/>
                <a:gd name="T15" fmla="*/ 2147483647 h 228"/>
                <a:gd name="T16" fmla="*/ 2147483647 w 196"/>
                <a:gd name="T17" fmla="*/ 2147483647 h 228"/>
                <a:gd name="T18" fmla="*/ 2147483647 w 196"/>
                <a:gd name="T19" fmla="*/ 2147483647 h 228"/>
                <a:gd name="T20" fmla="*/ 2147483647 w 196"/>
                <a:gd name="T21" fmla="*/ 2147483647 h 228"/>
                <a:gd name="T22" fmla="*/ 2147483647 w 196"/>
                <a:gd name="T23" fmla="*/ 2147483647 h 228"/>
                <a:gd name="T24" fmla="*/ 2147483647 w 196"/>
                <a:gd name="T25" fmla="*/ 2147483647 h 228"/>
                <a:gd name="T26" fmla="*/ 2147483647 w 196"/>
                <a:gd name="T27" fmla="*/ 2147483647 h 228"/>
                <a:gd name="T28" fmla="*/ 2147483647 w 196"/>
                <a:gd name="T29" fmla="*/ 2147483647 h 228"/>
                <a:gd name="T30" fmla="*/ 2147483647 w 196"/>
                <a:gd name="T31" fmla="*/ 2147483647 h 228"/>
                <a:gd name="T32" fmla="*/ 2147483647 w 196"/>
                <a:gd name="T33" fmla="*/ 2147483647 h 228"/>
                <a:gd name="T34" fmla="*/ 2147483647 w 196"/>
                <a:gd name="T35" fmla="*/ 2147483647 h 228"/>
                <a:gd name="T36" fmla="*/ 2147483647 w 196"/>
                <a:gd name="T37" fmla="*/ 2147483647 h 228"/>
                <a:gd name="T38" fmla="*/ 2147483647 w 196"/>
                <a:gd name="T39" fmla="*/ 2147483647 h 228"/>
                <a:gd name="T40" fmla="*/ 2147483647 w 196"/>
                <a:gd name="T41" fmla="*/ 2147483647 h 228"/>
                <a:gd name="T42" fmla="*/ 2147483647 w 196"/>
                <a:gd name="T43" fmla="*/ 2147483647 h 228"/>
                <a:gd name="T44" fmla="*/ 2147483647 w 196"/>
                <a:gd name="T45" fmla="*/ 2147483647 h 228"/>
                <a:gd name="T46" fmla="*/ 2147483647 w 196"/>
                <a:gd name="T47" fmla="*/ 2147483647 h 228"/>
                <a:gd name="T48" fmla="*/ 2147483647 w 196"/>
                <a:gd name="T49" fmla="*/ 2147483647 h 228"/>
                <a:gd name="T50" fmla="*/ 2147483647 w 196"/>
                <a:gd name="T51" fmla="*/ 2147483647 h 228"/>
                <a:gd name="T52" fmla="*/ 2147483647 w 196"/>
                <a:gd name="T53" fmla="*/ 2147483647 h 228"/>
                <a:gd name="T54" fmla="*/ 2147483647 w 196"/>
                <a:gd name="T55" fmla="*/ 2147483647 h 228"/>
                <a:gd name="T56" fmla="*/ 2147483647 w 196"/>
                <a:gd name="T57" fmla="*/ 2147483647 h 228"/>
                <a:gd name="T58" fmla="*/ 2147483647 w 196"/>
                <a:gd name="T59" fmla="*/ 2147483647 h 228"/>
                <a:gd name="T60" fmla="*/ 2147483647 w 196"/>
                <a:gd name="T61" fmla="*/ 2147483647 h 228"/>
                <a:gd name="T62" fmla="*/ 2147483647 w 196"/>
                <a:gd name="T63" fmla="*/ 2147483647 h 228"/>
                <a:gd name="T64" fmla="*/ 2147483647 w 196"/>
                <a:gd name="T65" fmla="*/ 2147483647 h 228"/>
                <a:gd name="T66" fmla="*/ 2147483647 w 196"/>
                <a:gd name="T67" fmla="*/ 2147483647 h 228"/>
                <a:gd name="T68" fmla="*/ 2147483647 w 196"/>
                <a:gd name="T69" fmla="*/ 2147483647 h 228"/>
                <a:gd name="T70" fmla="*/ 2147483647 w 196"/>
                <a:gd name="T71" fmla="*/ 2147483647 h 228"/>
                <a:gd name="T72" fmla="*/ 2147483647 w 196"/>
                <a:gd name="T73" fmla="*/ 2147483647 h 228"/>
                <a:gd name="T74" fmla="*/ 2147483647 w 196"/>
                <a:gd name="T75" fmla="*/ 2147483647 h 228"/>
                <a:gd name="T76" fmla="*/ 2147483647 w 196"/>
                <a:gd name="T77" fmla="*/ 2147483647 h 228"/>
                <a:gd name="T78" fmla="*/ 2147483647 w 196"/>
                <a:gd name="T79" fmla="*/ 2147483647 h 228"/>
                <a:gd name="T80" fmla="*/ 2147483647 w 196"/>
                <a:gd name="T81" fmla="*/ 2147483647 h 228"/>
                <a:gd name="T82" fmla="*/ 2147483647 w 196"/>
                <a:gd name="T83" fmla="*/ 2147483647 h 228"/>
                <a:gd name="T84" fmla="*/ 2147483647 w 196"/>
                <a:gd name="T85" fmla="*/ 2147483647 h 228"/>
                <a:gd name="T86" fmla="*/ 2147483647 w 196"/>
                <a:gd name="T87" fmla="*/ 2147483647 h 228"/>
                <a:gd name="T88" fmla="*/ 2147483647 w 196"/>
                <a:gd name="T89" fmla="*/ 2147483647 h 228"/>
                <a:gd name="T90" fmla="*/ 2147483647 w 196"/>
                <a:gd name="T91" fmla="*/ 2147483647 h 228"/>
                <a:gd name="T92" fmla="*/ 0 w 196"/>
                <a:gd name="T93" fmla="*/ 2147483647 h 228"/>
                <a:gd name="T94" fmla="*/ 2147483647 w 196"/>
                <a:gd name="T95" fmla="*/ 2147483647 h 228"/>
                <a:gd name="T96" fmla="*/ 2147483647 w 196"/>
                <a:gd name="T97" fmla="*/ 2147483647 h 228"/>
                <a:gd name="T98" fmla="*/ 2147483647 w 196"/>
                <a:gd name="T99" fmla="*/ 2147483647 h 228"/>
                <a:gd name="T100" fmla="*/ 2147483647 w 196"/>
                <a:gd name="T101" fmla="*/ 2147483647 h 228"/>
                <a:gd name="T102" fmla="*/ 2147483647 w 196"/>
                <a:gd name="T103" fmla="*/ 2147483647 h 228"/>
                <a:gd name="T104" fmla="*/ 2147483647 w 196"/>
                <a:gd name="T105" fmla="*/ 2147483647 h 228"/>
                <a:gd name="T106" fmla="*/ 2147483647 w 196"/>
                <a:gd name="T107" fmla="*/ 2147483647 h 228"/>
                <a:gd name="T108" fmla="*/ 2147483647 w 196"/>
                <a:gd name="T109" fmla="*/ 2147483647 h 228"/>
                <a:gd name="T110" fmla="*/ 2147483647 w 196"/>
                <a:gd name="T111" fmla="*/ 2147483647 h 228"/>
                <a:gd name="T112" fmla="*/ 2147483647 w 196"/>
                <a:gd name="T113" fmla="*/ 2147483647 h 228"/>
                <a:gd name="T114" fmla="*/ 2147483647 w 196"/>
                <a:gd name="T115" fmla="*/ 2147483647 h 228"/>
                <a:gd name="T116" fmla="*/ 2147483647 w 196"/>
                <a:gd name="T117" fmla="*/ 0 h 22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96"/>
                <a:gd name="T178" fmla="*/ 0 h 228"/>
                <a:gd name="T179" fmla="*/ 196 w 196"/>
                <a:gd name="T180" fmla="*/ 228 h 22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96" h="228">
                  <a:moveTo>
                    <a:pt x="56" y="0"/>
                  </a:moveTo>
                  <a:lnTo>
                    <a:pt x="59" y="1"/>
                  </a:lnTo>
                  <a:lnTo>
                    <a:pt x="66" y="7"/>
                  </a:lnTo>
                  <a:lnTo>
                    <a:pt x="76" y="15"/>
                  </a:lnTo>
                  <a:lnTo>
                    <a:pt x="89" y="23"/>
                  </a:lnTo>
                  <a:lnTo>
                    <a:pt x="102" y="30"/>
                  </a:lnTo>
                  <a:lnTo>
                    <a:pt x="117" y="35"/>
                  </a:lnTo>
                  <a:lnTo>
                    <a:pt x="132" y="37"/>
                  </a:lnTo>
                  <a:lnTo>
                    <a:pt x="145" y="33"/>
                  </a:lnTo>
                  <a:lnTo>
                    <a:pt x="156" y="23"/>
                  </a:lnTo>
                  <a:lnTo>
                    <a:pt x="157" y="30"/>
                  </a:lnTo>
                  <a:lnTo>
                    <a:pt x="162" y="38"/>
                  </a:lnTo>
                  <a:lnTo>
                    <a:pt x="171" y="46"/>
                  </a:lnTo>
                  <a:lnTo>
                    <a:pt x="180" y="54"/>
                  </a:lnTo>
                  <a:lnTo>
                    <a:pt x="188" y="60"/>
                  </a:lnTo>
                  <a:lnTo>
                    <a:pt x="196" y="63"/>
                  </a:lnTo>
                  <a:lnTo>
                    <a:pt x="190" y="68"/>
                  </a:lnTo>
                  <a:lnTo>
                    <a:pt x="184" y="78"/>
                  </a:lnTo>
                  <a:lnTo>
                    <a:pt x="181" y="93"/>
                  </a:lnTo>
                  <a:lnTo>
                    <a:pt x="180" y="110"/>
                  </a:lnTo>
                  <a:lnTo>
                    <a:pt x="179" y="128"/>
                  </a:lnTo>
                  <a:lnTo>
                    <a:pt x="179" y="145"/>
                  </a:lnTo>
                  <a:lnTo>
                    <a:pt x="180" y="160"/>
                  </a:lnTo>
                  <a:lnTo>
                    <a:pt x="180" y="169"/>
                  </a:lnTo>
                  <a:lnTo>
                    <a:pt x="180" y="173"/>
                  </a:lnTo>
                  <a:lnTo>
                    <a:pt x="180" y="177"/>
                  </a:lnTo>
                  <a:lnTo>
                    <a:pt x="176" y="187"/>
                  </a:lnTo>
                  <a:lnTo>
                    <a:pt x="169" y="202"/>
                  </a:lnTo>
                  <a:lnTo>
                    <a:pt x="154" y="218"/>
                  </a:lnTo>
                  <a:lnTo>
                    <a:pt x="142" y="225"/>
                  </a:lnTo>
                  <a:lnTo>
                    <a:pt x="128" y="228"/>
                  </a:lnTo>
                  <a:lnTo>
                    <a:pt x="113" y="225"/>
                  </a:lnTo>
                  <a:lnTo>
                    <a:pt x="100" y="222"/>
                  </a:lnTo>
                  <a:lnTo>
                    <a:pt x="87" y="218"/>
                  </a:lnTo>
                  <a:lnTo>
                    <a:pt x="79" y="214"/>
                  </a:lnTo>
                  <a:lnTo>
                    <a:pt x="76" y="213"/>
                  </a:lnTo>
                  <a:lnTo>
                    <a:pt x="78" y="196"/>
                  </a:lnTo>
                  <a:lnTo>
                    <a:pt x="76" y="184"/>
                  </a:lnTo>
                  <a:lnTo>
                    <a:pt x="70" y="175"/>
                  </a:lnTo>
                  <a:lnTo>
                    <a:pt x="61" y="168"/>
                  </a:lnTo>
                  <a:lnTo>
                    <a:pt x="52" y="162"/>
                  </a:lnTo>
                  <a:lnTo>
                    <a:pt x="41" y="158"/>
                  </a:lnTo>
                  <a:lnTo>
                    <a:pt x="30" y="157"/>
                  </a:lnTo>
                  <a:lnTo>
                    <a:pt x="22" y="155"/>
                  </a:lnTo>
                  <a:lnTo>
                    <a:pt x="16" y="154"/>
                  </a:lnTo>
                  <a:lnTo>
                    <a:pt x="14" y="154"/>
                  </a:lnTo>
                  <a:lnTo>
                    <a:pt x="0" y="136"/>
                  </a:lnTo>
                  <a:lnTo>
                    <a:pt x="1" y="134"/>
                  </a:lnTo>
                  <a:lnTo>
                    <a:pt x="3" y="124"/>
                  </a:lnTo>
                  <a:lnTo>
                    <a:pt x="7" y="110"/>
                  </a:lnTo>
                  <a:lnTo>
                    <a:pt x="10" y="94"/>
                  </a:lnTo>
                  <a:lnTo>
                    <a:pt x="12" y="79"/>
                  </a:lnTo>
                  <a:lnTo>
                    <a:pt x="21" y="65"/>
                  </a:lnTo>
                  <a:lnTo>
                    <a:pt x="29" y="52"/>
                  </a:lnTo>
                  <a:lnTo>
                    <a:pt x="37" y="37"/>
                  </a:lnTo>
                  <a:lnTo>
                    <a:pt x="45" y="23"/>
                  </a:lnTo>
                  <a:lnTo>
                    <a:pt x="51" y="11"/>
                  </a:lnTo>
                  <a:lnTo>
                    <a:pt x="55" y="3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5E9247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8" name="Freeform 2720"/>
            <p:cNvSpPr>
              <a:spLocks/>
            </p:cNvSpPr>
            <p:nvPr/>
          </p:nvSpPr>
          <p:spPr bwMode="auto">
            <a:xfrm rot="1114411" flipH="1">
              <a:off x="2744268" y="4799872"/>
              <a:ext cx="35052" cy="36721"/>
            </a:xfrm>
            <a:custGeom>
              <a:avLst/>
              <a:gdLst>
                <a:gd name="T0" fmla="*/ 2147483647 w 63"/>
                <a:gd name="T1" fmla="*/ 0 h 66"/>
                <a:gd name="T2" fmla="*/ 2147483647 w 63"/>
                <a:gd name="T3" fmla="*/ 2147483647 h 66"/>
                <a:gd name="T4" fmla="*/ 2147483647 w 63"/>
                <a:gd name="T5" fmla="*/ 2147483647 h 66"/>
                <a:gd name="T6" fmla="*/ 2147483647 w 63"/>
                <a:gd name="T7" fmla="*/ 2147483647 h 66"/>
                <a:gd name="T8" fmla="*/ 2147483647 w 63"/>
                <a:gd name="T9" fmla="*/ 2147483647 h 66"/>
                <a:gd name="T10" fmla="*/ 2147483647 w 63"/>
                <a:gd name="T11" fmla="*/ 2147483647 h 66"/>
                <a:gd name="T12" fmla="*/ 2147483647 w 63"/>
                <a:gd name="T13" fmla="*/ 2147483647 h 66"/>
                <a:gd name="T14" fmla="*/ 2147483647 w 63"/>
                <a:gd name="T15" fmla="*/ 2147483647 h 66"/>
                <a:gd name="T16" fmla="*/ 2147483647 w 63"/>
                <a:gd name="T17" fmla="*/ 2147483647 h 66"/>
                <a:gd name="T18" fmla="*/ 2147483647 w 63"/>
                <a:gd name="T19" fmla="*/ 2147483647 h 66"/>
                <a:gd name="T20" fmla="*/ 2147483647 w 63"/>
                <a:gd name="T21" fmla="*/ 2147483647 h 66"/>
                <a:gd name="T22" fmla="*/ 2147483647 w 63"/>
                <a:gd name="T23" fmla="*/ 2147483647 h 66"/>
                <a:gd name="T24" fmla="*/ 2147483647 w 63"/>
                <a:gd name="T25" fmla="*/ 2147483647 h 66"/>
                <a:gd name="T26" fmla="*/ 2147483647 w 63"/>
                <a:gd name="T27" fmla="*/ 2147483647 h 66"/>
                <a:gd name="T28" fmla="*/ 2147483647 w 63"/>
                <a:gd name="T29" fmla="*/ 2147483647 h 66"/>
                <a:gd name="T30" fmla="*/ 0 w 63"/>
                <a:gd name="T31" fmla="*/ 2147483647 h 66"/>
                <a:gd name="T32" fmla="*/ 2147483647 w 63"/>
                <a:gd name="T33" fmla="*/ 2147483647 h 66"/>
                <a:gd name="T34" fmla="*/ 2147483647 w 63"/>
                <a:gd name="T35" fmla="*/ 2147483647 h 66"/>
                <a:gd name="T36" fmla="*/ 2147483647 w 63"/>
                <a:gd name="T37" fmla="*/ 2147483647 h 66"/>
                <a:gd name="T38" fmla="*/ 2147483647 w 63"/>
                <a:gd name="T39" fmla="*/ 2147483647 h 66"/>
                <a:gd name="T40" fmla="*/ 2147483647 w 63"/>
                <a:gd name="T41" fmla="*/ 2147483647 h 66"/>
                <a:gd name="T42" fmla="*/ 2147483647 w 63"/>
                <a:gd name="T43" fmla="*/ 2147483647 h 66"/>
                <a:gd name="T44" fmla="*/ 2147483647 w 63"/>
                <a:gd name="T45" fmla="*/ 0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3"/>
                <a:gd name="T70" fmla="*/ 0 h 66"/>
                <a:gd name="T71" fmla="*/ 63 w 63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3" h="66">
                  <a:moveTo>
                    <a:pt x="44" y="0"/>
                  </a:moveTo>
                  <a:lnTo>
                    <a:pt x="55" y="1"/>
                  </a:lnTo>
                  <a:lnTo>
                    <a:pt x="61" y="4"/>
                  </a:lnTo>
                  <a:lnTo>
                    <a:pt x="63" y="11"/>
                  </a:lnTo>
                  <a:lnTo>
                    <a:pt x="63" y="18"/>
                  </a:lnTo>
                  <a:lnTo>
                    <a:pt x="60" y="26"/>
                  </a:lnTo>
                  <a:lnTo>
                    <a:pt x="56" y="34"/>
                  </a:lnTo>
                  <a:lnTo>
                    <a:pt x="51" y="42"/>
                  </a:lnTo>
                  <a:lnTo>
                    <a:pt x="46" y="49"/>
                  </a:lnTo>
                  <a:lnTo>
                    <a:pt x="44" y="53"/>
                  </a:lnTo>
                  <a:lnTo>
                    <a:pt x="42" y="55"/>
                  </a:lnTo>
                  <a:lnTo>
                    <a:pt x="41" y="56"/>
                  </a:lnTo>
                  <a:lnTo>
                    <a:pt x="36" y="59"/>
                  </a:lnTo>
                  <a:lnTo>
                    <a:pt x="27" y="63"/>
                  </a:lnTo>
                  <a:lnTo>
                    <a:pt x="15" y="66"/>
                  </a:lnTo>
                  <a:lnTo>
                    <a:pt x="0" y="64"/>
                  </a:lnTo>
                  <a:lnTo>
                    <a:pt x="3" y="52"/>
                  </a:lnTo>
                  <a:lnTo>
                    <a:pt x="10" y="38"/>
                  </a:lnTo>
                  <a:lnTo>
                    <a:pt x="18" y="27"/>
                  </a:lnTo>
                  <a:lnTo>
                    <a:pt x="27" y="16"/>
                  </a:lnTo>
                  <a:lnTo>
                    <a:pt x="36" y="8"/>
                  </a:lnTo>
                  <a:lnTo>
                    <a:pt x="42" y="3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9" name="Freeform 2721"/>
            <p:cNvSpPr>
              <a:spLocks/>
            </p:cNvSpPr>
            <p:nvPr/>
          </p:nvSpPr>
          <p:spPr bwMode="auto">
            <a:xfrm rot="1114411" flipH="1">
              <a:off x="2850836" y="4632318"/>
              <a:ext cx="138538" cy="184161"/>
            </a:xfrm>
            <a:custGeom>
              <a:avLst/>
              <a:gdLst>
                <a:gd name="T0" fmla="*/ 2147483647 w 249"/>
                <a:gd name="T1" fmla="*/ 0 h 331"/>
                <a:gd name="T2" fmla="*/ 2147483647 w 249"/>
                <a:gd name="T3" fmla="*/ 2147483647 h 331"/>
                <a:gd name="T4" fmla="*/ 2147483647 w 249"/>
                <a:gd name="T5" fmla="*/ 2147483647 h 331"/>
                <a:gd name="T6" fmla="*/ 2147483647 w 249"/>
                <a:gd name="T7" fmla="*/ 2147483647 h 331"/>
                <a:gd name="T8" fmla="*/ 2147483647 w 249"/>
                <a:gd name="T9" fmla="*/ 2147483647 h 331"/>
                <a:gd name="T10" fmla="*/ 2147483647 w 249"/>
                <a:gd name="T11" fmla="*/ 2147483647 h 331"/>
                <a:gd name="T12" fmla="*/ 2147483647 w 249"/>
                <a:gd name="T13" fmla="*/ 2147483647 h 331"/>
                <a:gd name="T14" fmla="*/ 2147483647 w 249"/>
                <a:gd name="T15" fmla="*/ 2147483647 h 331"/>
                <a:gd name="T16" fmla="*/ 2147483647 w 249"/>
                <a:gd name="T17" fmla="*/ 2147483647 h 331"/>
                <a:gd name="T18" fmla="*/ 2147483647 w 249"/>
                <a:gd name="T19" fmla="*/ 2147483647 h 331"/>
                <a:gd name="T20" fmla="*/ 2147483647 w 249"/>
                <a:gd name="T21" fmla="*/ 2147483647 h 331"/>
                <a:gd name="T22" fmla="*/ 2147483647 w 249"/>
                <a:gd name="T23" fmla="*/ 2147483647 h 331"/>
                <a:gd name="T24" fmla="*/ 2147483647 w 249"/>
                <a:gd name="T25" fmla="*/ 2147483647 h 331"/>
                <a:gd name="T26" fmla="*/ 2147483647 w 249"/>
                <a:gd name="T27" fmla="*/ 2147483647 h 331"/>
                <a:gd name="T28" fmla="*/ 2147483647 w 249"/>
                <a:gd name="T29" fmla="*/ 2147483647 h 331"/>
                <a:gd name="T30" fmla="*/ 2147483647 w 249"/>
                <a:gd name="T31" fmla="*/ 2147483647 h 331"/>
                <a:gd name="T32" fmla="*/ 2147483647 w 249"/>
                <a:gd name="T33" fmla="*/ 2147483647 h 331"/>
                <a:gd name="T34" fmla="*/ 2147483647 w 249"/>
                <a:gd name="T35" fmla="*/ 2147483647 h 331"/>
                <a:gd name="T36" fmla="*/ 2147483647 w 249"/>
                <a:gd name="T37" fmla="*/ 2147483647 h 331"/>
                <a:gd name="T38" fmla="*/ 2147483647 w 249"/>
                <a:gd name="T39" fmla="*/ 2147483647 h 331"/>
                <a:gd name="T40" fmla="*/ 2147483647 w 249"/>
                <a:gd name="T41" fmla="*/ 2147483647 h 331"/>
                <a:gd name="T42" fmla="*/ 2147483647 w 249"/>
                <a:gd name="T43" fmla="*/ 2147483647 h 331"/>
                <a:gd name="T44" fmla="*/ 2147483647 w 249"/>
                <a:gd name="T45" fmla="*/ 2147483647 h 331"/>
                <a:gd name="T46" fmla="*/ 2147483647 w 249"/>
                <a:gd name="T47" fmla="*/ 2147483647 h 331"/>
                <a:gd name="T48" fmla="*/ 2147483647 w 249"/>
                <a:gd name="T49" fmla="*/ 2147483647 h 331"/>
                <a:gd name="T50" fmla="*/ 2147483647 w 249"/>
                <a:gd name="T51" fmla="*/ 2147483647 h 331"/>
                <a:gd name="T52" fmla="*/ 0 w 249"/>
                <a:gd name="T53" fmla="*/ 2147483647 h 331"/>
                <a:gd name="T54" fmla="*/ 2147483647 w 249"/>
                <a:gd name="T55" fmla="*/ 0 h 3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49"/>
                <a:gd name="T85" fmla="*/ 0 h 331"/>
                <a:gd name="T86" fmla="*/ 249 w 249"/>
                <a:gd name="T87" fmla="*/ 331 h 3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49" h="331">
                  <a:moveTo>
                    <a:pt x="8" y="0"/>
                  </a:moveTo>
                  <a:lnTo>
                    <a:pt x="9" y="4"/>
                  </a:lnTo>
                  <a:lnTo>
                    <a:pt x="12" y="13"/>
                  </a:lnTo>
                  <a:lnTo>
                    <a:pt x="20" y="31"/>
                  </a:lnTo>
                  <a:lnTo>
                    <a:pt x="30" y="54"/>
                  </a:lnTo>
                  <a:lnTo>
                    <a:pt x="45" y="83"/>
                  </a:lnTo>
                  <a:lnTo>
                    <a:pt x="65" y="116"/>
                  </a:lnTo>
                  <a:lnTo>
                    <a:pt x="90" y="153"/>
                  </a:lnTo>
                  <a:lnTo>
                    <a:pt x="120" y="193"/>
                  </a:lnTo>
                  <a:lnTo>
                    <a:pt x="156" y="237"/>
                  </a:lnTo>
                  <a:lnTo>
                    <a:pt x="199" y="283"/>
                  </a:lnTo>
                  <a:lnTo>
                    <a:pt x="249" y="331"/>
                  </a:lnTo>
                  <a:lnTo>
                    <a:pt x="226" y="324"/>
                  </a:lnTo>
                  <a:lnTo>
                    <a:pt x="201" y="311"/>
                  </a:lnTo>
                  <a:lnTo>
                    <a:pt x="178" y="293"/>
                  </a:lnTo>
                  <a:lnTo>
                    <a:pt x="155" y="271"/>
                  </a:lnTo>
                  <a:lnTo>
                    <a:pt x="132" y="247"/>
                  </a:lnTo>
                  <a:lnTo>
                    <a:pt x="110" y="221"/>
                  </a:lnTo>
                  <a:lnTo>
                    <a:pt x="90" y="193"/>
                  </a:lnTo>
                  <a:lnTo>
                    <a:pt x="70" y="166"/>
                  </a:lnTo>
                  <a:lnTo>
                    <a:pt x="53" y="139"/>
                  </a:lnTo>
                  <a:lnTo>
                    <a:pt x="38" y="113"/>
                  </a:lnTo>
                  <a:lnTo>
                    <a:pt x="24" y="91"/>
                  </a:lnTo>
                  <a:lnTo>
                    <a:pt x="15" y="72"/>
                  </a:lnTo>
                  <a:lnTo>
                    <a:pt x="6" y="57"/>
                  </a:lnTo>
                  <a:lnTo>
                    <a:pt x="1" y="47"/>
                  </a:lnTo>
                  <a:lnTo>
                    <a:pt x="0" y="43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00" name="Freeform 2729"/>
            <p:cNvSpPr>
              <a:spLocks/>
            </p:cNvSpPr>
            <p:nvPr/>
          </p:nvSpPr>
          <p:spPr bwMode="auto">
            <a:xfrm rot="1114411" flipH="1">
              <a:off x="2857594" y="4502626"/>
              <a:ext cx="171920" cy="111832"/>
            </a:xfrm>
            <a:custGeom>
              <a:avLst/>
              <a:gdLst>
                <a:gd name="T0" fmla="*/ 2147483647 w 309"/>
                <a:gd name="T1" fmla="*/ 0 h 201"/>
                <a:gd name="T2" fmla="*/ 2147483647 w 309"/>
                <a:gd name="T3" fmla="*/ 2147483647 h 201"/>
                <a:gd name="T4" fmla="*/ 2147483647 w 309"/>
                <a:gd name="T5" fmla="*/ 2147483647 h 201"/>
                <a:gd name="T6" fmla="*/ 2147483647 w 309"/>
                <a:gd name="T7" fmla="*/ 2147483647 h 201"/>
                <a:gd name="T8" fmla="*/ 2147483647 w 309"/>
                <a:gd name="T9" fmla="*/ 2147483647 h 201"/>
                <a:gd name="T10" fmla="*/ 2147483647 w 309"/>
                <a:gd name="T11" fmla="*/ 2147483647 h 201"/>
                <a:gd name="T12" fmla="*/ 2147483647 w 309"/>
                <a:gd name="T13" fmla="*/ 2147483647 h 201"/>
                <a:gd name="T14" fmla="*/ 2147483647 w 309"/>
                <a:gd name="T15" fmla="*/ 2147483647 h 201"/>
                <a:gd name="T16" fmla="*/ 2147483647 w 309"/>
                <a:gd name="T17" fmla="*/ 2147483647 h 201"/>
                <a:gd name="T18" fmla="*/ 2147483647 w 309"/>
                <a:gd name="T19" fmla="*/ 2147483647 h 201"/>
                <a:gd name="T20" fmla="*/ 2147483647 w 309"/>
                <a:gd name="T21" fmla="*/ 2147483647 h 201"/>
                <a:gd name="T22" fmla="*/ 2147483647 w 309"/>
                <a:gd name="T23" fmla="*/ 2147483647 h 201"/>
                <a:gd name="T24" fmla="*/ 2147483647 w 309"/>
                <a:gd name="T25" fmla="*/ 2147483647 h 201"/>
                <a:gd name="T26" fmla="*/ 2147483647 w 309"/>
                <a:gd name="T27" fmla="*/ 2147483647 h 201"/>
                <a:gd name="T28" fmla="*/ 2147483647 w 309"/>
                <a:gd name="T29" fmla="*/ 2147483647 h 201"/>
                <a:gd name="T30" fmla="*/ 2147483647 w 309"/>
                <a:gd name="T31" fmla="*/ 2147483647 h 201"/>
                <a:gd name="T32" fmla="*/ 2147483647 w 309"/>
                <a:gd name="T33" fmla="*/ 2147483647 h 201"/>
                <a:gd name="T34" fmla="*/ 2147483647 w 309"/>
                <a:gd name="T35" fmla="*/ 2147483647 h 201"/>
                <a:gd name="T36" fmla="*/ 2147483647 w 309"/>
                <a:gd name="T37" fmla="*/ 2147483647 h 201"/>
                <a:gd name="T38" fmla="*/ 2147483647 w 309"/>
                <a:gd name="T39" fmla="*/ 2147483647 h 201"/>
                <a:gd name="T40" fmla="*/ 2147483647 w 309"/>
                <a:gd name="T41" fmla="*/ 2147483647 h 201"/>
                <a:gd name="T42" fmla="*/ 2147483647 w 309"/>
                <a:gd name="T43" fmla="*/ 2147483647 h 201"/>
                <a:gd name="T44" fmla="*/ 2147483647 w 309"/>
                <a:gd name="T45" fmla="*/ 2147483647 h 201"/>
                <a:gd name="T46" fmla="*/ 2147483647 w 309"/>
                <a:gd name="T47" fmla="*/ 2147483647 h 201"/>
                <a:gd name="T48" fmla="*/ 2147483647 w 309"/>
                <a:gd name="T49" fmla="*/ 2147483647 h 201"/>
                <a:gd name="T50" fmla="*/ 2147483647 w 309"/>
                <a:gd name="T51" fmla="*/ 2147483647 h 201"/>
                <a:gd name="T52" fmla="*/ 2147483647 w 309"/>
                <a:gd name="T53" fmla="*/ 2147483647 h 201"/>
                <a:gd name="T54" fmla="*/ 2147483647 w 309"/>
                <a:gd name="T55" fmla="*/ 2147483647 h 201"/>
                <a:gd name="T56" fmla="*/ 2147483647 w 309"/>
                <a:gd name="T57" fmla="*/ 2147483647 h 201"/>
                <a:gd name="T58" fmla="*/ 2147483647 w 309"/>
                <a:gd name="T59" fmla="*/ 2147483647 h 201"/>
                <a:gd name="T60" fmla="*/ 2147483647 w 309"/>
                <a:gd name="T61" fmla="*/ 2147483647 h 201"/>
                <a:gd name="T62" fmla="*/ 2147483647 w 309"/>
                <a:gd name="T63" fmla="*/ 2147483647 h 201"/>
                <a:gd name="T64" fmla="*/ 2147483647 w 309"/>
                <a:gd name="T65" fmla="*/ 2147483647 h 201"/>
                <a:gd name="T66" fmla="*/ 2147483647 w 309"/>
                <a:gd name="T67" fmla="*/ 2147483647 h 201"/>
                <a:gd name="T68" fmla="*/ 2147483647 w 309"/>
                <a:gd name="T69" fmla="*/ 2147483647 h 201"/>
                <a:gd name="T70" fmla="*/ 2147483647 w 309"/>
                <a:gd name="T71" fmla="*/ 2147483647 h 201"/>
                <a:gd name="T72" fmla="*/ 2147483647 w 309"/>
                <a:gd name="T73" fmla="*/ 2147483647 h 201"/>
                <a:gd name="T74" fmla="*/ 2147483647 w 309"/>
                <a:gd name="T75" fmla="*/ 2147483647 h 201"/>
                <a:gd name="T76" fmla="*/ 2147483647 w 309"/>
                <a:gd name="T77" fmla="*/ 2147483647 h 201"/>
                <a:gd name="T78" fmla="*/ 2147483647 w 309"/>
                <a:gd name="T79" fmla="*/ 2147483647 h 201"/>
                <a:gd name="T80" fmla="*/ 2147483647 w 309"/>
                <a:gd name="T81" fmla="*/ 2147483647 h 201"/>
                <a:gd name="T82" fmla="*/ 2147483647 w 309"/>
                <a:gd name="T83" fmla="*/ 2147483647 h 201"/>
                <a:gd name="T84" fmla="*/ 2147483647 w 309"/>
                <a:gd name="T85" fmla="*/ 2147483647 h 201"/>
                <a:gd name="T86" fmla="*/ 2147483647 w 309"/>
                <a:gd name="T87" fmla="*/ 2147483647 h 201"/>
                <a:gd name="T88" fmla="*/ 2147483647 w 309"/>
                <a:gd name="T89" fmla="*/ 2147483647 h 201"/>
                <a:gd name="T90" fmla="*/ 0 w 309"/>
                <a:gd name="T91" fmla="*/ 2147483647 h 201"/>
                <a:gd name="T92" fmla="*/ 2147483647 w 309"/>
                <a:gd name="T93" fmla="*/ 2147483647 h 201"/>
                <a:gd name="T94" fmla="*/ 2147483647 w 309"/>
                <a:gd name="T95" fmla="*/ 2147483647 h 201"/>
                <a:gd name="T96" fmla="*/ 2147483647 w 309"/>
                <a:gd name="T97" fmla="*/ 2147483647 h 201"/>
                <a:gd name="T98" fmla="*/ 2147483647 w 309"/>
                <a:gd name="T99" fmla="*/ 2147483647 h 201"/>
                <a:gd name="T100" fmla="*/ 2147483647 w 309"/>
                <a:gd name="T101" fmla="*/ 2147483647 h 201"/>
                <a:gd name="T102" fmla="*/ 2147483647 w 309"/>
                <a:gd name="T103" fmla="*/ 2147483647 h 201"/>
                <a:gd name="T104" fmla="*/ 2147483647 w 309"/>
                <a:gd name="T105" fmla="*/ 2147483647 h 201"/>
                <a:gd name="T106" fmla="*/ 2147483647 w 309"/>
                <a:gd name="T107" fmla="*/ 2147483647 h 201"/>
                <a:gd name="T108" fmla="*/ 2147483647 w 309"/>
                <a:gd name="T109" fmla="*/ 2147483647 h 201"/>
                <a:gd name="T110" fmla="*/ 2147483647 w 309"/>
                <a:gd name="T111" fmla="*/ 2147483647 h 201"/>
                <a:gd name="T112" fmla="*/ 2147483647 w 309"/>
                <a:gd name="T113" fmla="*/ 2147483647 h 201"/>
                <a:gd name="T114" fmla="*/ 2147483647 w 309"/>
                <a:gd name="T115" fmla="*/ 2147483647 h 201"/>
                <a:gd name="T116" fmla="*/ 2147483647 w 309"/>
                <a:gd name="T117" fmla="*/ 2147483647 h 201"/>
                <a:gd name="T118" fmla="*/ 2147483647 w 309"/>
                <a:gd name="T119" fmla="*/ 2147483647 h 201"/>
                <a:gd name="T120" fmla="*/ 2147483647 w 309"/>
                <a:gd name="T121" fmla="*/ 2147483647 h 201"/>
                <a:gd name="T122" fmla="*/ 2147483647 w 309"/>
                <a:gd name="T123" fmla="*/ 0 h 2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09"/>
                <a:gd name="T187" fmla="*/ 0 h 201"/>
                <a:gd name="T188" fmla="*/ 309 w 309"/>
                <a:gd name="T189" fmla="*/ 201 h 2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09" h="201">
                  <a:moveTo>
                    <a:pt x="92" y="0"/>
                  </a:moveTo>
                  <a:lnTo>
                    <a:pt x="99" y="2"/>
                  </a:lnTo>
                  <a:lnTo>
                    <a:pt x="107" y="4"/>
                  </a:lnTo>
                  <a:lnTo>
                    <a:pt x="118" y="8"/>
                  </a:lnTo>
                  <a:lnTo>
                    <a:pt x="126" y="15"/>
                  </a:lnTo>
                  <a:lnTo>
                    <a:pt x="138" y="25"/>
                  </a:lnTo>
                  <a:lnTo>
                    <a:pt x="155" y="37"/>
                  </a:lnTo>
                  <a:lnTo>
                    <a:pt x="174" y="52"/>
                  </a:lnTo>
                  <a:lnTo>
                    <a:pt x="191" y="68"/>
                  </a:lnTo>
                  <a:lnTo>
                    <a:pt x="209" y="86"/>
                  </a:lnTo>
                  <a:lnTo>
                    <a:pt x="224" y="105"/>
                  </a:lnTo>
                  <a:lnTo>
                    <a:pt x="236" y="123"/>
                  </a:lnTo>
                  <a:lnTo>
                    <a:pt x="242" y="139"/>
                  </a:lnTo>
                  <a:lnTo>
                    <a:pt x="261" y="137"/>
                  </a:lnTo>
                  <a:lnTo>
                    <a:pt x="277" y="139"/>
                  </a:lnTo>
                  <a:lnTo>
                    <a:pt x="290" y="145"/>
                  </a:lnTo>
                  <a:lnTo>
                    <a:pt x="299" y="154"/>
                  </a:lnTo>
                  <a:lnTo>
                    <a:pt x="306" y="164"/>
                  </a:lnTo>
                  <a:lnTo>
                    <a:pt x="309" y="176"/>
                  </a:lnTo>
                  <a:lnTo>
                    <a:pt x="309" y="186"/>
                  </a:lnTo>
                  <a:lnTo>
                    <a:pt x="306" y="195"/>
                  </a:lnTo>
                  <a:lnTo>
                    <a:pt x="299" y="201"/>
                  </a:lnTo>
                  <a:lnTo>
                    <a:pt x="291" y="201"/>
                  </a:lnTo>
                  <a:lnTo>
                    <a:pt x="277" y="197"/>
                  </a:lnTo>
                  <a:lnTo>
                    <a:pt x="262" y="186"/>
                  </a:lnTo>
                  <a:lnTo>
                    <a:pt x="242" y="184"/>
                  </a:lnTo>
                  <a:lnTo>
                    <a:pt x="223" y="180"/>
                  </a:lnTo>
                  <a:lnTo>
                    <a:pt x="208" y="172"/>
                  </a:lnTo>
                  <a:lnTo>
                    <a:pt x="198" y="163"/>
                  </a:lnTo>
                  <a:lnTo>
                    <a:pt x="191" y="156"/>
                  </a:lnTo>
                  <a:lnTo>
                    <a:pt x="180" y="149"/>
                  </a:lnTo>
                  <a:lnTo>
                    <a:pt x="167" y="142"/>
                  </a:lnTo>
                  <a:lnTo>
                    <a:pt x="152" y="137"/>
                  </a:lnTo>
                  <a:lnTo>
                    <a:pt x="137" y="131"/>
                  </a:lnTo>
                  <a:lnTo>
                    <a:pt x="125" y="127"/>
                  </a:lnTo>
                  <a:lnTo>
                    <a:pt x="116" y="124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99" y="120"/>
                  </a:lnTo>
                  <a:lnTo>
                    <a:pt x="85" y="119"/>
                  </a:lnTo>
                  <a:lnTo>
                    <a:pt x="67" y="115"/>
                  </a:lnTo>
                  <a:lnTo>
                    <a:pt x="50" y="111"/>
                  </a:lnTo>
                  <a:lnTo>
                    <a:pt x="32" y="107"/>
                  </a:lnTo>
                  <a:lnTo>
                    <a:pt x="17" y="101"/>
                  </a:lnTo>
                  <a:lnTo>
                    <a:pt x="6" y="94"/>
                  </a:lnTo>
                  <a:lnTo>
                    <a:pt x="0" y="89"/>
                  </a:lnTo>
                  <a:lnTo>
                    <a:pt x="13" y="77"/>
                  </a:lnTo>
                  <a:lnTo>
                    <a:pt x="22" y="64"/>
                  </a:lnTo>
                  <a:lnTo>
                    <a:pt x="28" y="52"/>
                  </a:lnTo>
                  <a:lnTo>
                    <a:pt x="30" y="44"/>
                  </a:lnTo>
                  <a:lnTo>
                    <a:pt x="32" y="41"/>
                  </a:lnTo>
                  <a:lnTo>
                    <a:pt x="70" y="26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3"/>
                  </a:lnTo>
                  <a:lnTo>
                    <a:pt x="78" y="22"/>
                  </a:lnTo>
                  <a:lnTo>
                    <a:pt x="81" y="19"/>
                  </a:lnTo>
                  <a:lnTo>
                    <a:pt x="84" y="17"/>
                  </a:lnTo>
                  <a:lnTo>
                    <a:pt x="85" y="12"/>
                  </a:lnTo>
                  <a:lnTo>
                    <a:pt x="85" y="8"/>
                  </a:lnTo>
                  <a:lnTo>
                    <a:pt x="86" y="3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01" name="Freeform 2730"/>
            <p:cNvSpPr>
              <a:spLocks/>
            </p:cNvSpPr>
            <p:nvPr/>
          </p:nvSpPr>
          <p:spPr bwMode="auto">
            <a:xfrm rot="1114411" flipH="1">
              <a:off x="2798296" y="4618982"/>
              <a:ext cx="41172" cy="39503"/>
            </a:xfrm>
            <a:custGeom>
              <a:avLst/>
              <a:gdLst>
                <a:gd name="T0" fmla="*/ 2147483647 w 74"/>
                <a:gd name="T1" fmla="*/ 0 h 71"/>
                <a:gd name="T2" fmla="*/ 2147483647 w 74"/>
                <a:gd name="T3" fmla="*/ 2147483647 h 71"/>
                <a:gd name="T4" fmla="*/ 2147483647 w 74"/>
                <a:gd name="T5" fmla="*/ 2147483647 h 71"/>
                <a:gd name="T6" fmla="*/ 2147483647 w 74"/>
                <a:gd name="T7" fmla="*/ 2147483647 h 71"/>
                <a:gd name="T8" fmla="*/ 2147483647 w 74"/>
                <a:gd name="T9" fmla="*/ 2147483647 h 71"/>
                <a:gd name="T10" fmla="*/ 2147483647 w 74"/>
                <a:gd name="T11" fmla="*/ 2147483647 h 71"/>
                <a:gd name="T12" fmla="*/ 2147483647 w 74"/>
                <a:gd name="T13" fmla="*/ 2147483647 h 71"/>
                <a:gd name="T14" fmla="*/ 2147483647 w 74"/>
                <a:gd name="T15" fmla="*/ 2147483647 h 71"/>
                <a:gd name="T16" fmla="*/ 2147483647 w 74"/>
                <a:gd name="T17" fmla="*/ 2147483647 h 71"/>
                <a:gd name="T18" fmla="*/ 2147483647 w 74"/>
                <a:gd name="T19" fmla="*/ 2147483647 h 71"/>
                <a:gd name="T20" fmla="*/ 2147483647 w 74"/>
                <a:gd name="T21" fmla="*/ 2147483647 h 71"/>
                <a:gd name="T22" fmla="*/ 2147483647 w 74"/>
                <a:gd name="T23" fmla="*/ 2147483647 h 71"/>
                <a:gd name="T24" fmla="*/ 2147483647 w 74"/>
                <a:gd name="T25" fmla="*/ 2147483647 h 71"/>
                <a:gd name="T26" fmla="*/ 2147483647 w 74"/>
                <a:gd name="T27" fmla="*/ 2147483647 h 71"/>
                <a:gd name="T28" fmla="*/ 2147483647 w 74"/>
                <a:gd name="T29" fmla="*/ 2147483647 h 71"/>
                <a:gd name="T30" fmla="*/ 2147483647 w 74"/>
                <a:gd name="T31" fmla="*/ 2147483647 h 71"/>
                <a:gd name="T32" fmla="*/ 2147483647 w 74"/>
                <a:gd name="T33" fmla="*/ 2147483647 h 71"/>
                <a:gd name="T34" fmla="*/ 0 w 74"/>
                <a:gd name="T35" fmla="*/ 2147483647 h 71"/>
                <a:gd name="T36" fmla="*/ 2147483647 w 74"/>
                <a:gd name="T37" fmla="*/ 2147483647 h 71"/>
                <a:gd name="T38" fmla="*/ 2147483647 w 74"/>
                <a:gd name="T39" fmla="*/ 2147483647 h 71"/>
                <a:gd name="T40" fmla="*/ 2147483647 w 74"/>
                <a:gd name="T41" fmla="*/ 0 h 7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4"/>
                <a:gd name="T64" fmla="*/ 0 h 71"/>
                <a:gd name="T65" fmla="*/ 74 w 74"/>
                <a:gd name="T66" fmla="*/ 71 h 7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4" h="71">
                  <a:moveTo>
                    <a:pt x="27" y="0"/>
                  </a:moveTo>
                  <a:lnTo>
                    <a:pt x="41" y="3"/>
                  </a:lnTo>
                  <a:lnTo>
                    <a:pt x="53" y="10"/>
                  </a:lnTo>
                  <a:lnTo>
                    <a:pt x="64" y="19"/>
                  </a:lnTo>
                  <a:lnTo>
                    <a:pt x="71" y="31"/>
                  </a:lnTo>
                  <a:lnTo>
                    <a:pt x="74" y="45"/>
                  </a:lnTo>
                  <a:lnTo>
                    <a:pt x="70" y="59"/>
                  </a:lnTo>
                  <a:lnTo>
                    <a:pt x="57" y="61"/>
                  </a:lnTo>
                  <a:lnTo>
                    <a:pt x="48" y="66"/>
                  </a:lnTo>
                  <a:lnTo>
                    <a:pt x="40" y="68"/>
                  </a:lnTo>
                  <a:lnTo>
                    <a:pt x="37" y="71"/>
                  </a:lnTo>
                  <a:lnTo>
                    <a:pt x="34" y="68"/>
                  </a:lnTo>
                  <a:lnTo>
                    <a:pt x="29" y="64"/>
                  </a:lnTo>
                  <a:lnTo>
                    <a:pt x="21" y="57"/>
                  </a:lnTo>
                  <a:lnTo>
                    <a:pt x="12" y="48"/>
                  </a:lnTo>
                  <a:lnTo>
                    <a:pt x="6" y="38"/>
                  </a:lnTo>
                  <a:lnTo>
                    <a:pt x="1" y="27"/>
                  </a:lnTo>
                  <a:lnTo>
                    <a:pt x="0" y="18"/>
                  </a:lnTo>
                  <a:lnTo>
                    <a:pt x="6" y="8"/>
                  </a:lnTo>
                  <a:lnTo>
                    <a:pt x="15" y="1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02" name="Freeform 2731"/>
            <p:cNvSpPr>
              <a:spLocks/>
            </p:cNvSpPr>
            <p:nvPr/>
          </p:nvSpPr>
          <p:spPr bwMode="auto">
            <a:xfrm rot="1114411" flipH="1">
              <a:off x="2762462" y="4271441"/>
              <a:ext cx="126297" cy="189724"/>
            </a:xfrm>
            <a:custGeom>
              <a:avLst/>
              <a:gdLst>
                <a:gd name="T0" fmla="*/ 2147483647 w 227"/>
                <a:gd name="T1" fmla="*/ 2147483647 h 341"/>
                <a:gd name="T2" fmla="*/ 2147483647 w 227"/>
                <a:gd name="T3" fmla="*/ 2147483647 h 341"/>
                <a:gd name="T4" fmla="*/ 2147483647 w 227"/>
                <a:gd name="T5" fmla="*/ 2147483647 h 341"/>
                <a:gd name="T6" fmla="*/ 2147483647 w 227"/>
                <a:gd name="T7" fmla="*/ 2147483647 h 341"/>
                <a:gd name="T8" fmla="*/ 2147483647 w 227"/>
                <a:gd name="T9" fmla="*/ 2147483647 h 341"/>
                <a:gd name="T10" fmla="*/ 2147483647 w 227"/>
                <a:gd name="T11" fmla="*/ 2147483647 h 341"/>
                <a:gd name="T12" fmla="*/ 2147483647 w 227"/>
                <a:gd name="T13" fmla="*/ 2147483647 h 341"/>
                <a:gd name="T14" fmla="*/ 2147483647 w 227"/>
                <a:gd name="T15" fmla="*/ 2147483647 h 341"/>
                <a:gd name="T16" fmla="*/ 2147483647 w 227"/>
                <a:gd name="T17" fmla="*/ 2147483647 h 341"/>
                <a:gd name="T18" fmla="*/ 2147483647 w 227"/>
                <a:gd name="T19" fmla="*/ 2147483647 h 341"/>
                <a:gd name="T20" fmla="*/ 2147483647 w 227"/>
                <a:gd name="T21" fmla="*/ 2147483647 h 341"/>
                <a:gd name="T22" fmla="*/ 2147483647 w 227"/>
                <a:gd name="T23" fmla="*/ 2147483647 h 341"/>
                <a:gd name="T24" fmla="*/ 2147483647 w 227"/>
                <a:gd name="T25" fmla="*/ 2147483647 h 341"/>
                <a:gd name="T26" fmla="*/ 2147483647 w 227"/>
                <a:gd name="T27" fmla="*/ 2147483647 h 341"/>
                <a:gd name="T28" fmla="*/ 2147483647 w 227"/>
                <a:gd name="T29" fmla="*/ 2147483647 h 341"/>
                <a:gd name="T30" fmla="*/ 2147483647 w 227"/>
                <a:gd name="T31" fmla="*/ 2147483647 h 341"/>
                <a:gd name="T32" fmla="*/ 2147483647 w 227"/>
                <a:gd name="T33" fmla="*/ 2147483647 h 341"/>
                <a:gd name="T34" fmla="*/ 2147483647 w 227"/>
                <a:gd name="T35" fmla="*/ 2147483647 h 341"/>
                <a:gd name="T36" fmla="*/ 2147483647 w 227"/>
                <a:gd name="T37" fmla="*/ 2147483647 h 341"/>
                <a:gd name="T38" fmla="*/ 2147483647 w 227"/>
                <a:gd name="T39" fmla="*/ 2147483647 h 341"/>
                <a:gd name="T40" fmla="*/ 2147483647 w 227"/>
                <a:gd name="T41" fmla="*/ 2147483647 h 341"/>
                <a:gd name="T42" fmla="*/ 2147483647 w 227"/>
                <a:gd name="T43" fmla="*/ 2147483647 h 341"/>
                <a:gd name="T44" fmla="*/ 2147483647 w 227"/>
                <a:gd name="T45" fmla="*/ 2147483647 h 341"/>
                <a:gd name="T46" fmla="*/ 2147483647 w 227"/>
                <a:gd name="T47" fmla="*/ 2147483647 h 341"/>
                <a:gd name="T48" fmla="*/ 2147483647 w 227"/>
                <a:gd name="T49" fmla="*/ 2147483647 h 341"/>
                <a:gd name="T50" fmla="*/ 2147483647 w 227"/>
                <a:gd name="T51" fmla="*/ 2147483647 h 341"/>
                <a:gd name="T52" fmla="*/ 2147483647 w 227"/>
                <a:gd name="T53" fmla="*/ 2147483647 h 341"/>
                <a:gd name="T54" fmla="*/ 2147483647 w 227"/>
                <a:gd name="T55" fmla="*/ 2147483647 h 341"/>
                <a:gd name="T56" fmla="*/ 2147483647 w 227"/>
                <a:gd name="T57" fmla="*/ 2147483647 h 341"/>
                <a:gd name="T58" fmla="*/ 2147483647 w 227"/>
                <a:gd name="T59" fmla="*/ 2147483647 h 341"/>
                <a:gd name="T60" fmla="*/ 2147483647 w 227"/>
                <a:gd name="T61" fmla="*/ 2147483647 h 341"/>
                <a:gd name="T62" fmla="*/ 2147483647 w 227"/>
                <a:gd name="T63" fmla="*/ 2147483647 h 341"/>
                <a:gd name="T64" fmla="*/ 2147483647 w 227"/>
                <a:gd name="T65" fmla="*/ 2147483647 h 341"/>
                <a:gd name="T66" fmla="*/ 2147483647 w 227"/>
                <a:gd name="T67" fmla="*/ 0 h 34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7"/>
                <a:gd name="T103" fmla="*/ 0 h 341"/>
                <a:gd name="T104" fmla="*/ 227 w 227"/>
                <a:gd name="T105" fmla="*/ 341 h 34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7" h="341">
                  <a:moveTo>
                    <a:pt x="160" y="0"/>
                  </a:moveTo>
                  <a:lnTo>
                    <a:pt x="169" y="5"/>
                  </a:lnTo>
                  <a:lnTo>
                    <a:pt x="176" y="15"/>
                  </a:lnTo>
                  <a:lnTo>
                    <a:pt x="180" y="27"/>
                  </a:lnTo>
                  <a:lnTo>
                    <a:pt x="183" y="41"/>
                  </a:lnTo>
                  <a:lnTo>
                    <a:pt x="184" y="55"/>
                  </a:lnTo>
                  <a:lnTo>
                    <a:pt x="186" y="67"/>
                  </a:lnTo>
                  <a:lnTo>
                    <a:pt x="186" y="74"/>
                  </a:lnTo>
                  <a:lnTo>
                    <a:pt x="186" y="78"/>
                  </a:lnTo>
                  <a:lnTo>
                    <a:pt x="184" y="79"/>
                  </a:lnTo>
                  <a:lnTo>
                    <a:pt x="182" y="85"/>
                  </a:lnTo>
                  <a:lnTo>
                    <a:pt x="180" y="93"/>
                  </a:lnTo>
                  <a:lnTo>
                    <a:pt x="179" y="105"/>
                  </a:lnTo>
                  <a:lnTo>
                    <a:pt x="179" y="120"/>
                  </a:lnTo>
                  <a:lnTo>
                    <a:pt x="184" y="139"/>
                  </a:lnTo>
                  <a:lnTo>
                    <a:pt x="193" y="162"/>
                  </a:lnTo>
                  <a:lnTo>
                    <a:pt x="208" y="190"/>
                  </a:lnTo>
                  <a:lnTo>
                    <a:pt x="220" y="214"/>
                  </a:lnTo>
                  <a:lnTo>
                    <a:pt x="225" y="237"/>
                  </a:lnTo>
                  <a:lnTo>
                    <a:pt x="227" y="259"/>
                  </a:lnTo>
                  <a:lnTo>
                    <a:pt x="224" y="280"/>
                  </a:lnTo>
                  <a:lnTo>
                    <a:pt x="218" y="296"/>
                  </a:lnTo>
                  <a:lnTo>
                    <a:pt x="212" y="310"/>
                  </a:lnTo>
                  <a:lnTo>
                    <a:pt x="206" y="321"/>
                  </a:lnTo>
                  <a:lnTo>
                    <a:pt x="202" y="327"/>
                  </a:lnTo>
                  <a:lnTo>
                    <a:pt x="199" y="329"/>
                  </a:lnTo>
                  <a:lnTo>
                    <a:pt x="195" y="334"/>
                  </a:lnTo>
                  <a:lnTo>
                    <a:pt x="193" y="338"/>
                  </a:lnTo>
                  <a:lnTo>
                    <a:pt x="190" y="341"/>
                  </a:lnTo>
                  <a:lnTo>
                    <a:pt x="186" y="340"/>
                  </a:lnTo>
                  <a:lnTo>
                    <a:pt x="179" y="334"/>
                  </a:lnTo>
                  <a:lnTo>
                    <a:pt x="168" y="323"/>
                  </a:lnTo>
                  <a:lnTo>
                    <a:pt x="142" y="299"/>
                  </a:lnTo>
                  <a:lnTo>
                    <a:pt x="122" y="280"/>
                  </a:lnTo>
                  <a:lnTo>
                    <a:pt x="104" y="263"/>
                  </a:lnTo>
                  <a:lnTo>
                    <a:pt x="92" y="250"/>
                  </a:lnTo>
                  <a:lnTo>
                    <a:pt x="83" y="237"/>
                  </a:lnTo>
                  <a:lnTo>
                    <a:pt x="81" y="224"/>
                  </a:lnTo>
                  <a:lnTo>
                    <a:pt x="83" y="207"/>
                  </a:lnTo>
                  <a:lnTo>
                    <a:pt x="86" y="198"/>
                  </a:lnTo>
                  <a:lnTo>
                    <a:pt x="89" y="190"/>
                  </a:lnTo>
                  <a:lnTo>
                    <a:pt x="90" y="184"/>
                  </a:lnTo>
                  <a:lnTo>
                    <a:pt x="88" y="180"/>
                  </a:lnTo>
                  <a:lnTo>
                    <a:pt x="79" y="177"/>
                  </a:lnTo>
                  <a:lnTo>
                    <a:pt x="66" y="176"/>
                  </a:lnTo>
                  <a:lnTo>
                    <a:pt x="48" y="171"/>
                  </a:lnTo>
                  <a:lnTo>
                    <a:pt x="33" y="161"/>
                  </a:lnTo>
                  <a:lnTo>
                    <a:pt x="22" y="150"/>
                  </a:lnTo>
                  <a:lnTo>
                    <a:pt x="13" y="136"/>
                  </a:lnTo>
                  <a:lnTo>
                    <a:pt x="7" y="124"/>
                  </a:lnTo>
                  <a:lnTo>
                    <a:pt x="3" y="113"/>
                  </a:lnTo>
                  <a:lnTo>
                    <a:pt x="2" y="105"/>
                  </a:lnTo>
                  <a:lnTo>
                    <a:pt x="0" y="102"/>
                  </a:lnTo>
                  <a:lnTo>
                    <a:pt x="17" y="79"/>
                  </a:lnTo>
                  <a:lnTo>
                    <a:pt x="34" y="63"/>
                  </a:lnTo>
                  <a:lnTo>
                    <a:pt x="55" y="49"/>
                  </a:lnTo>
                  <a:lnTo>
                    <a:pt x="74" y="40"/>
                  </a:lnTo>
                  <a:lnTo>
                    <a:pt x="90" y="34"/>
                  </a:lnTo>
                  <a:lnTo>
                    <a:pt x="105" y="30"/>
                  </a:lnTo>
                  <a:lnTo>
                    <a:pt x="115" y="29"/>
                  </a:lnTo>
                  <a:lnTo>
                    <a:pt x="118" y="27"/>
                  </a:lnTo>
                  <a:lnTo>
                    <a:pt x="120" y="29"/>
                  </a:lnTo>
                  <a:lnTo>
                    <a:pt x="124" y="30"/>
                  </a:lnTo>
                  <a:lnTo>
                    <a:pt x="131" y="30"/>
                  </a:lnTo>
                  <a:lnTo>
                    <a:pt x="139" y="29"/>
                  </a:lnTo>
                  <a:lnTo>
                    <a:pt x="148" y="23"/>
                  </a:lnTo>
                  <a:lnTo>
                    <a:pt x="154" y="15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03" name="Freeform 2732"/>
            <p:cNvSpPr>
              <a:spLocks/>
            </p:cNvSpPr>
            <p:nvPr/>
          </p:nvSpPr>
          <p:spPr bwMode="auto">
            <a:xfrm rot="1114411" flipH="1">
              <a:off x="2830435" y="4339338"/>
              <a:ext cx="52856" cy="35608"/>
            </a:xfrm>
            <a:custGeom>
              <a:avLst/>
              <a:gdLst>
                <a:gd name="T0" fmla="*/ 2147483647 w 95"/>
                <a:gd name="T1" fmla="*/ 0 h 64"/>
                <a:gd name="T2" fmla="*/ 2147483647 w 95"/>
                <a:gd name="T3" fmla="*/ 2147483647 h 64"/>
                <a:gd name="T4" fmla="*/ 2147483647 w 95"/>
                <a:gd name="T5" fmla="*/ 2147483647 h 64"/>
                <a:gd name="T6" fmla="*/ 2147483647 w 95"/>
                <a:gd name="T7" fmla="*/ 2147483647 h 64"/>
                <a:gd name="T8" fmla="*/ 2147483647 w 95"/>
                <a:gd name="T9" fmla="*/ 2147483647 h 64"/>
                <a:gd name="T10" fmla="*/ 2147483647 w 95"/>
                <a:gd name="T11" fmla="*/ 2147483647 h 64"/>
                <a:gd name="T12" fmla="*/ 2147483647 w 95"/>
                <a:gd name="T13" fmla="*/ 2147483647 h 64"/>
                <a:gd name="T14" fmla="*/ 2147483647 w 95"/>
                <a:gd name="T15" fmla="*/ 2147483647 h 64"/>
                <a:gd name="T16" fmla="*/ 2147483647 w 95"/>
                <a:gd name="T17" fmla="*/ 2147483647 h 64"/>
                <a:gd name="T18" fmla="*/ 2147483647 w 95"/>
                <a:gd name="T19" fmla="*/ 2147483647 h 64"/>
                <a:gd name="T20" fmla="*/ 2147483647 w 95"/>
                <a:gd name="T21" fmla="*/ 2147483647 h 64"/>
                <a:gd name="T22" fmla="*/ 2147483647 w 95"/>
                <a:gd name="T23" fmla="*/ 2147483647 h 64"/>
                <a:gd name="T24" fmla="*/ 2147483647 w 95"/>
                <a:gd name="T25" fmla="*/ 2147483647 h 64"/>
                <a:gd name="T26" fmla="*/ 2147483647 w 95"/>
                <a:gd name="T27" fmla="*/ 2147483647 h 64"/>
                <a:gd name="T28" fmla="*/ 2147483647 w 95"/>
                <a:gd name="T29" fmla="*/ 2147483647 h 64"/>
                <a:gd name="T30" fmla="*/ 2147483647 w 95"/>
                <a:gd name="T31" fmla="*/ 2147483647 h 64"/>
                <a:gd name="T32" fmla="*/ 2147483647 w 95"/>
                <a:gd name="T33" fmla="*/ 2147483647 h 64"/>
                <a:gd name="T34" fmla="*/ 2147483647 w 95"/>
                <a:gd name="T35" fmla="*/ 2147483647 h 64"/>
                <a:gd name="T36" fmla="*/ 0 w 95"/>
                <a:gd name="T37" fmla="*/ 2147483647 h 64"/>
                <a:gd name="T38" fmla="*/ 2147483647 w 95"/>
                <a:gd name="T39" fmla="*/ 2147483647 h 64"/>
                <a:gd name="T40" fmla="*/ 2147483647 w 95"/>
                <a:gd name="T41" fmla="*/ 2147483647 h 64"/>
                <a:gd name="T42" fmla="*/ 2147483647 w 95"/>
                <a:gd name="T43" fmla="*/ 2147483647 h 64"/>
                <a:gd name="T44" fmla="*/ 2147483647 w 95"/>
                <a:gd name="T45" fmla="*/ 2147483647 h 64"/>
                <a:gd name="T46" fmla="*/ 2147483647 w 95"/>
                <a:gd name="T47" fmla="*/ 2147483647 h 64"/>
                <a:gd name="T48" fmla="*/ 2147483647 w 95"/>
                <a:gd name="T49" fmla="*/ 0 h 64"/>
                <a:gd name="T50" fmla="*/ 2147483647 w 95"/>
                <a:gd name="T51" fmla="*/ 0 h 6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5"/>
                <a:gd name="T79" fmla="*/ 0 h 64"/>
                <a:gd name="T80" fmla="*/ 95 w 95"/>
                <a:gd name="T81" fmla="*/ 64 h 6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5" h="64">
                  <a:moveTo>
                    <a:pt x="63" y="0"/>
                  </a:moveTo>
                  <a:lnTo>
                    <a:pt x="79" y="4"/>
                  </a:lnTo>
                  <a:lnTo>
                    <a:pt x="90" y="12"/>
                  </a:lnTo>
                  <a:lnTo>
                    <a:pt x="95" y="19"/>
                  </a:lnTo>
                  <a:lnTo>
                    <a:pt x="95" y="26"/>
                  </a:lnTo>
                  <a:lnTo>
                    <a:pt x="93" y="33"/>
                  </a:lnTo>
                  <a:lnTo>
                    <a:pt x="89" y="37"/>
                  </a:lnTo>
                  <a:lnTo>
                    <a:pt x="87" y="38"/>
                  </a:lnTo>
                  <a:lnTo>
                    <a:pt x="85" y="40"/>
                  </a:lnTo>
                  <a:lnTo>
                    <a:pt x="76" y="45"/>
                  </a:lnTo>
                  <a:lnTo>
                    <a:pt x="65" y="51"/>
                  </a:lnTo>
                  <a:lnTo>
                    <a:pt x="53" y="56"/>
                  </a:lnTo>
                  <a:lnTo>
                    <a:pt x="41" y="61"/>
                  </a:lnTo>
                  <a:lnTo>
                    <a:pt x="31" y="64"/>
                  </a:lnTo>
                  <a:lnTo>
                    <a:pt x="23" y="64"/>
                  </a:lnTo>
                  <a:lnTo>
                    <a:pt x="14" y="57"/>
                  </a:lnTo>
                  <a:lnTo>
                    <a:pt x="5" y="48"/>
                  </a:lnTo>
                  <a:lnTo>
                    <a:pt x="1" y="41"/>
                  </a:lnTo>
                  <a:lnTo>
                    <a:pt x="0" y="38"/>
                  </a:lnTo>
                  <a:lnTo>
                    <a:pt x="1" y="36"/>
                  </a:lnTo>
                  <a:lnTo>
                    <a:pt x="5" y="30"/>
                  </a:lnTo>
                  <a:lnTo>
                    <a:pt x="12" y="22"/>
                  </a:lnTo>
                  <a:lnTo>
                    <a:pt x="22" y="14"/>
                  </a:lnTo>
                  <a:lnTo>
                    <a:pt x="34" y="6"/>
                  </a:lnTo>
                  <a:lnTo>
                    <a:pt x="48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04" name="Freeform 2733"/>
            <p:cNvSpPr>
              <a:spLocks/>
            </p:cNvSpPr>
            <p:nvPr/>
          </p:nvSpPr>
          <p:spPr bwMode="auto">
            <a:xfrm rot="1114411" flipH="1">
              <a:off x="2489850" y="4155320"/>
              <a:ext cx="107937" cy="221438"/>
            </a:xfrm>
            <a:custGeom>
              <a:avLst/>
              <a:gdLst>
                <a:gd name="T0" fmla="*/ 2147483647 w 194"/>
                <a:gd name="T1" fmla="*/ 2147483647 h 398"/>
                <a:gd name="T2" fmla="*/ 2147483647 w 194"/>
                <a:gd name="T3" fmla="*/ 2147483647 h 398"/>
                <a:gd name="T4" fmla="*/ 2147483647 w 194"/>
                <a:gd name="T5" fmla="*/ 2147483647 h 398"/>
                <a:gd name="T6" fmla="*/ 2147483647 w 194"/>
                <a:gd name="T7" fmla="*/ 2147483647 h 398"/>
                <a:gd name="T8" fmla="*/ 2147483647 w 194"/>
                <a:gd name="T9" fmla="*/ 2147483647 h 398"/>
                <a:gd name="T10" fmla="*/ 2147483647 w 194"/>
                <a:gd name="T11" fmla="*/ 2147483647 h 398"/>
                <a:gd name="T12" fmla="*/ 2147483647 w 194"/>
                <a:gd name="T13" fmla="*/ 2147483647 h 398"/>
                <a:gd name="T14" fmla="*/ 2147483647 w 194"/>
                <a:gd name="T15" fmla="*/ 2147483647 h 398"/>
                <a:gd name="T16" fmla="*/ 2147483647 w 194"/>
                <a:gd name="T17" fmla="*/ 2147483647 h 398"/>
                <a:gd name="T18" fmla="*/ 2147483647 w 194"/>
                <a:gd name="T19" fmla="*/ 2147483647 h 398"/>
                <a:gd name="T20" fmla="*/ 2147483647 w 194"/>
                <a:gd name="T21" fmla="*/ 2147483647 h 398"/>
                <a:gd name="T22" fmla="*/ 2147483647 w 194"/>
                <a:gd name="T23" fmla="*/ 2147483647 h 398"/>
                <a:gd name="T24" fmla="*/ 2147483647 w 194"/>
                <a:gd name="T25" fmla="*/ 2147483647 h 398"/>
                <a:gd name="T26" fmla="*/ 2147483647 w 194"/>
                <a:gd name="T27" fmla="*/ 2147483647 h 398"/>
                <a:gd name="T28" fmla="*/ 2147483647 w 194"/>
                <a:gd name="T29" fmla="*/ 2147483647 h 398"/>
                <a:gd name="T30" fmla="*/ 2147483647 w 194"/>
                <a:gd name="T31" fmla="*/ 2147483647 h 398"/>
                <a:gd name="T32" fmla="*/ 2147483647 w 194"/>
                <a:gd name="T33" fmla="*/ 2147483647 h 398"/>
                <a:gd name="T34" fmla="*/ 2147483647 w 194"/>
                <a:gd name="T35" fmla="*/ 2147483647 h 398"/>
                <a:gd name="T36" fmla="*/ 2147483647 w 194"/>
                <a:gd name="T37" fmla="*/ 2147483647 h 398"/>
                <a:gd name="T38" fmla="*/ 2147483647 w 194"/>
                <a:gd name="T39" fmla="*/ 2147483647 h 398"/>
                <a:gd name="T40" fmla="*/ 2147483647 w 194"/>
                <a:gd name="T41" fmla="*/ 2147483647 h 398"/>
                <a:gd name="T42" fmla="*/ 2147483647 w 194"/>
                <a:gd name="T43" fmla="*/ 2147483647 h 398"/>
                <a:gd name="T44" fmla="*/ 2147483647 w 194"/>
                <a:gd name="T45" fmla="*/ 2147483647 h 398"/>
                <a:gd name="T46" fmla="*/ 2147483647 w 194"/>
                <a:gd name="T47" fmla="*/ 2147483647 h 398"/>
                <a:gd name="T48" fmla="*/ 2147483647 w 194"/>
                <a:gd name="T49" fmla="*/ 2147483647 h 398"/>
                <a:gd name="T50" fmla="*/ 2147483647 w 194"/>
                <a:gd name="T51" fmla="*/ 2147483647 h 398"/>
                <a:gd name="T52" fmla="*/ 2147483647 w 194"/>
                <a:gd name="T53" fmla="*/ 2147483647 h 398"/>
                <a:gd name="T54" fmla="*/ 2147483647 w 194"/>
                <a:gd name="T55" fmla="*/ 2147483647 h 398"/>
                <a:gd name="T56" fmla="*/ 2147483647 w 194"/>
                <a:gd name="T57" fmla="*/ 2147483647 h 398"/>
                <a:gd name="T58" fmla="*/ 2147483647 w 194"/>
                <a:gd name="T59" fmla="*/ 2147483647 h 398"/>
                <a:gd name="T60" fmla="*/ 2147483647 w 194"/>
                <a:gd name="T61" fmla="*/ 2147483647 h 398"/>
                <a:gd name="T62" fmla="*/ 2147483647 w 194"/>
                <a:gd name="T63" fmla="*/ 2147483647 h 398"/>
                <a:gd name="T64" fmla="*/ 2147483647 w 194"/>
                <a:gd name="T65" fmla="*/ 2147483647 h 398"/>
                <a:gd name="T66" fmla="*/ 2147483647 w 194"/>
                <a:gd name="T67" fmla="*/ 2147483647 h 398"/>
                <a:gd name="T68" fmla="*/ 2147483647 w 194"/>
                <a:gd name="T69" fmla="*/ 2147483647 h 398"/>
                <a:gd name="T70" fmla="*/ 0 w 194"/>
                <a:gd name="T71" fmla="*/ 2147483647 h 398"/>
                <a:gd name="T72" fmla="*/ 2147483647 w 194"/>
                <a:gd name="T73" fmla="*/ 2147483647 h 398"/>
                <a:gd name="T74" fmla="*/ 2147483647 w 194"/>
                <a:gd name="T75" fmla="*/ 2147483647 h 398"/>
                <a:gd name="T76" fmla="*/ 2147483647 w 194"/>
                <a:gd name="T77" fmla="*/ 2147483647 h 398"/>
                <a:gd name="T78" fmla="*/ 2147483647 w 194"/>
                <a:gd name="T79" fmla="*/ 2147483647 h 398"/>
                <a:gd name="T80" fmla="*/ 2147483647 w 194"/>
                <a:gd name="T81" fmla="*/ 2147483647 h 398"/>
                <a:gd name="T82" fmla="*/ 2147483647 w 194"/>
                <a:gd name="T83" fmla="*/ 2147483647 h 398"/>
                <a:gd name="T84" fmla="*/ 2147483647 w 194"/>
                <a:gd name="T85" fmla="*/ 2147483647 h 398"/>
                <a:gd name="T86" fmla="*/ 2147483647 w 194"/>
                <a:gd name="T87" fmla="*/ 2147483647 h 398"/>
                <a:gd name="T88" fmla="*/ 2147483647 w 194"/>
                <a:gd name="T89" fmla="*/ 2147483647 h 398"/>
                <a:gd name="T90" fmla="*/ 2147483647 w 194"/>
                <a:gd name="T91" fmla="*/ 2147483647 h 398"/>
                <a:gd name="T92" fmla="*/ 2147483647 w 194"/>
                <a:gd name="T93" fmla="*/ 2147483647 h 398"/>
                <a:gd name="T94" fmla="*/ 2147483647 w 194"/>
                <a:gd name="T95" fmla="*/ 2147483647 h 398"/>
                <a:gd name="T96" fmla="*/ 2147483647 w 194"/>
                <a:gd name="T97" fmla="*/ 2147483647 h 398"/>
                <a:gd name="T98" fmla="*/ 2147483647 w 194"/>
                <a:gd name="T99" fmla="*/ 2147483647 h 39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94"/>
                <a:gd name="T151" fmla="*/ 0 h 398"/>
                <a:gd name="T152" fmla="*/ 194 w 194"/>
                <a:gd name="T153" fmla="*/ 398 h 39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94" h="398">
                  <a:moveTo>
                    <a:pt x="42" y="0"/>
                  </a:moveTo>
                  <a:lnTo>
                    <a:pt x="45" y="1"/>
                  </a:lnTo>
                  <a:lnTo>
                    <a:pt x="53" y="5"/>
                  </a:lnTo>
                  <a:lnTo>
                    <a:pt x="65" y="11"/>
                  </a:lnTo>
                  <a:lnTo>
                    <a:pt x="80" y="16"/>
                  </a:lnTo>
                  <a:lnTo>
                    <a:pt x="97" y="23"/>
                  </a:lnTo>
                  <a:lnTo>
                    <a:pt x="110" y="28"/>
                  </a:lnTo>
                  <a:lnTo>
                    <a:pt x="123" y="33"/>
                  </a:lnTo>
                  <a:lnTo>
                    <a:pt x="132" y="35"/>
                  </a:lnTo>
                  <a:lnTo>
                    <a:pt x="143" y="35"/>
                  </a:lnTo>
                  <a:lnTo>
                    <a:pt x="153" y="34"/>
                  </a:lnTo>
                  <a:lnTo>
                    <a:pt x="159" y="30"/>
                  </a:lnTo>
                  <a:lnTo>
                    <a:pt x="161" y="28"/>
                  </a:lnTo>
                  <a:lnTo>
                    <a:pt x="164" y="28"/>
                  </a:lnTo>
                  <a:lnTo>
                    <a:pt x="169" y="31"/>
                  </a:lnTo>
                  <a:lnTo>
                    <a:pt x="176" y="35"/>
                  </a:lnTo>
                  <a:lnTo>
                    <a:pt x="184" y="45"/>
                  </a:lnTo>
                  <a:lnTo>
                    <a:pt x="189" y="57"/>
                  </a:lnTo>
                  <a:lnTo>
                    <a:pt x="194" y="72"/>
                  </a:lnTo>
                  <a:lnTo>
                    <a:pt x="194" y="84"/>
                  </a:lnTo>
                  <a:lnTo>
                    <a:pt x="189" y="99"/>
                  </a:lnTo>
                  <a:lnTo>
                    <a:pt x="183" y="114"/>
                  </a:lnTo>
                  <a:lnTo>
                    <a:pt x="172" y="135"/>
                  </a:lnTo>
                  <a:lnTo>
                    <a:pt x="162" y="147"/>
                  </a:lnTo>
                  <a:lnTo>
                    <a:pt x="154" y="153"/>
                  </a:lnTo>
                  <a:lnTo>
                    <a:pt x="147" y="154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32" y="142"/>
                  </a:lnTo>
                  <a:lnTo>
                    <a:pt x="131" y="142"/>
                  </a:lnTo>
                  <a:lnTo>
                    <a:pt x="128" y="143"/>
                  </a:lnTo>
                  <a:lnTo>
                    <a:pt x="127" y="147"/>
                  </a:lnTo>
                  <a:lnTo>
                    <a:pt x="125" y="153"/>
                  </a:lnTo>
                  <a:lnTo>
                    <a:pt x="125" y="162"/>
                  </a:lnTo>
                  <a:lnTo>
                    <a:pt x="128" y="177"/>
                  </a:lnTo>
                  <a:lnTo>
                    <a:pt x="135" y="214"/>
                  </a:lnTo>
                  <a:lnTo>
                    <a:pt x="138" y="244"/>
                  </a:lnTo>
                  <a:lnTo>
                    <a:pt x="136" y="271"/>
                  </a:lnTo>
                  <a:lnTo>
                    <a:pt x="134" y="293"/>
                  </a:lnTo>
                  <a:lnTo>
                    <a:pt x="128" y="312"/>
                  </a:lnTo>
                  <a:lnTo>
                    <a:pt x="120" y="329"/>
                  </a:lnTo>
                  <a:lnTo>
                    <a:pt x="112" y="342"/>
                  </a:lnTo>
                  <a:lnTo>
                    <a:pt x="102" y="353"/>
                  </a:lnTo>
                  <a:lnTo>
                    <a:pt x="93" y="364"/>
                  </a:lnTo>
                  <a:lnTo>
                    <a:pt x="84" y="372"/>
                  </a:lnTo>
                  <a:lnTo>
                    <a:pt x="78" y="380"/>
                  </a:lnTo>
                  <a:lnTo>
                    <a:pt x="72" y="390"/>
                  </a:lnTo>
                  <a:lnTo>
                    <a:pt x="65" y="398"/>
                  </a:lnTo>
                  <a:lnTo>
                    <a:pt x="59" y="398"/>
                  </a:lnTo>
                  <a:lnTo>
                    <a:pt x="53" y="393"/>
                  </a:lnTo>
                  <a:lnTo>
                    <a:pt x="48" y="383"/>
                  </a:lnTo>
                  <a:lnTo>
                    <a:pt x="44" y="371"/>
                  </a:lnTo>
                  <a:lnTo>
                    <a:pt x="41" y="357"/>
                  </a:lnTo>
                  <a:lnTo>
                    <a:pt x="39" y="346"/>
                  </a:lnTo>
                  <a:lnTo>
                    <a:pt x="39" y="337"/>
                  </a:lnTo>
                  <a:lnTo>
                    <a:pt x="39" y="333"/>
                  </a:lnTo>
                  <a:lnTo>
                    <a:pt x="39" y="329"/>
                  </a:lnTo>
                  <a:lnTo>
                    <a:pt x="37" y="325"/>
                  </a:lnTo>
                  <a:lnTo>
                    <a:pt x="34" y="323"/>
                  </a:lnTo>
                  <a:lnTo>
                    <a:pt x="31" y="320"/>
                  </a:lnTo>
                  <a:lnTo>
                    <a:pt x="27" y="319"/>
                  </a:lnTo>
                  <a:lnTo>
                    <a:pt x="24" y="318"/>
                  </a:lnTo>
                  <a:lnTo>
                    <a:pt x="22" y="318"/>
                  </a:lnTo>
                  <a:lnTo>
                    <a:pt x="20" y="318"/>
                  </a:lnTo>
                  <a:lnTo>
                    <a:pt x="19" y="318"/>
                  </a:lnTo>
                  <a:lnTo>
                    <a:pt x="18" y="316"/>
                  </a:lnTo>
                  <a:lnTo>
                    <a:pt x="14" y="311"/>
                  </a:lnTo>
                  <a:lnTo>
                    <a:pt x="9" y="304"/>
                  </a:lnTo>
                  <a:lnTo>
                    <a:pt x="4" y="297"/>
                  </a:lnTo>
                  <a:lnTo>
                    <a:pt x="1" y="290"/>
                  </a:lnTo>
                  <a:lnTo>
                    <a:pt x="0" y="284"/>
                  </a:lnTo>
                  <a:lnTo>
                    <a:pt x="3" y="279"/>
                  </a:lnTo>
                  <a:lnTo>
                    <a:pt x="12" y="277"/>
                  </a:lnTo>
                  <a:lnTo>
                    <a:pt x="20" y="274"/>
                  </a:lnTo>
                  <a:lnTo>
                    <a:pt x="27" y="263"/>
                  </a:lnTo>
                  <a:lnTo>
                    <a:pt x="33" y="249"/>
                  </a:lnTo>
                  <a:lnTo>
                    <a:pt x="37" y="230"/>
                  </a:lnTo>
                  <a:lnTo>
                    <a:pt x="39" y="211"/>
                  </a:lnTo>
                  <a:lnTo>
                    <a:pt x="42" y="192"/>
                  </a:lnTo>
                  <a:lnTo>
                    <a:pt x="44" y="174"/>
                  </a:lnTo>
                  <a:lnTo>
                    <a:pt x="45" y="159"/>
                  </a:lnTo>
                  <a:lnTo>
                    <a:pt x="45" y="149"/>
                  </a:lnTo>
                  <a:lnTo>
                    <a:pt x="45" y="146"/>
                  </a:lnTo>
                  <a:lnTo>
                    <a:pt x="48" y="143"/>
                  </a:lnTo>
                  <a:lnTo>
                    <a:pt x="54" y="139"/>
                  </a:lnTo>
                  <a:lnTo>
                    <a:pt x="63" y="132"/>
                  </a:lnTo>
                  <a:lnTo>
                    <a:pt x="71" y="124"/>
                  </a:lnTo>
                  <a:lnTo>
                    <a:pt x="79" y="114"/>
                  </a:lnTo>
                  <a:lnTo>
                    <a:pt x="84" y="105"/>
                  </a:lnTo>
                  <a:lnTo>
                    <a:pt x="86" y="95"/>
                  </a:lnTo>
                  <a:lnTo>
                    <a:pt x="82" y="87"/>
                  </a:lnTo>
                  <a:lnTo>
                    <a:pt x="72" y="82"/>
                  </a:lnTo>
                  <a:lnTo>
                    <a:pt x="57" y="73"/>
                  </a:lnTo>
                  <a:lnTo>
                    <a:pt x="49" y="61"/>
                  </a:lnTo>
                  <a:lnTo>
                    <a:pt x="42" y="49"/>
                  </a:lnTo>
                  <a:lnTo>
                    <a:pt x="39" y="35"/>
                  </a:lnTo>
                  <a:lnTo>
                    <a:pt x="39" y="22"/>
                  </a:lnTo>
                  <a:lnTo>
                    <a:pt x="39" y="11"/>
                  </a:lnTo>
                  <a:lnTo>
                    <a:pt x="41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05" name="Freeform 2734"/>
            <p:cNvSpPr>
              <a:spLocks/>
            </p:cNvSpPr>
            <p:nvPr/>
          </p:nvSpPr>
          <p:spPr bwMode="auto">
            <a:xfrm rot="1114411" flipH="1">
              <a:off x="2530259" y="4204688"/>
              <a:ext cx="75667" cy="55081"/>
            </a:xfrm>
            <a:custGeom>
              <a:avLst/>
              <a:gdLst>
                <a:gd name="T0" fmla="*/ 2147483647 w 136"/>
                <a:gd name="T1" fmla="*/ 0 h 99"/>
                <a:gd name="T2" fmla="*/ 2147483647 w 136"/>
                <a:gd name="T3" fmla="*/ 2147483647 h 99"/>
                <a:gd name="T4" fmla="*/ 2147483647 w 136"/>
                <a:gd name="T5" fmla="*/ 2147483647 h 99"/>
                <a:gd name="T6" fmla="*/ 2147483647 w 136"/>
                <a:gd name="T7" fmla="*/ 2147483647 h 99"/>
                <a:gd name="T8" fmla="*/ 2147483647 w 136"/>
                <a:gd name="T9" fmla="*/ 2147483647 h 99"/>
                <a:gd name="T10" fmla="*/ 2147483647 w 136"/>
                <a:gd name="T11" fmla="*/ 2147483647 h 99"/>
                <a:gd name="T12" fmla="*/ 2147483647 w 136"/>
                <a:gd name="T13" fmla="*/ 2147483647 h 99"/>
                <a:gd name="T14" fmla="*/ 2147483647 w 136"/>
                <a:gd name="T15" fmla="*/ 2147483647 h 99"/>
                <a:gd name="T16" fmla="*/ 2147483647 w 136"/>
                <a:gd name="T17" fmla="*/ 2147483647 h 99"/>
                <a:gd name="T18" fmla="*/ 2147483647 w 136"/>
                <a:gd name="T19" fmla="*/ 2147483647 h 99"/>
                <a:gd name="T20" fmla="*/ 2147483647 w 136"/>
                <a:gd name="T21" fmla="*/ 2147483647 h 99"/>
                <a:gd name="T22" fmla="*/ 2147483647 w 136"/>
                <a:gd name="T23" fmla="*/ 2147483647 h 99"/>
                <a:gd name="T24" fmla="*/ 2147483647 w 136"/>
                <a:gd name="T25" fmla="*/ 2147483647 h 99"/>
                <a:gd name="T26" fmla="*/ 2147483647 w 136"/>
                <a:gd name="T27" fmla="*/ 2147483647 h 99"/>
                <a:gd name="T28" fmla="*/ 2147483647 w 136"/>
                <a:gd name="T29" fmla="*/ 2147483647 h 99"/>
                <a:gd name="T30" fmla="*/ 2147483647 w 136"/>
                <a:gd name="T31" fmla="*/ 2147483647 h 99"/>
                <a:gd name="T32" fmla="*/ 2147483647 w 136"/>
                <a:gd name="T33" fmla="*/ 2147483647 h 99"/>
                <a:gd name="T34" fmla="*/ 2147483647 w 136"/>
                <a:gd name="T35" fmla="*/ 2147483647 h 99"/>
                <a:gd name="T36" fmla="*/ 2147483647 w 136"/>
                <a:gd name="T37" fmla="*/ 2147483647 h 99"/>
                <a:gd name="T38" fmla="*/ 2147483647 w 136"/>
                <a:gd name="T39" fmla="*/ 2147483647 h 99"/>
                <a:gd name="T40" fmla="*/ 2147483647 w 136"/>
                <a:gd name="T41" fmla="*/ 2147483647 h 99"/>
                <a:gd name="T42" fmla="*/ 2147483647 w 136"/>
                <a:gd name="T43" fmla="*/ 2147483647 h 99"/>
                <a:gd name="T44" fmla="*/ 2147483647 w 136"/>
                <a:gd name="T45" fmla="*/ 2147483647 h 99"/>
                <a:gd name="T46" fmla="*/ 0 w 136"/>
                <a:gd name="T47" fmla="*/ 2147483647 h 99"/>
                <a:gd name="T48" fmla="*/ 2147483647 w 136"/>
                <a:gd name="T49" fmla="*/ 2147483647 h 99"/>
                <a:gd name="T50" fmla="*/ 2147483647 w 136"/>
                <a:gd name="T51" fmla="*/ 2147483647 h 99"/>
                <a:gd name="T52" fmla="*/ 2147483647 w 136"/>
                <a:gd name="T53" fmla="*/ 2147483647 h 99"/>
                <a:gd name="T54" fmla="*/ 2147483647 w 136"/>
                <a:gd name="T55" fmla="*/ 2147483647 h 99"/>
                <a:gd name="T56" fmla="*/ 2147483647 w 136"/>
                <a:gd name="T57" fmla="*/ 2147483647 h 99"/>
                <a:gd name="T58" fmla="*/ 2147483647 w 136"/>
                <a:gd name="T59" fmla="*/ 0 h 99"/>
                <a:gd name="T60" fmla="*/ 2147483647 w 136"/>
                <a:gd name="T61" fmla="*/ 0 h 9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"/>
                <a:gd name="T94" fmla="*/ 0 h 99"/>
                <a:gd name="T95" fmla="*/ 136 w 136"/>
                <a:gd name="T96" fmla="*/ 99 h 9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" h="99">
                  <a:moveTo>
                    <a:pt x="50" y="0"/>
                  </a:moveTo>
                  <a:lnTo>
                    <a:pt x="62" y="1"/>
                  </a:lnTo>
                  <a:lnTo>
                    <a:pt x="76" y="6"/>
                  </a:lnTo>
                  <a:lnTo>
                    <a:pt x="91" y="16"/>
                  </a:lnTo>
                  <a:lnTo>
                    <a:pt x="107" y="31"/>
                  </a:lnTo>
                  <a:lnTo>
                    <a:pt x="125" y="53"/>
                  </a:lnTo>
                  <a:lnTo>
                    <a:pt x="133" y="68"/>
                  </a:lnTo>
                  <a:lnTo>
                    <a:pt x="136" y="79"/>
                  </a:lnTo>
                  <a:lnTo>
                    <a:pt x="136" y="87"/>
                  </a:lnTo>
                  <a:lnTo>
                    <a:pt x="133" y="92"/>
                  </a:lnTo>
                  <a:lnTo>
                    <a:pt x="129" y="96"/>
                  </a:lnTo>
                  <a:lnTo>
                    <a:pt x="125" y="98"/>
                  </a:lnTo>
                  <a:lnTo>
                    <a:pt x="122" y="99"/>
                  </a:lnTo>
                  <a:lnTo>
                    <a:pt x="121" y="99"/>
                  </a:lnTo>
                  <a:lnTo>
                    <a:pt x="106" y="83"/>
                  </a:lnTo>
                  <a:lnTo>
                    <a:pt x="91" y="75"/>
                  </a:lnTo>
                  <a:lnTo>
                    <a:pt x="75" y="71"/>
                  </a:lnTo>
                  <a:lnTo>
                    <a:pt x="61" y="69"/>
                  </a:lnTo>
                  <a:lnTo>
                    <a:pt x="49" y="69"/>
                  </a:lnTo>
                  <a:lnTo>
                    <a:pt x="38" y="68"/>
                  </a:lnTo>
                  <a:lnTo>
                    <a:pt x="19" y="60"/>
                  </a:lnTo>
                  <a:lnTo>
                    <a:pt x="8" y="53"/>
                  </a:lnTo>
                  <a:lnTo>
                    <a:pt x="1" y="45"/>
                  </a:lnTo>
                  <a:lnTo>
                    <a:pt x="0" y="36"/>
                  </a:lnTo>
                  <a:lnTo>
                    <a:pt x="2" y="27"/>
                  </a:lnTo>
                  <a:lnTo>
                    <a:pt x="9" y="20"/>
                  </a:lnTo>
                  <a:lnTo>
                    <a:pt x="17" y="13"/>
                  </a:lnTo>
                  <a:lnTo>
                    <a:pt x="26" y="6"/>
                  </a:lnTo>
                  <a:lnTo>
                    <a:pt x="35" y="2"/>
                  </a:lnTo>
                  <a:lnTo>
                    <a:pt x="43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06" name="Freeform 2735"/>
            <p:cNvSpPr>
              <a:spLocks/>
            </p:cNvSpPr>
            <p:nvPr/>
          </p:nvSpPr>
          <p:spPr bwMode="auto">
            <a:xfrm rot="1114411" flipH="1">
              <a:off x="2024285" y="4268451"/>
              <a:ext cx="90133" cy="101260"/>
            </a:xfrm>
            <a:custGeom>
              <a:avLst/>
              <a:gdLst>
                <a:gd name="T0" fmla="*/ 2147483647 w 162"/>
                <a:gd name="T1" fmla="*/ 0 h 182"/>
                <a:gd name="T2" fmla="*/ 2147483647 w 162"/>
                <a:gd name="T3" fmla="*/ 2147483647 h 182"/>
                <a:gd name="T4" fmla="*/ 2147483647 w 162"/>
                <a:gd name="T5" fmla="*/ 2147483647 h 182"/>
                <a:gd name="T6" fmla="*/ 2147483647 w 162"/>
                <a:gd name="T7" fmla="*/ 2147483647 h 182"/>
                <a:gd name="T8" fmla="*/ 2147483647 w 162"/>
                <a:gd name="T9" fmla="*/ 2147483647 h 182"/>
                <a:gd name="T10" fmla="*/ 2147483647 w 162"/>
                <a:gd name="T11" fmla="*/ 2147483647 h 182"/>
                <a:gd name="T12" fmla="*/ 2147483647 w 162"/>
                <a:gd name="T13" fmla="*/ 2147483647 h 182"/>
                <a:gd name="T14" fmla="*/ 2147483647 w 162"/>
                <a:gd name="T15" fmla="*/ 2147483647 h 182"/>
                <a:gd name="T16" fmla="*/ 2147483647 w 162"/>
                <a:gd name="T17" fmla="*/ 2147483647 h 182"/>
                <a:gd name="T18" fmla="*/ 2147483647 w 162"/>
                <a:gd name="T19" fmla="*/ 2147483647 h 182"/>
                <a:gd name="T20" fmla="*/ 2147483647 w 162"/>
                <a:gd name="T21" fmla="*/ 2147483647 h 182"/>
                <a:gd name="T22" fmla="*/ 2147483647 w 162"/>
                <a:gd name="T23" fmla="*/ 2147483647 h 182"/>
                <a:gd name="T24" fmla="*/ 2147483647 w 162"/>
                <a:gd name="T25" fmla="*/ 2147483647 h 182"/>
                <a:gd name="T26" fmla="*/ 2147483647 w 162"/>
                <a:gd name="T27" fmla="*/ 2147483647 h 182"/>
                <a:gd name="T28" fmla="*/ 2147483647 w 162"/>
                <a:gd name="T29" fmla="*/ 2147483647 h 182"/>
                <a:gd name="T30" fmla="*/ 2147483647 w 162"/>
                <a:gd name="T31" fmla="*/ 2147483647 h 182"/>
                <a:gd name="T32" fmla="*/ 2147483647 w 162"/>
                <a:gd name="T33" fmla="*/ 2147483647 h 182"/>
                <a:gd name="T34" fmla="*/ 2147483647 w 162"/>
                <a:gd name="T35" fmla="*/ 2147483647 h 182"/>
                <a:gd name="T36" fmla="*/ 2147483647 w 162"/>
                <a:gd name="T37" fmla="*/ 2147483647 h 182"/>
                <a:gd name="T38" fmla="*/ 2147483647 w 162"/>
                <a:gd name="T39" fmla="*/ 2147483647 h 182"/>
                <a:gd name="T40" fmla="*/ 2147483647 w 162"/>
                <a:gd name="T41" fmla="*/ 2147483647 h 182"/>
                <a:gd name="T42" fmla="*/ 2147483647 w 162"/>
                <a:gd name="T43" fmla="*/ 2147483647 h 182"/>
                <a:gd name="T44" fmla="*/ 2147483647 w 162"/>
                <a:gd name="T45" fmla="*/ 2147483647 h 182"/>
                <a:gd name="T46" fmla="*/ 2147483647 w 162"/>
                <a:gd name="T47" fmla="*/ 2147483647 h 182"/>
                <a:gd name="T48" fmla="*/ 2147483647 w 162"/>
                <a:gd name="T49" fmla="*/ 2147483647 h 182"/>
                <a:gd name="T50" fmla="*/ 2147483647 w 162"/>
                <a:gd name="T51" fmla="*/ 2147483647 h 182"/>
                <a:gd name="T52" fmla="*/ 0 w 162"/>
                <a:gd name="T53" fmla="*/ 2147483647 h 182"/>
                <a:gd name="T54" fmla="*/ 2147483647 w 162"/>
                <a:gd name="T55" fmla="*/ 2147483647 h 182"/>
                <a:gd name="T56" fmla="*/ 2147483647 w 162"/>
                <a:gd name="T57" fmla="*/ 2147483647 h 182"/>
                <a:gd name="T58" fmla="*/ 2147483647 w 162"/>
                <a:gd name="T59" fmla="*/ 2147483647 h 182"/>
                <a:gd name="T60" fmla="*/ 2147483647 w 162"/>
                <a:gd name="T61" fmla="*/ 2147483647 h 182"/>
                <a:gd name="T62" fmla="*/ 2147483647 w 162"/>
                <a:gd name="T63" fmla="*/ 2147483647 h 182"/>
                <a:gd name="T64" fmla="*/ 2147483647 w 162"/>
                <a:gd name="T65" fmla="*/ 2147483647 h 182"/>
                <a:gd name="T66" fmla="*/ 2147483647 w 162"/>
                <a:gd name="T67" fmla="*/ 2147483647 h 182"/>
                <a:gd name="T68" fmla="*/ 2147483647 w 162"/>
                <a:gd name="T69" fmla="*/ 2147483647 h 182"/>
                <a:gd name="T70" fmla="*/ 2147483647 w 162"/>
                <a:gd name="T71" fmla="*/ 2147483647 h 182"/>
                <a:gd name="T72" fmla="*/ 2147483647 w 162"/>
                <a:gd name="T73" fmla="*/ 0 h 18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2"/>
                <a:gd name="T112" fmla="*/ 0 h 182"/>
                <a:gd name="T113" fmla="*/ 162 w 162"/>
                <a:gd name="T114" fmla="*/ 182 h 18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2" h="182">
                  <a:moveTo>
                    <a:pt x="64" y="0"/>
                  </a:moveTo>
                  <a:lnTo>
                    <a:pt x="84" y="6"/>
                  </a:lnTo>
                  <a:lnTo>
                    <a:pt x="106" y="14"/>
                  </a:lnTo>
                  <a:lnTo>
                    <a:pt x="126" y="25"/>
                  </a:lnTo>
                  <a:lnTo>
                    <a:pt x="144" y="37"/>
                  </a:lnTo>
                  <a:lnTo>
                    <a:pt x="156" y="52"/>
                  </a:lnTo>
                  <a:lnTo>
                    <a:pt x="162" y="69"/>
                  </a:lnTo>
                  <a:lnTo>
                    <a:pt x="160" y="84"/>
                  </a:lnTo>
                  <a:lnTo>
                    <a:pt x="154" y="99"/>
                  </a:lnTo>
                  <a:lnTo>
                    <a:pt x="143" y="114"/>
                  </a:lnTo>
                  <a:lnTo>
                    <a:pt x="130" y="129"/>
                  </a:lnTo>
                  <a:lnTo>
                    <a:pt x="115" y="146"/>
                  </a:lnTo>
                  <a:lnTo>
                    <a:pt x="102" y="167"/>
                  </a:lnTo>
                  <a:lnTo>
                    <a:pt x="91" y="178"/>
                  </a:lnTo>
                  <a:lnTo>
                    <a:pt x="80" y="182"/>
                  </a:lnTo>
                  <a:lnTo>
                    <a:pt x="66" y="181"/>
                  </a:lnTo>
                  <a:lnTo>
                    <a:pt x="54" y="175"/>
                  </a:lnTo>
                  <a:lnTo>
                    <a:pt x="42" y="167"/>
                  </a:lnTo>
                  <a:lnTo>
                    <a:pt x="31" y="159"/>
                  </a:lnTo>
                  <a:lnTo>
                    <a:pt x="23" y="151"/>
                  </a:lnTo>
                  <a:lnTo>
                    <a:pt x="17" y="145"/>
                  </a:lnTo>
                  <a:lnTo>
                    <a:pt x="15" y="142"/>
                  </a:lnTo>
                  <a:lnTo>
                    <a:pt x="13" y="141"/>
                  </a:lnTo>
                  <a:lnTo>
                    <a:pt x="9" y="136"/>
                  </a:lnTo>
                  <a:lnTo>
                    <a:pt x="5" y="129"/>
                  </a:lnTo>
                  <a:lnTo>
                    <a:pt x="1" y="119"/>
                  </a:lnTo>
                  <a:lnTo>
                    <a:pt x="0" y="108"/>
                  </a:lnTo>
                  <a:lnTo>
                    <a:pt x="1" y="99"/>
                  </a:lnTo>
                  <a:lnTo>
                    <a:pt x="8" y="88"/>
                  </a:lnTo>
                  <a:lnTo>
                    <a:pt x="20" y="80"/>
                  </a:lnTo>
                  <a:lnTo>
                    <a:pt x="38" y="69"/>
                  </a:lnTo>
                  <a:lnTo>
                    <a:pt x="49" y="55"/>
                  </a:lnTo>
                  <a:lnTo>
                    <a:pt x="57" y="40"/>
                  </a:lnTo>
                  <a:lnTo>
                    <a:pt x="61" y="25"/>
                  </a:lnTo>
                  <a:lnTo>
                    <a:pt x="62" y="13"/>
                  </a:lnTo>
                  <a:lnTo>
                    <a:pt x="64" y="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07" name="Freeform 2736"/>
            <p:cNvSpPr>
              <a:spLocks/>
            </p:cNvSpPr>
            <p:nvPr/>
          </p:nvSpPr>
          <p:spPr bwMode="auto">
            <a:xfrm rot="1114411" flipH="1">
              <a:off x="2069050" y="4421205"/>
              <a:ext cx="195844" cy="109050"/>
            </a:xfrm>
            <a:custGeom>
              <a:avLst/>
              <a:gdLst>
                <a:gd name="T0" fmla="*/ 2147483647 w 352"/>
                <a:gd name="T1" fmla="*/ 2147483647 h 196"/>
                <a:gd name="T2" fmla="*/ 2147483647 w 352"/>
                <a:gd name="T3" fmla="*/ 2147483647 h 196"/>
                <a:gd name="T4" fmla="*/ 2147483647 w 352"/>
                <a:gd name="T5" fmla="*/ 2147483647 h 196"/>
                <a:gd name="T6" fmla="*/ 2147483647 w 352"/>
                <a:gd name="T7" fmla="*/ 2147483647 h 196"/>
                <a:gd name="T8" fmla="*/ 2147483647 w 352"/>
                <a:gd name="T9" fmla="*/ 2147483647 h 196"/>
                <a:gd name="T10" fmla="*/ 2147483647 w 352"/>
                <a:gd name="T11" fmla="*/ 2147483647 h 196"/>
                <a:gd name="T12" fmla="*/ 2147483647 w 352"/>
                <a:gd name="T13" fmla="*/ 2147483647 h 196"/>
                <a:gd name="T14" fmla="*/ 2147483647 w 352"/>
                <a:gd name="T15" fmla="*/ 2147483647 h 196"/>
                <a:gd name="T16" fmla="*/ 2147483647 w 352"/>
                <a:gd name="T17" fmla="*/ 2147483647 h 196"/>
                <a:gd name="T18" fmla="*/ 2147483647 w 352"/>
                <a:gd name="T19" fmla="*/ 2147483647 h 196"/>
                <a:gd name="T20" fmla="*/ 2147483647 w 352"/>
                <a:gd name="T21" fmla="*/ 2147483647 h 196"/>
                <a:gd name="T22" fmla="*/ 2147483647 w 352"/>
                <a:gd name="T23" fmla="*/ 2147483647 h 196"/>
                <a:gd name="T24" fmla="*/ 2147483647 w 352"/>
                <a:gd name="T25" fmla="*/ 2147483647 h 196"/>
                <a:gd name="T26" fmla="*/ 2147483647 w 352"/>
                <a:gd name="T27" fmla="*/ 2147483647 h 196"/>
                <a:gd name="T28" fmla="*/ 2147483647 w 352"/>
                <a:gd name="T29" fmla="*/ 2147483647 h 196"/>
                <a:gd name="T30" fmla="*/ 2147483647 w 352"/>
                <a:gd name="T31" fmla="*/ 2147483647 h 196"/>
                <a:gd name="T32" fmla="*/ 2147483647 w 352"/>
                <a:gd name="T33" fmla="*/ 2147483647 h 196"/>
                <a:gd name="T34" fmla="*/ 2147483647 w 352"/>
                <a:gd name="T35" fmla="*/ 2147483647 h 196"/>
                <a:gd name="T36" fmla="*/ 2147483647 w 352"/>
                <a:gd name="T37" fmla="*/ 2147483647 h 196"/>
                <a:gd name="T38" fmla="*/ 2147483647 w 352"/>
                <a:gd name="T39" fmla="*/ 2147483647 h 196"/>
                <a:gd name="T40" fmla="*/ 2147483647 w 352"/>
                <a:gd name="T41" fmla="*/ 2147483647 h 196"/>
                <a:gd name="T42" fmla="*/ 2147483647 w 352"/>
                <a:gd name="T43" fmla="*/ 2147483647 h 196"/>
                <a:gd name="T44" fmla="*/ 2147483647 w 352"/>
                <a:gd name="T45" fmla="*/ 2147483647 h 196"/>
                <a:gd name="T46" fmla="*/ 2147483647 w 352"/>
                <a:gd name="T47" fmla="*/ 2147483647 h 196"/>
                <a:gd name="T48" fmla="*/ 2147483647 w 352"/>
                <a:gd name="T49" fmla="*/ 2147483647 h 196"/>
                <a:gd name="T50" fmla="*/ 2147483647 w 352"/>
                <a:gd name="T51" fmla="*/ 2147483647 h 196"/>
                <a:gd name="T52" fmla="*/ 2147483647 w 352"/>
                <a:gd name="T53" fmla="*/ 2147483647 h 196"/>
                <a:gd name="T54" fmla="*/ 2147483647 w 352"/>
                <a:gd name="T55" fmla="*/ 2147483647 h 196"/>
                <a:gd name="T56" fmla="*/ 2147483647 w 352"/>
                <a:gd name="T57" fmla="*/ 2147483647 h 196"/>
                <a:gd name="T58" fmla="*/ 2147483647 w 352"/>
                <a:gd name="T59" fmla="*/ 2147483647 h 196"/>
                <a:gd name="T60" fmla="*/ 2147483647 w 352"/>
                <a:gd name="T61" fmla="*/ 2147483647 h 196"/>
                <a:gd name="T62" fmla="*/ 0 w 352"/>
                <a:gd name="T63" fmla="*/ 2147483647 h 196"/>
                <a:gd name="T64" fmla="*/ 2147483647 w 352"/>
                <a:gd name="T65" fmla="*/ 2147483647 h 196"/>
                <a:gd name="T66" fmla="*/ 2147483647 w 352"/>
                <a:gd name="T67" fmla="*/ 2147483647 h 196"/>
                <a:gd name="T68" fmla="*/ 2147483647 w 352"/>
                <a:gd name="T69" fmla="*/ 2147483647 h 196"/>
                <a:gd name="T70" fmla="*/ 2147483647 w 352"/>
                <a:gd name="T71" fmla="*/ 2147483647 h 196"/>
                <a:gd name="T72" fmla="*/ 2147483647 w 352"/>
                <a:gd name="T73" fmla="*/ 2147483647 h 196"/>
                <a:gd name="T74" fmla="*/ 2147483647 w 352"/>
                <a:gd name="T75" fmla="*/ 2147483647 h 196"/>
                <a:gd name="T76" fmla="*/ 2147483647 w 352"/>
                <a:gd name="T77" fmla="*/ 2147483647 h 196"/>
                <a:gd name="T78" fmla="*/ 2147483647 w 352"/>
                <a:gd name="T79" fmla="*/ 0 h 19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2"/>
                <a:gd name="T121" fmla="*/ 0 h 196"/>
                <a:gd name="T122" fmla="*/ 352 w 352"/>
                <a:gd name="T123" fmla="*/ 196 h 19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2" h="196">
                  <a:moveTo>
                    <a:pt x="303" y="0"/>
                  </a:moveTo>
                  <a:lnTo>
                    <a:pt x="311" y="1"/>
                  </a:lnTo>
                  <a:lnTo>
                    <a:pt x="318" y="4"/>
                  </a:lnTo>
                  <a:lnTo>
                    <a:pt x="322" y="7"/>
                  </a:lnTo>
                  <a:lnTo>
                    <a:pt x="323" y="8"/>
                  </a:lnTo>
                  <a:lnTo>
                    <a:pt x="338" y="19"/>
                  </a:lnTo>
                  <a:lnTo>
                    <a:pt x="348" y="30"/>
                  </a:lnTo>
                  <a:lnTo>
                    <a:pt x="352" y="39"/>
                  </a:lnTo>
                  <a:lnTo>
                    <a:pt x="351" y="48"/>
                  </a:lnTo>
                  <a:lnTo>
                    <a:pt x="348" y="56"/>
                  </a:lnTo>
                  <a:lnTo>
                    <a:pt x="342" y="63"/>
                  </a:lnTo>
                  <a:lnTo>
                    <a:pt x="336" y="69"/>
                  </a:lnTo>
                  <a:lnTo>
                    <a:pt x="330" y="75"/>
                  </a:lnTo>
                  <a:lnTo>
                    <a:pt x="325" y="80"/>
                  </a:lnTo>
                  <a:lnTo>
                    <a:pt x="323" y="86"/>
                  </a:lnTo>
                  <a:lnTo>
                    <a:pt x="321" y="94"/>
                  </a:lnTo>
                  <a:lnTo>
                    <a:pt x="311" y="102"/>
                  </a:lnTo>
                  <a:lnTo>
                    <a:pt x="300" y="110"/>
                  </a:lnTo>
                  <a:lnTo>
                    <a:pt x="288" y="117"/>
                  </a:lnTo>
                  <a:lnTo>
                    <a:pt x="278" y="123"/>
                  </a:lnTo>
                  <a:lnTo>
                    <a:pt x="273" y="128"/>
                  </a:lnTo>
                  <a:lnTo>
                    <a:pt x="266" y="131"/>
                  </a:lnTo>
                  <a:lnTo>
                    <a:pt x="256" y="131"/>
                  </a:lnTo>
                  <a:lnTo>
                    <a:pt x="246" y="128"/>
                  </a:lnTo>
                  <a:lnTo>
                    <a:pt x="233" y="123"/>
                  </a:lnTo>
                  <a:lnTo>
                    <a:pt x="225" y="113"/>
                  </a:lnTo>
                  <a:lnTo>
                    <a:pt x="217" y="106"/>
                  </a:lnTo>
                  <a:lnTo>
                    <a:pt x="209" y="105"/>
                  </a:lnTo>
                  <a:lnTo>
                    <a:pt x="199" y="109"/>
                  </a:lnTo>
                  <a:lnTo>
                    <a:pt x="192" y="114"/>
                  </a:lnTo>
                  <a:lnTo>
                    <a:pt x="188" y="124"/>
                  </a:lnTo>
                  <a:lnTo>
                    <a:pt x="188" y="133"/>
                  </a:lnTo>
                  <a:lnTo>
                    <a:pt x="190" y="139"/>
                  </a:lnTo>
                  <a:lnTo>
                    <a:pt x="190" y="144"/>
                  </a:lnTo>
                  <a:lnTo>
                    <a:pt x="188" y="147"/>
                  </a:lnTo>
                  <a:lnTo>
                    <a:pt x="187" y="150"/>
                  </a:lnTo>
                  <a:lnTo>
                    <a:pt x="184" y="153"/>
                  </a:lnTo>
                  <a:lnTo>
                    <a:pt x="183" y="154"/>
                  </a:lnTo>
                  <a:lnTo>
                    <a:pt x="180" y="154"/>
                  </a:lnTo>
                  <a:lnTo>
                    <a:pt x="179" y="154"/>
                  </a:lnTo>
                  <a:lnTo>
                    <a:pt x="177" y="154"/>
                  </a:lnTo>
                  <a:lnTo>
                    <a:pt x="176" y="155"/>
                  </a:lnTo>
                  <a:lnTo>
                    <a:pt x="173" y="155"/>
                  </a:lnTo>
                  <a:lnTo>
                    <a:pt x="165" y="158"/>
                  </a:lnTo>
                  <a:lnTo>
                    <a:pt x="153" y="159"/>
                  </a:lnTo>
                  <a:lnTo>
                    <a:pt x="141" y="161"/>
                  </a:lnTo>
                  <a:lnTo>
                    <a:pt x="127" y="161"/>
                  </a:lnTo>
                  <a:lnTo>
                    <a:pt x="116" y="158"/>
                  </a:lnTo>
                  <a:lnTo>
                    <a:pt x="106" y="155"/>
                  </a:lnTo>
                  <a:lnTo>
                    <a:pt x="94" y="157"/>
                  </a:lnTo>
                  <a:lnTo>
                    <a:pt x="79" y="158"/>
                  </a:lnTo>
                  <a:lnTo>
                    <a:pt x="66" y="162"/>
                  </a:lnTo>
                  <a:lnTo>
                    <a:pt x="53" y="166"/>
                  </a:lnTo>
                  <a:lnTo>
                    <a:pt x="45" y="169"/>
                  </a:lnTo>
                  <a:lnTo>
                    <a:pt x="41" y="170"/>
                  </a:lnTo>
                  <a:lnTo>
                    <a:pt x="40" y="170"/>
                  </a:lnTo>
                  <a:lnTo>
                    <a:pt x="37" y="173"/>
                  </a:lnTo>
                  <a:lnTo>
                    <a:pt x="31" y="177"/>
                  </a:lnTo>
                  <a:lnTo>
                    <a:pt x="25" y="183"/>
                  </a:lnTo>
                  <a:lnTo>
                    <a:pt x="18" y="187"/>
                  </a:lnTo>
                  <a:lnTo>
                    <a:pt x="11" y="191"/>
                  </a:lnTo>
                  <a:lnTo>
                    <a:pt x="6" y="195"/>
                  </a:lnTo>
                  <a:lnTo>
                    <a:pt x="1" y="196"/>
                  </a:lnTo>
                  <a:lnTo>
                    <a:pt x="0" y="195"/>
                  </a:lnTo>
                  <a:lnTo>
                    <a:pt x="1" y="191"/>
                  </a:lnTo>
                  <a:lnTo>
                    <a:pt x="6" y="184"/>
                  </a:lnTo>
                  <a:lnTo>
                    <a:pt x="15" y="173"/>
                  </a:lnTo>
                  <a:lnTo>
                    <a:pt x="33" y="151"/>
                  </a:lnTo>
                  <a:lnTo>
                    <a:pt x="53" y="129"/>
                  </a:lnTo>
                  <a:lnTo>
                    <a:pt x="78" y="106"/>
                  </a:lnTo>
                  <a:lnTo>
                    <a:pt x="104" y="86"/>
                  </a:lnTo>
                  <a:lnTo>
                    <a:pt x="131" y="68"/>
                  </a:lnTo>
                  <a:lnTo>
                    <a:pt x="161" y="54"/>
                  </a:lnTo>
                  <a:lnTo>
                    <a:pt x="194" y="48"/>
                  </a:lnTo>
                  <a:lnTo>
                    <a:pt x="228" y="46"/>
                  </a:lnTo>
                  <a:lnTo>
                    <a:pt x="246" y="26"/>
                  </a:lnTo>
                  <a:lnTo>
                    <a:pt x="263" y="12"/>
                  </a:lnTo>
                  <a:lnTo>
                    <a:pt x="278" y="4"/>
                  </a:lnTo>
                  <a:lnTo>
                    <a:pt x="291" y="1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08" name="Freeform 2737"/>
            <p:cNvSpPr>
              <a:spLocks/>
            </p:cNvSpPr>
            <p:nvPr/>
          </p:nvSpPr>
          <p:spPr bwMode="auto">
            <a:xfrm rot="1114411" flipH="1">
              <a:off x="2117840" y="4576602"/>
              <a:ext cx="112944" cy="56750"/>
            </a:xfrm>
            <a:custGeom>
              <a:avLst/>
              <a:gdLst>
                <a:gd name="T0" fmla="*/ 2147483647 w 203"/>
                <a:gd name="T1" fmla="*/ 0 h 102"/>
                <a:gd name="T2" fmla="*/ 2147483647 w 203"/>
                <a:gd name="T3" fmla="*/ 2147483647 h 102"/>
                <a:gd name="T4" fmla="*/ 2147483647 w 203"/>
                <a:gd name="T5" fmla="*/ 2147483647 h 102"/>
                <a:gd name="T6" fmla="*/ 2147483647 w 203"/>
                <a:gd name="T7" fmla="*/ 2147483647 h 102"/>
                <a:gd name="T8" fmla="*/ 2147483647 w 203"/>
                <a:gd name="T9" fmla="*/ 2147483647 h 102"/>
                <a:gd name="T10" fmla="*/ 2147483647 w 203"/>
                <a:gd name="T11" fmla="*/ 2147483647 h 102"/>
                <a:gd name="T12" fmla="*/ 2147483647 w 203"/>
                <a:gd name="T13" fmla="*/ 2147483647 h 102"/>
                <a:gd name="T14" fmla="*/ 2147483647 w 203"/>
                <a:gd name="T15" fmla="*/ 2147483647 h 102"/>
                <a:gd name="T16" fmla="*/ 2147483647 w 203"/>
                <a:gd name="T17" fmla="*/ 2147483647 h 102"/>
                <a:gd name="T18" fmla="*/ 2147483647 w 203"/>
                <a:gd name="T19" fmla="*/ 2147483647 h 102"/>
                <a:gd name="T20" fmla="*/ 2147483647 w 203"/>
                <a:gd name="T21" fmla="*/ 2147483647 h 102"/>
                <a:gd name="T22" fmla="*/ 2147483647 w 203"/>
                <a:gd name="T23" fmla="*/ 2147483647 h 102"/>
                <a:gd name="T24" fmla="*/ 2147483647 w 203"/>
                <a:gd name="T25" fmla="*/ 2147483647 h 102"/>
                <a:gd name="T26" fmla="*/ 2147483647 w 203"/>
                <a:gd name="T27" fmla="*/ 2147483647 h 102"/>
                <a:gd name="T28" fmla="*/ 2147483647 w 203"/>
                <a:gd name="T29" fmla="*/ 2147483647 h 102"/>
                <a:gd name="T30" fmla="*/ 2147483647 w 203"/>
                <a:gd name="T31" fmla="*/ 2147483647 h 102"/>
                <a:gd name="T32" fmla="*/ 2147483647 w 203"/>
                <a:gd name="T33" fmla="*/ 2147483647 h 102"/>
                <a:gd name="T34" fmla="*/ 2147483647 w 203"/>
                <a:gd name="T35" fmla="*/ 2147483647 h 102"/>
                <a:gd name="T36" fmla="*/ 2147483647 w 203"/>
                <a:gd name="T37" fmla="*/ 2147483647 h 102"/>
                <a:gd name="T38" fmla="*/ 2147483647 w 203"/>
                <a:gd name="T39" fmla="*/ 2147483647 h 102"/>
                <a:gd name="T40" fmla="*/ 2147483647 w 203"/>
                <a:gd name="T41" fmla="*/ 2147483647 h 102"/>
                <a:gd name="T42" fmla="*/ 2147483647 w 203"/>
                <a:gd name="T43" fmla="*/ 2147483647 h 102"/>
                <a:gd name="T44" fmla="*/ 2147483647 w 203"/>
                <a:gd name="T45" fmla="*/ 2147483647 h 102"/>
                <a:gd name="T46" fmla="*/ 2147483647 w 203"/>
                <a:gd name="T47" fmla="*/ 2147483647 h 102"/>
                <a:gd name="T48" fmla="*/ 0 w 203"/>
                <a:gd name="T49" fmla="*/ 2147483647 h 102"/>
                <a:gd name="T50" fmla="*/ 2147483647 w 203"/>
                <a:gd name="T51" fmla="*/ 2147483647 h 102"/>
                <a:gd name="T52" fmla="*/ 2147483647 w 203"/>
                <a:gd name="T53" fmla="*/ 2147483647 h 102"/>
                <a:gd name="T54" fmla="*/ 2147483647 w 203"/>
                <a:gd name="T55" fmla="*/ 2147483647 h 102"/>
                <a:gd name="T56" fmla="*/ 2147483647 w 203"/>
                <a:gd name="T57" fmla="*/ 2147483647 h 102"/>
                <a:gd name="T58" fmla="*/ 2147483647 w 203"/>
                <a:gd name="T59" fmla="*/ 2147483647 h 102"/>
                <a:gd name="T60" fmla="*/ 2147483647 w 203"/>
                <a:gd name="T61" fmla="*/ 2147483647 h 102"/>
                <a:gd name="T62" fmla="*/ 2147483647 w 203"/>
                <a:gd name="T63" fmla="*/ 2147483647 h 102"/>
                <a:gd name="T64" fmla="*/ 2147483647 w 203"/>
                <a:gd name="T65" fmla="*/ 2147483647 h 102"/>
                <a:gd name="T66" fmla="*/ 2147483647 w 203"/>
                <a:gd name="T67" fmla="*/ 2147483647 h 102"/>
                <a:gd name="T68" fmla="*/ 2147483647 w 203"/>
                <a:gd name="T69" fmla="*/ 2147483647 h 102"/>
                <a:gd name="T70" fmla="*/ 2147483647 w 203"/>
                <a:gd name="T71" fmla="*/ 2147483647 h 102"/>
                <a:gd name="T72" fmla="*/ 2147483647 w 203"/>
                <a:gd name="T73" fmla="*/ 2147483647 h 102"/>
                <a:gd name="T74" fmla="*/ 2147483647 w 203"/>
                <a:gd name="T75" fmla="*/ 2147483647 h 102"/>
                <a:gd name="T76" fmla="*/ 2147483647 w 203"/>
                <a:gd name="T77" fmla="*/ 2147483647 h 102"/>
                <a:gd name="T78" fmla="*/ 2147483647 w 203"/>
                <a:gd name="T79" fmla="*/ 0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3"/>
                <a:gd name="T121" fmla="*/ 0 h 102"/>
                <a:gd name="T122" fmla="*/ 203 w 203"/>
                <a:gd name="T123" fmla="*/ 102 h 10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3" h="102">
                  <a:moveTo>
                    <a:pt x="170" y="0"/>
                  </a:moveTo>
                  <a:lnTo>
                    <a:pt x="183" y="1"/>
                  </a:lnTo>
                  <a:lnTo>
                    <a:pt x="192" y="6"/>
                  </a:lnTo>
                  <a:lnTo>
                    <a:pt x="199" y="11"/>
                  </a:lnTo>
                  <a:lnTo>
                    <a:pt x="202" y="15"/>
                  </a:lnTo>
                  <a:lnTo>
                    <a:pt x="203" y="18"/>
                  </a:lnTo>
                  <a:lnTo>
                    <a:pt x="203" y="19"/>
                  </a:lnTo>
                  <a:lnTo>
                    <a:pt x="202" y="25"/>
                  </a:lnTo>
                  <a:lnTo>
                    <a:pt x="199" y="33"/>
                  </a:lnTo>
                  <a:lnTo>
                    <a:pt x="195" y="45"/>
                  </a:lnTo>
                  <a:lnTo>
                    <a:pt x="188" y="63"/>
                  </a:lnTo>
                  <a:lnTo>
                    <a:pt x="181" y="74"/>
                  </a:lnTo>
                  <a:lnTo>
                    <a:pt x="173" y="81"/>
                  </a:lnTo>
                  <a:lnTo>
                    <a:pt x="162" y="82"/>
                  </a:lnTo>
                  <a:lnTo>
                    <a:pt x="153" y="82"/>
                  </a:lnTo>
                  <a:lnTo>
                    <a:pt x="143" y="81"/>
                  </a:lnTo>
                  <a:lnTo>
                    <a:pt x="138" y="79"/>
                  </a:lnTo>
                  <a:lnTo>
                    <a:pt x="135" y="78"/>
                  </a:lnTo>
                  <a:lnTo>
                    <a:pt x="65" y="102"/>
                  </a:lnTo>
                  <a:lnTo>
                    <a:pt x="63" y="101"/>
                  </a:lnTo>
                  <a:lnTo>
                    <a:pt x="53" y="97"/>
                  </a:lnTo>
                  <a:lnTo>
                    <a:pt x="39" y="90"/>
                  </a:lnTo>
                  <a:lnTo>
                    <a:pt x="24" y="82"/>
                  </a:lnTo>
                  <a:lnTo>
                    <a:pt x="11" y="71"/>
                  </a:lnTo>
                  <a:lnTo>
                    <a:pt x="0" y="57"/>
                  </a:lnTo>
                  <a:lnTo>
                    <a:pt x="7" y="44"/>
                  </a:lnTo>
                  <a:lnTo>
                    <a:pt x="18" y="31"/>
                  </a:lnTo>
                  <a:lnTo>
                    <a:pt x="31" y="22"/>
                  </a:lnTo>
                  <a:lnTo>
                    <a:pt x="43" y="14"/>
                  </a:lnTo>
                  <a:lnTo>
                    <a:pt x="54" y="8"/>
                  </a:lnTo>
                  <a:lnTo>
                    <a:pt x="63" y="4"/>
                  </a:lnTo>
                  <a:lnTo>
                    <a:pt x="65" y="3"/>
                  </a:lnTo>
                  <a:lnTo>
                    <a:pt x="69" y="3"/>
                  </a:lnTo>
                  <a:lnTo>
                    <a:pt x="78" y="4"/>
                  </a:lnTo>
                  <a:lnTo>
                    <a:pt x="91" y="7"/>
                  </a:lnTo>
                  <a:lnTo>
                    <a:pt x="106" y="8"/>
                  </a:lnTo>
                  <a:lnTo>
                    <a:pt x="124" y="8"/>
                  </a:lnTo>
                  <a:lnTo>
                    <a:pt x="140" y="7"/>
                  </a:lnTo>
                  <a:lnTo>
                    <a:pt x="155" y="3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09" name="Freeform 2738"/>
            <p:cNvSpPr>
              <a:spLocks/>
            </p:cNvSpPr>
            <p:nvPr/>
          </p:nvSpPr>
          <p:spPr bwMode="auto">
            <a:xfrm rot="1114411" flipH="1">
              <a:off x="2361494" y="4404206"/>
              <a:ext cx="74554" cy="73442"/>
            </a:xfrm>
            <a:custGeom>
              <a:avLst/>
              <a:gdLst>
                <a:gd name="T0" fmla="*/ 2147483647 w 134"/>
                <a:gd name="T1" fmla="*/ 0 h 132"/>
                <a:gd name="T2" fmla="*/ 2147483647 w 134"/>
                <a:gd name="T3" fmla="*/ 2147483647 h 132"/>
                <a:gd name="T4" fmla="*/ 2147483647 w 134"/>
                <a:gd name="T5" fmla="*/ 2147483647 h 132"/>
                <a:gd name="T6" fmla="*/ 2147483647 w 134"/>
                <a:gd name="T7" fmla="*/ 2147483647 h 132"/>
                <a:gd name="T8" fmla="*/ 2147483647 w 134"/>
                <a:gd name="T9" fmla="*/ 2147483647 h 132"/>
                <a:gd name="T10" fmla="*/ 2147483647 w 134"/>
                <a:gd name="T11" fmla="*/ 2147483647 h 132"/>
                <a:gd name="T12" fmla="*/ 2147483647 w 134"/>
                <a:gd name="T13" fmla="*/ 2147483647 h 132"/>
                <a:gd name="T14" fmla="*/ 2147483647 w 134"/>
                <a:gd name="T15" fmla="*/ 2147483647 h 132"/>
                <a:gd name="T16" fmla="*/ 2147483647 w 134"/>
                <a:gd name="T17" fmla="*/ 2147483647 h 132"/>
                <a:gd name="T18" fmla="*/ 2147483647 w 134"/>
                <a:gd name="T19" fmla="*/ 2147483647 h 132"/>
                <a:gd name="T20" fmla="*/ 2147483647 w 134"/>
                <a:gd name="T21" fmla="*/ 2147483647 h 132"/>
                <a:gd name="T22" fmla="*/ 2147483647 w 134"/>
                <a:gd name="T23" fmla="*/ 2147483647 h 132"/>
                <a:gd name="T24" fmla="*/ 2147483647 w 134"/>
                <a:gd name="T25" fmla="*/ 2147483647 h 132"/>
                <a:gd name="T26" fmla="*/ 2147483647 w 134"/>
                <a:gd name="T27" fmla="*/ 2147483647 h 132"/>
                <a:gd name="T28" fmla="*/ 2147483647 w 134"/>
                <a:gd name="T29" fmla="*/ 2147483647 h 132"/>
                <a:gd name="T30" fmla="*/ 2147483647 w 134"/>
                <a:gd name="T31" fmla="*/ 2147483647 h 132"/>
                <a:gd name="T32" fmla="*/ 2147483647 w 134"/>
                <a:gd name="T33" fmla="*/ 2147483647 h 132"/>
                <a:gd name="T34" fmla="*/ 2147483647 w 134"/>
                <a:gd name="T35" fmla="*/ 2147483647 h 132"/>
                <a:gd name="T36" fmla="*/ 2147483647 w 134"/>
                <a:gd name="T37" fmla="*/ 2147483647 h 132"/>
                <a:gd name="T38" fmla="*/ 2147483647 w 134"/>
                <a:gd name="T39" fmla="*/ 2147483647 h 132"/>
                <a:gd name="T40" fmla="*/ 0 w 134"/>
                <a:gd name="T41" fmla="*/ 2147483647 h 132"/>
                <a:gd name="T42" fmla="*/ 0 w 134"/>
                <a:gd name="T43" fmla="*/ 2147483647 h 132"/>
                <a:gd name="T44" fmla="*/ 2147483647 w 134"/>
                <a:gd name="T45" fmla="*/ 2147483647 h 132"/>
                <a:gd name="T46" fmla="*/ 2147483647 w 134"/>
                <a:gd name="T47" fmla="*/ 2147483647 h 132"/>
                <a:gd name="T48" fmla="*/ 2147483647 w 134"/>
                <a:gd name="T49" fmla="*/ 2147483647 h 132"/>
                <a:gd name="T50" fmla="*/ 2147483647 w 134"/>
                <a:gd name="T51" fmla="*/ 2147483647 h 132"/>
                <a:gd name="T52" fmla="*/ 2147483647 w 134"/>
                <a:gd name="T53" fmla="*/ 2147483647 h 132"/>
                <a:gd name="T54" fmla="*/ 2147483647 w 134"/>
                <a:gd name="T55" fmla="*/ 2147483647 h 132"/>
                <a:gd name="T56" fmla="*/ 2147483647 w 134"/>
                <a:gd name="T57" fmla="*/ 2147483647 h 132"/>
                <a:gd name="T58" fmla="*/ 2147483647 w 134"/>
                <a:gd name="T59" fmla="*/ 2147483647 h 132"/>
                <a:gd name="T60" fmla="*/ 2147483647 w 134"/>
                <a:gd name="T61" fmla="*/ 2147483647 h 132"/>
                <a:gd name="T62" fmla="*/ 2147483647 w 134"/>
                <a:gd name="T63" fmla="*/ 2147483647 h 132"/>
                <a:gd name="T64" fmla="*/ 2147483647 w 134"/>
                <a:gd name="T65" fmla="*/ 2147483647 h 132"/>
                <a:gd name="T66" fmla="*/ 2147483647 w 134"/>
                <a:gd name="T67" fmla="*/ 2147483647 h 132"/>
                <a:gd name="T68" fmla="*/ 2147483647 w 134"/>
                <a:gd name="T69" fmla="*/ 2147483647 h 132"/>
                <a:gd name="T70" fmla="*/ 2147483647 w 134"/>
                <a:gd name="T71" fmla="*/ 0 h 13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4"/>
                <a:gd name="T109" fmla="*/ 0 h 132"/>
                <a:gd name="T110" fmla="*/ 134 w 134"/>
                <a:gd name="T111" fmla="*/ 132 h 13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4" h="132">
                  <a:moveTo>
                    <a:pt x="122" y="0"/>
                  </a:moveTo>
                  <a:lnTo>
                    <a:pt x="127" y="2"/>
                  </a:lnTo>
                  <a:lnTo>
                    <a:pt x="131" y="4"/>
                  </a:lnTo>
                  <a:lnTo>
                    <a:pt x="134" y="10"/>
                  </a:lnTo>
                  <a:lnTo>
                    <a:pt x="134" y="15"/>
                  </a:lnTo>
                  <a:lnTo>
                    <a:pt x="132" y="22"/>
                  </a:lnTo>
                  <a:lnTo>
                    <a:pt x="131" y="27"/>
                  </a:lnTo>
                  <a:lnTo>
                    <a:pt x="130" y="33"/>
                  </a:lnTo>
                  <a:lnTo>
                    <a:pt x="128" y="37"/>
                  </a:lnTo>
                  <a:lnTo>
                    <a:pt x="127" y="38"/>
                  </a:lnTo>
                  <a:lnTo>
                    <a:pt x="124" y="56"/>
                  </a:lnTo>
                  <a:lnTo>
                    <a:pt x="113" y="72"/>
                  </a:lnTo>
                  <a:lnTo>
                    <a:pt x="100" y="87"/>
                  </a:lnTo>
                  <a:lnTo>
                    <a:pt x="82" y="101"/>
                  </a:lnTo>
                  <a:lnTo>
                    <a:pt x="63" y="112"/>
                  </a:lnTo>
                  <a:lnTo>
                    <a:pt x="45" y="122"/>
                  </a:lnTo>
                  <a:lnTo>
                    <a:pt x="29" y="128"/>
                  </a:lnTo>
                  <a:lnTo>
                    <a:pt x="17" y="131"/>
                  </a:lnTo>
                  <a:lnTo>
                    <a:pt x="7" y="132"/>
                  </a:lnTo>
                  <a:lnTo>
                    <a:pt x="3" y="128"/>
                  </a:lnTo>
                  <a:lnTo>
                    <a:pt x="0" y="123"/>
                  </a:lnTo>
                  <a:lnTo>
                    <a:pt x="0" y="117"/>
                  </a:lnTo>
                  <a:lnTo>
                    <a:pt x="2" y="111"/>
                  </a:lnTo>
                  <a:lnTo>
                    <a:pt x="4" y="107"/>
                  </a:lnTo>
                  <a:lnTo>
                    <a:pt x="4" y="105"/>
                  </a:lnTo>
                  <a:lnTo>
                    <a:pt x="4" y="102"/>
                  </a:lnTo>
                  <a:lnTo>
                    <a:pt x="6" y="98"/>
                  </a:lnTo>
                  <a:lnTo>
                    <a:pt x="10" y="92"/>
                  </a:lnTo>
                  <a:lnTo>
                    <a:pt x="15" y="83"/>
                  </a:lnTo>
                  <a:lnTo>
                    <a:pt x="25" y="71"/>
                  </a:lnTo>
                  <a:lnTo>
                    <a:pt x="38" y="56"/>
                  </a:lnTo>
                  <a:lnTo>
                    <a:pt x="57" y="40"/>
                  </a:lnTo>
                  <a:lnTo>
                    <a:pt x="82" y="21"/>
                  </a:lnTo>
                  <a:lnTo>
                    <a:pt x="100" y="10"/>
                  </a:lnTo>
                  <a:lnTo>
                    <a:pt x="112" y="3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10" name="Freeform 2739"/>
            <p:cNvSpPr>
              <a:spLocks/>
            </p:cNvSpPr>
            <p:nvPr/>
          </p:nvSpPr>
          <p:spPr bwMode="auto">
            <a:xfrm rot="1114411" flipH="1">
              <a:off x="2523575" y="4453380"/>
              <a:ext cx="63983" cy="95140"/>
            </a:xfrm>
            <a:custGeom>
              <a:avLst/>
              <a:gdLst>
                <a:gd name="T0" fmla="*/ 2147483647 w 115"/>
                <a:gd name="T1" fmla="*/ 0 h 171"/>
                <a:gd name="T2" fmla="*/ 2147483647 w 115"/>
                <a:gd name="T3" fmla="*/ 0 h 171"/>
                <a:gd name="T4" fmla="*/ 2147483647 w 115"/>
                <a:gd name="T5" fmla="*/ 2147483647 h 171"/>
                <a:gd name="T6" fmla="*/ 2147483647 w 115"/>
                <a:gd name="T7" fmla="*/ 2147483647 h 171"/>
                <a:gd name="T8" fmla="*/ 2147483647 w 115"/>
                <a:gd name="T9" fmla="*/ 2147483647 h 171"/>
                <a:gd name="T10" fmla="*/ 2147483647 w 115"/>
                <a:gd name="T11" fmla="*/ 2147483647 h 171"/>
                <a:gd name="T12" fmla="*/ 2147483647 w 115"/>
                <a:gd name="T13" fmla="*/ 2147483647 h 171"/>
                <a:gd name="T14" fmla="*/ 2147483647 w 115"/>
                <a:gd name="T15" fmla="*/ 2147483647 h 171"/>
                <a:gd name="T16" fmla="*/ 2147483647 w 115"/>
                <a:gd name="T17" fmla="*/ 2147483647 h 171"/>
                <a:gd name="T18" fmla="*/ 2147483647 w 115"/>
                <a:gd name="T19" fmla="*/ 2147483647 h 171"/>
                <a:gd name="T20" fmla="*/ 2147483647 w 115"/>
                <a:gd name="T21" fmla="*/ 2147483647 h 171"/>
                <a:gd name="T22" fmla="*/ 2147483647 w 115"/>
                <a:gd name="T23" fmla="*/ 2147483647 h 171"/>
                <a:gd name="T24" fmla="*/ 2147483647 w 115"/>
                <a:gd name="T25" fmla="*/ 2147483647 h 171"/>
                <a:gd name="T26" fmla="*/ 2147483647 w 115"/>
                <a:gd name="T27" fmla="*/ 2147483647 h 171"/>
                <a:gd name="T28" fmla="*/ 2147483647 w 115"/>
                <a:gd name="T29" fmla="*/ 2147483647 h 171"/>
                <a:gd name="T30" fmla="*/ 2147483647 w 115"/>
                <a:gd name="T31" fmla="*/ 2147483647 h 171"/>
                <a:gd name="T32" fmla="*/ 2147483647 w 115"/>
                <a:gd name="T33" fmla="*/ 2147483647 h 171"/>
                <a:gd name="T34" fmla="*/ 2147483647 w 115"/>
                <a:gd name="T35" fmla="*/ 2147483647 h 171"/>
                <a:gd name="T36" fmla="*/ 2147483647 w 115"/>
                <a:gd name="T37" fmla="*/ 2147483647 h 171"/>
                <a:gd name="T38" fmla="*/ 2147483647 w 115"/>
                <a:gd name="T39" fmla="*/ 2147483647 h 171"/>
                <a:gd name="T40" fmla="*/ 2147483647 w 115"/>
                <a:gd name="T41" fmla="*/ 2147483647 h 171"/>
                <a:gd name="T42" fmla="*/ 2147483647 w 115"/>
                <a:gd name="T43" fmla="*/ 2147483647 h 171"/>
                <a:gd name="T44" fmla="*/ 2147483647 w 115"/>
                <a:gd name="T45" fmla="*/ 2147483647 h 171"/>
                <a:gd name="T46" fmla="*/ 2147483647 w 115"/>
                <a:gd name="T47" fmla="*/ 2147483647 h 171"/>
                <a:gd name="T48" fmla="*/ 2147483647 w 115"/>
                <a:gd name="T49" fmla="*/ 2147483647 h 171"/>
                <a:gd name="T50" fmla="*/ 2147483647 w 115"/>
                <a:gd name="T51" fmla="*/ 2147483647 h 171"/>
                <a:gd name="T52" fmla="*/ 2147483647 w 115"/>
                <a:gd name="T53" fmla="*/ 2147483647 h 171"/>
                <a:gd name="T54" fmla="*/ 2147483647 w 115"/>
                <a:gd name="T55" fmla="*/ 2147483647 h 171"/>
                <a:gd name="T56" fmla="*/ 2147483647 w 115"/>
                <a:gd name="T57" fmla="*/ 2147483647 h 171"/>
                <a:gd name="T58" fmla="*/ 2147483647 w 115"/>
                <a:gd name="T59" fmla="*/ 2147483647 h 171"/>
                <a:gd name="T60" fmla="*/ 2147483647 w 115"/>
                <a:gd name="T61" fmla="*/ 2147483647 h 171"/>
                <a:gd name="T62" fmla="*/ 2147483647 w 115"/>
                <a:gd name="T63" fmla="*/ 2147483647 h 171"/>
                <a:gd name="T64" fmla="*/ 2147483647 w 115"/>
                <a:gd name="T65" fmla="*/ 2147483647 h 171"/>
                <a:gd name="T66" fmla="*/ 2147483647 w 115"/>
                <a:gd name="T67" fmla="*/ 2147483647 h 171"/>
                <a:gd name="T68" fmla="*/ 2147483647 w 115"/>
                <a:gd name="T69" fmla="*/ 2147483647 h 171"/>
                <a:gd name="T70" fmla="*/ 2147483647 w 115"/>
                <a:gd name="T71" fmla="*/ 2147483647 h 171"/>
                <a:gd name="T72" fmla="*/ 2147483647 w 115"/>
                <a:gd name="T73" fmla="*/ 2147483647 h 171"/>
                <a:gd name="T74" fmla="*/ 2147483647 w 115"/>
                <a:gd name="T75" fmla="*/ 2147483647 h 171"/>
                <a:gd name="T76" fmla="*/ 0 w 115"/>
                <a:gd name="T77" fmla="*/ 2147483647 h 171"/>
                <a:gd name="T78" fmla="*/ 2147483647 w 115"/>
                <a:gd name="T79" fmla="*/ 2147483647 h 171"/>
                <a:gd name="T80" fmla="*/ 2147483647 w 115"/>
                <a:gd name="T81" fmla="*/ 2147483647 h 171"/>
                <a:gd name="T82" fmla="*/ 2147483647 w 115"/>
                <a:gd name="T83" fmla="*/ 2147483647 h 171"/>
                <a:gd name="T84" fmla="*/ 2147483647 w 115"/>
                <a:gd name="T85" fmla="*/ 2147483647 h 171"/>
                <a:gd name="T86" fmla="*/ 2147483647 w 115"/>
                <a:gd name="T87" fmla="*/ 2147483647 h 171"/>
                <a:gd name="T88" fmla="*/ 2147483647 w 115"/>
                <a:gd name="T89" fmla="*/ 2147483647 h 171"/>
                <a:gd name="T90" fmla="*/ 2147483647 w 115"/>
                <a:gd name="T91" fmla="*/ 2147483647 h 171"/>
                <a:gd name="T92" fmla="*/ 2147483647 w 115"/>
                <a:gd name="T93" fmla="*/ 2147483647 h 171"/>
                <a:gd name="T94" fmla="*/ 2147483647 w 115"/>
                <a:gd name="T95" fmla="*/ 2147483647 h 171"/>
                <a:gd name="T96" fmla="*/ 2147483647 w 115"/>
                <a:gd name="T97" fmla="*/ 2147483647 h 171"/>
                <a:gd name="T98" fmla="*/ 2147483647 w 115"/>
                <a:gd name="T99" fmla="*/ 0 h 17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5"/>
                <a:gd name="T151" fmla="*/ 0 h 171"/>
                <a:gd name="T152" fmla="*/ 115 w 115"/>
                <a:gd name="T153" fmla="*/ 171 h 17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5" h="171">
                  <a:moveTo>
                    <a:pt x="109" y="0"/>
                  </a:moveTo>
                  <a:lnTo>
                    <a:pt x="111" y="0"/>
                  </a:lnTo>
                  <a:lnTo>
                    <a:pt x="112" y="2"/>
                  </a:lnTo>
                  <a:lnTo>
                    <a:pt x="114" y="3"/>
                  </a:lnTo>
                  <a:lnTo>
                    <a:pt x="114" y="6"/>
                  </a:lnTo>
                  <a:lnTo>
                    <a:pt x="115" y="7"/>
                  </a:lnTo>
                  <a:lnTo>
                    <a:pt x="115" y="10"/>
                  </a:lnTo>
                  <a:lnTo>
                    <a:pt x="114" y="13"/>
                  </a:lnTo>
                  <a:lnTo>
                    <a:pt x="114" y="14"/>
                  </a:lnTo>
                  <a:lnTo>
                    <a:pt x="114" y="15"/>
                  </a:lnTo>
                  <a:lnTo>
                    <a:pt x="114" y="19"/>
                  </a:lnTo>
                  <a:lnTo>
                    <a:pt x="114" y="29"/>
                  </a:lnTo>
                  <a:lnTo>
                    <a:pt x="112" y="44"/>
                  </a:lnTo>
                  <a:lnTo>
                    <a:pt x="111" y="59"/>
                  </a:lnTo>
                  <a:lnTo>
                    <a:pt x="109" y="74"/>
                  </a:lnTo>
                  <a:lnTo>
                    <a:pt x="109" y="86"/>
                  </a:lnTo>
                  <a:lnTo>
                    <a:pt x="108" y="93"/>
                  </a:lnTo>
                  <a:lnTo>
                    <a:pt x="108" y="96"/>
                  </a:lnTo>
                  <a:lnTo>
                    <a:pt x="109" y="99"/>
                  </a:lnTo>
                  <a:lnTo>
                    <a:pt x="112" y="103"/>
                  </a:lnTo>
                  <a:lnTo>
                    <a:pt x="114" y="107"/>
                  </a:lnTo>
                  <a:lnTo>
                    <a:pt x="112" y="112"/>
                  </a:lnTo>
                  <a:lnTo>
                    <a:pt x="109" y="119"/>
                  </a:lnTo>
                  <a:lnTo>
                    <a:pt x="103" y="127"/>
                  </a:lnTo>
                  <a:lnTo>
                    <a:pt x="90" y="139"/>
                  </a:lnTo>
                  <a:lnTo>
                    <a:pt x="71" y="153"/>
                  </a:lnTo>
                  <a:lnTo>
                    <a:pt x="56" y="164"/>
                  </a:lnTo>
                  <a:lnTo>
                    <a:pt x="44" y="169"/>
                  </a:lnTo>
                  <a:lnTo>
                    <a:pt x="34" y="171"/>
                  </a:lnTo>
                  <a:lnTo>
                    <a:pt x="29" y="168"/>
                  </a:lnTo>
                  <a:lnTo>
                    <a:pt x="25" y="164"/>
                  </a:lnTo>
                  <a:lnTo>
                    <a:pt x="22" y="156"/>
                  </a:lnTo>
                  <a:lnTo>
                    <a:pt x="19" y="146"/>
                  </a:lnTo>
                  <a:lnTo>
                    <a:pt x="18" y="137"/>
                  </a:lnTo>
                  <a:lnTo>
                    <a:pt x="17" y="126"/>
                  </a:lnTo>
                  <a:lnTo>
                    <a:pt x="13" y="115"/>
                  </a:lnTo>
                  <a:lnTo>
                    <a:pt x="9" y="105"/>
                  </a:lnTo>
                  <a:lnTo>
                    <a:pt x="0" y="86"/>
                  </a:lnTo>
                  <a:lnTo>
                    <a:pt x="2" y="69"/>
                  </a:lnTo>
                  <a:lnTo>
                    <a:pt x="9" y="54"/>
                  </a:lnTo>
                  <a:lnTo>
                    <a:pt x="18" y="43"/>
                  </a:lnTo>
                  <a:lnTo>
                    <a:pt x="29" y="40"/>
                  </a:lnTo>
                  <a:lnTo>
                    <a:pt x="45" y="37"/>
                  </a:lnTo>
                  <a:lnTo>
                    <a:pt x="63" y="30"/>
                  </a:lnTo>
                  <a:lnTo>
                    <a:pt x="81" y="19"/>
                  </a:lnTo>
                  <a:lnTo>
                    <a:pt x="99" y="7"/>
                  </a:lnTo>
                  <a:lnTo>
                    <a:pt x="103" y="3"/>
                  </a:lnTo>
                  <a:lnTo>
                    <a:pt x="107" y="2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11" name="Freeform 2740"/>
            <p:cNvSpPr>
              <a:spLocks/>
            </p:cNvSpPr>
            <p:nvPr/>
          </p:nvSpPr>
          <p:spPr bwMode="auto">
            <a:xfrm rot="1114411" flipH="1">
              <a:off x="2682170" y="4489457"/>
              <a:ext cx="94584" cy="114613"/>
            </a:xfrm>
            <a:custGeom>
              <a:avLst/>
              <a:gdLst>
                <a:gd name="T0" fmla="*/ 2147483647 w 170"/>
                <a:gd name="T1" fmla="*/ 0 h 206"/>
                <a:gd name="T2" fmla="*/ 2147483647 w 170"/>
                <a:gd name="T3" fmla="*/ 2147483647 h 206"/>
                <a:gd name="T4" fmla="*/ 2147483647 w 170"/>
                <a:gd name="T5" fmla="*/ 2147483647 h 206"/>
                <a:gd name="T6" fmla="*/ 2147483647 w 170"/>
                <a:gd name="T7" fmla="*/ 2147483647 h 206"/>
                <a:gd name="T8" fmla="*/ 2147483647 w 170"/>
                <a:gd name="T9" fmla="*/ 2147483647 h 206"/>
                <a:gd name="T10" fmla="*/ 2147483647 w 170"/>
                <a:gd name="T11" fmla="*/ 2147483647 h 206"/>
                <a:gd name="T12" fmla="*/ 2147483647 w 170"/>
                <a:gd name="T13" fmla="*/ 2147483647 h 206"/>
                <a:gd name="T14" fmla="*/ 2147483647 w 170"/>
                <a:gd name="T15" fmla="*/ 2147483647 h 206"/>
                <a:gd name="T16" fmla="*/ 2147483647 w 170"/>
                <a:gd name="T17" fmla="*/ 2147483647 h 206"/>
                <a:gd name="T18" fmla="*/ 2147483647 w 170"/>
                <a:gd name="T19" fmla="*/ 2147483647 h 206"/>
                <a:gd name="T20" fmla="*/ 2147483647 w 170"/>
                <a:gd name="T21" fmla="*/ 2147483647 h 206"/>
                <a:gd name="T22" fmla="*/ 2147483647 w 170"/>
                <a:gd name="T23" fmla="*/ 2147483647 h 206"/>
                <a:gd name="T24" fmla="*/ 2147483647 w 170"/>
                <a:gd name="T25" fmla="*/ 2147483647 h 206"/>
                <a:gd name="T26" fmla="*/ 2147483647 w 170"/>
                <a:gd name="T27" fmla="*/ 2147483647 h 206"/>
                <a:gd name="T28" fmla="*/ 2147483647 w 170"/>
                <a:gd name="T29" fmla="*/ 2147483647 h 206"/>
                <a:gd name="T30" fmla="*/ 2147483647 w 170"/>
                <a:gd name="T31" fmla="*/ 2147483647 h 206"/>
                <a:gd name="T32" fmla="*/ 2147483647 w 170"/>
                <a:gd name="T33" fmla="*/ 2147483647 h 206"/>
                <a:gd name="T34" fmla="*/ 2147483647 w 170"/>
                <a:gd name="T35" fmla="*/ 2147483647 h 206"/>
                <a:gd name="T36" fmla="*/ 2147483647 w 170"/>
                <a:gd name="T37" fmla="*/ 2147483647 h 206"/>
                <a:gd name="T38" fmla="*/ 2147483647 w 170"/>
                <a:gd name="T39" fmla="*/ 2147483647 h 206"/>
                <a:gd name="T40" fmla="*/ 2147483647 w 170"/>
                <a:gd name="T41" fmla="*/ 2147483647 h 206"/>
                <a:gd name="T42" fmla="*/ 2147483647 w 170"/>
                <a:gd name="T43" fmla="*/ 2147483647 h 206"/>
                <a:gd name="T44" fmla="*/ 2147483647 w 170"/>
                <a:gd name="T45" fmla="*/ 2147483647 h 206"/>
                <a:gd name="T46" fmla="*/ 2147483647 w 170"/>
                <a:gd name="T47" fmla="*/ 2147483647 h 206"/>
                <a:gd name="T48" fmla="*/ 2147483647 w 170"/>
                <a:gd name="T49" fmla="*/ 2147483647 h 206"/>
                <a:gd name="T50" fmla="*/ 2147483647 w 170"/>
                <a:gd name="T51" fmla="*/ 2147483647 h 206"/>
                <a:gd name="T52" fmla="*/ 2147483647 w 170"/>
                <a:gd name="T53" fmla="*/ 2147483647 h 206"/>
                <a:gd name="T54" fmla="*/ 2147483647 w 170"/>
                <a:gd name="T55" fmla="*/ 2147483647 h 206"/>
                <a:gd name="T56" fmla="*/ 2147483647 w 170"/>
                <a:gd name="T57" fmla="*/ 2147483647 h 206"/>
                <a:gd name="T58" fmla="*/ 2147483647 w 170"/>
                <a:gd name="T59" fmla="*/ 2147483647 h 206"/>
                <a:gd name="T60" fmla="*/ 2147483647 w 170"/>
                <a:gd name="T61" fmla="*/ 2147483647 h 206"/>
                <a:gd name="T62" fmla="*/ 2147483647 w 170"/>
                <a:gd name="T63" fmla="*/ 2147483647 h 206"/>
                <a:gd name="T64" fmla="*/ 2147483647 w 170"/>
                <a:gd name="T65" fmla="*/ 2147483647 h 206"/>
                <a:gd name="T66" fmla="*/ 2147483647 w 170"/>
                <a:gd name="T67" fmla="*/ 2147483647 h 206"/>
                <a:gd name="T68" fmla="*/ 2147483647 w 170"/>
                <a:gd name="T69" fmla="*/ 2147483647 h 206"/>
                <a:gd name="T70" fmla="*/ 2147483647 w 170"/>
                <a:gd name="T71" fmla="*/ 2147483647 h 206"/>
                <a:gd name="T72" fmla="*/ 2147483647 w 170"/>
                <a:gd name="T73" fmla="*/ 2147483647 h 206"/>
                <a:gd name="T74" fmla="*/ 2147483647 w 170"/>
                <a:gd name="T75" fmla="*/ 2147483647 h 206"/>
                <a:gd name="T76" fmla="*/ 2147483647 w 170"/>
                <a:gd name="T77" fmla="*/ 2147483647 h 206"/>
                <a:gd name="T78" fmla="*/ 0 w 170"/>
                <a:gd name="T79" fmla="*/ 2147483647 h 206"/>
                <a:gd name="T80" fmla="*/ 2147483647 w 170"/>
                <a:gd name="T81" fmla="*/ 2147483647 h 206"/>
                <a:gd name="T82" fmla="*/ 2147483647 w 170"/>
                <a:gd name="T83" fmla="*/ 2147483647 h 206"/>
                <a:gd name="T84" fmla="*/ 2147483647 w 170"/>
                <a:gd name="T85" fmla="*/ 2147483647 h 206"/>
                <a:gd name="T86" fmla="*/ 2147483647 w 170"/>
                <a:gd name="T87" fmla="*/ 2147483647 h 206"/>
                <a:gd name="T88" fmla="*/ 2147483647 w 170"/>
                <a:gd name="T89" fmla="*/ 2147483647 h 206"/>
                <a:gd name="T90" fmla="*/ 2147483647 w 170"/>
                <a:gd name="T91" fmla="*/ 2147483647 h 206"/>
                <a:gd name="T92" fmla="*/ 2147483647 w 170"/>
                <a:gd name="T93" fmla="*/ 2147483647 h 206"/>
                <a:gd name="T94" fmla="*/ 2147483647 w 170"/>
                <a:gd name="T95" fmla="*/ 2147483647 h 206"/>
                <a:gd name="T96" fmla="*/ 2147483647 w 170"/>
                <a:gd name="T97" fmla="*/ 2147483647 h 206"/>
                <a:gd name="T98" fmla="*/ 2147483647 w 170"/>
                <a:gd name="T99" fmla="*/ 2147483647 h 206"/>
                <a:gd name="T100" fmla="*/ 2147483647 w 170"/>
                <a:gd name="T101" fmla="*/ 0 h 20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0"/>
                <a:gd name="T154" fmla="*/ 0 h 206"/>
                <a:gd name="T155" fmla="*/ 170 w 170"/>
                <a:gd name="T156" fmla="*/ 206 h 20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0" h="206">
                  <a:moveTo>
                    <a:pt x="64" y="0"/>
                  </a:moveTo>
                  <a:lnTo>
                    <a:pt x="76" y="1"/>
                  </a:lnTo>
                  <a:lnTo>
                    <a:pt x="89" y="7"/>
                  </a:lnTo>
                  <a:lnTo>
                    <a:pt x="98" y="16"/>
                  </a:lnTo>
                  <a:lnTo>
                    <a:pt x="108" y="26"/>
                  </a:lnTo>
                  <a:lnTo>
                    <a:pt x="113" y="35"/>
                  </a:lnTo>
                  <a:lnTo>
                    <a:pt x="117" y="42"/>
                  </a:lnTo>
                  <a:lnTo>
                    <a:pt x="119" y="46"/>
                  </a:lnTo>
                  <a:lnTo>
                    <a:pt x="120" y="48"/>
                  </a:lnTo>
                  <a:lnTo>
                    <a:pt x="124" y="54"/>
                  </a:lnTo>
                  <a:lnTo>
                    <a:pt x="131" y="63"/>
                  </a:lnTo>
                  <a:lnTo>
                    <a:pt x="138" y="71"/>
                  </a:lnTo>
                  <a:lnTo>
                    <a:pt x="144" y="79"/>
                  </a:lnTo>
                  <a:lnTo>
                    <a:pt x="151" y="86"/>
                  </a:lnTo>
                  <a:lnTo>
                    <a:pt x="154" y="87"/>
                  </a:lnTo>
                  <a:lnTo>
                    <a:pt x="158" y="91"/>
                  </a:lnTo>
                  <a:lnTo>
                    <a:pt x="164" y="99"/>
                  </a:lnTo>
                  <a:lnTo>
                    <a:pt x="169" y="113"/>
                  </a:lnTo>
                  <a:lnTo>
                    <a:pt x="170" y="132"/>
                  </a:lnTo>
                  <a:lnTo>
                    <a:pt x="168" y="153"/>
                  </a:lnTo>
                  <a:lnTo>
                    <a:pt x="158" y="177"/>
                  </a:lnTo>
                  <a:lnTo>
                    <a:pt x="150" y="192"/>
                  </a:lnTo>
                  <a:lnTo>
                    <a:pt x="146" y="200"/>
                  </a:lnTo>
                  <a:lnTo>
                    <a:pt x="143" y="204"/>
                  </a:lnTo>
                  <a:lnTo>
                    <a:pt x="142" y="206"/>
                  </a:lnTo>
                  <a:lnTo>
                    <a:pt x="139" y="204"/>
                  </a:lnTo>
                  <a:lnTo>
                    <a:pt x="135" y="202"/>
                  </a:lnTo>
                  <a:lnTo>
                    <a:pt x="129" y="199"/>
                  </a:lnTo>
                  <a:lnTo>
                    <a:pt x="119" y="196"/>
                  </a:lnTo>
                  <a:lnTo>
                    <a:pt x="104" y="196"/>
                  </a:lnTo>
                  <a:lnTo>
                    <a:pt x="84" y="192"/>
                  </a:lnTo>
                  <a:lnTo>
                    <a:pt x="68" y="183"/>
                  </a:lnTo>
                  <a:lnTo>
                    <a:pt x="54" y="169"/>
                  </a:lnTo>
                  <a:lnTo>
                    <a:pt x="42" y="154"/>
                  </a:lnTo>
                  <a:lnTo>
                    <a:pt x="31" y="138"/>
                  </a:lnTo>
                  <a:lnTo>
                    <a:pt x="23" y="124"/>
                  </a:lnTo>
                  <a:lnTo>
                    <a:pt x="15" y="112"/>
                  </a:lnTo>
                  <a:lnTo>
                    <a:pt x="8" y="106"/>
                  </a:lnTo>
                  <a:lnTo>
                    <a:pt x="3" y="99"/>
                  </a:lnTo>
                  <a:lnTo>
                    <a:pt x="0" y="91"/>
                  </a:lnTo>
                  <a:lnTo>
                    <a:pt x="1" y="82"/>
                  </a:lnTo>
                  <a:lnTo>
                    <a:pt x="4" y="72"/>
                  </a:lnTo>
                  <a:lnTo>
                    <a:pt x="7" y="63"/>
                  </a:lnTo>
                  <a:lnTo>
                    <a:pt x="9" y="57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4" y="45"/>
                  </a:lnTo>
                  <a:lnTo>
                    <a:pt x="19" y="35"/>
                  </a:lnTo>
                  <a:lnTo>
                    <a:pt x="30" y="22"/>
                  </a:lnTo>
                  <a:lnTo>
                    <a:pt x="49" y="7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12" name="Freeform 2741"/>
            <p:cNvSpPr>
              <a:spLocks/>
            </p:cNvSpPr>
            <p:nvPr/>
          </p:nvSpPr>
          <p:spPr bwMode="auto">
            <a:xfrm rot="1114411" flipH="1">
              <a:off x="2802764" y="4693672"/>
              <a:ext cx="81787" cy="62314"/>
            </a:xfrm>
            <a:custGeom>
              <a:avLst/>
              <a:gdLst>
                <a:gd name="T0" fmla="*/ 2147483647 w 147"/>
                <a:gd name="T1" fmla="*/ 0 h 112"/>
                <a:gd name="T2" fmla="*/ 2147483647 w 147"/>
                <a:gd name="T3" fmla="*/ 2147483647 h 112"/>
                <a:gd name="T4" fmla="*/ 2147483647 w 147"/>
                <a:gd name="T5" fmla="*/ 2147483647 h 112"/>
                <a:gd name="T6" fmla="*/ 2147483647 w 147"/>
                <a:gd name="T7" fmla="*/ 2147483647 h 112"/>
                <a:gd name="T8" fmla="*/ 2147483647 w 147"/>
                <a:gd name="T9" fmla="*/ 2147483647 h 112"/>
                <a:gd name="T10" fmla="*/ 2147483647 w 147"/>
                <a:gd name="T11" fmla="*/ 2147483647 h 112"/>
                <a:gd name="T12" fmla="*/ 2147483647 w 147"/>
                <a:gd name="T13" fmla="*/ 2147483647 h 112"/>
                <a:gd name="T14" fmla="*/ 2147483647 w 147"/>
                <a:gd name="T15" fmla="*/ 2147483647 h 112"/>
                <a:gd name="T16" fmla="*/ 2147483647 w 147"/>
                <a:gd name="T17" fmla="*/ 2147483647 h 112"/>
                <a:gd name="T18" fmla="*/ 2147483647 w 147"/>
                <a:gd name="T19" fmla="*/ 2147483647 h 112"/>
                <a:gd name="T20" fmla="*/ 2147483647 w 147"/>
                <a:gd name="T21" fmla="*/ 2147483647 h 112"/>
                <a:gd name="T22" fmla="*/ 2147483647 w 147"/>
                <a:gd name="T23" fmla="*/ 2147483647 h 112"/>
                <a:gd name="T24" fmla="*/ 2147483647 w 147"/>
                <a:gd name="T25" fmla="*/ 2147483647 h 112"/>
                <a:gd name="T26" fmla="*/ 2147483647 w 147"/>
                <a:gd name="T27" fmla="*/ 2147483647 h 112"/>
                <a:gd name="T28" fmla="*/ 2147483647 w 147"/>
                <a:gd name="T29" fmla="*/ 2147483647 h 112"/>
                <a:gd name="T30" fmla="*/ 2147483647 w 147"/>
                <a:gd name="T31" fmla="*/ 2147483647 h 112"/>
                <a:gd name="T32" fmla="*/ 2147483647 w 147"/>
                <a:gd name="T33" fmla="*/ 2147483647 h 112"/>
                <a:gd name="T34" fmla="*/ 2147483647 w 147"/>
                <a:gd name="T35" fmla="*/ 2147483647 h 112"/>
                <a:gd name="T36" fmla="*/ 2147483647 w 147"/>
                <a:gd name="T37" fmla="*/ 2147483647 h 112"/>
                <a:gd name="T38" fmla="*/ 2147483647 w 147"/>
                <a:gd name="T39" fmla="*/ 2147483647 h 112"/>
                <a:gd name="T40" fmla="*/ 2147483647 w 147"/>
                <a:gd name="T41" fmla="*/ 2147483647 h 112"/>
                <a:gd name="T42" fmla="*/ 2147483647 w 147"/>
                <a:gd name="T43" fmla="*/ 2147483647 h 112"/>
                <a:gd name="T44" fmla="*/ 2147483647 w 147"/>
                <a:gd name="T45" fmla="*/ 2147483647 h 112"/>
                <a:gd name="T46" fmla="*/ 2147483647 w 147"/>
                <a:gd name="T47" fmla="*/ 2147483647 h 112"/>
                <a:gd name="T48" fmla="*/ 2147483647 w 147"/>
                <a:gd name="T49" fmla="*/ 2147483647 h 112"/>
                <a:gd name="T50" fmla="*/ 2147483647 w 147"/>
                <a:gd name="T51" fmla="*/ 2147483647 h 112"/>
                <a:gd name="T52" fmla="*/ 2147483647 w 147"/>
                <a:gd name="T53" fmla="*/ 2147483647 h 112"/>
                <a:gd name="T54" fmla="*/ 2147483647 w 147"/>
                <a:gd name="T55" fmla="*/ 2147483647 h 112"/>
                <a:gd name="T56" fmla="*/ 2147483647 w 147"/>
                <a:gd name="T57" fmla="*/ 2147483647 h 112"/>
                <a:gd name="T58" fmla="*/ 2147483647 w 147"/>
                <a:gd name="T59" fmla="*/ 2147483647 h 112"/>
                <a:gd name="T60" fmla="*/ 2147483647 w 147"/>
                <a:gd name="T61" fmla="*/ 2147483647 h 112"/>
                <a:gd name="T62" fmla="*/ 2147483647 w 147"/>
                <a:gd name="T63" fmla="*/ 2147483647 h 112"/>
                <a:gd name="T64" fmla="*/ 2147483647 w 147"/>
                <a:gd name="T65" fmla="*/ 2147483647 h 112"/>
                <a:gd name="T66" fmla="*/ 2147483647 w 147"/>
                <a:gd name="T67" fmla="*/ 2147483647 h 112"/>
                <a:gd name="T68" fmla="*/ 2147483647 w 147"/>
                <a:gd name="T69" fmla="*/ 2147483647 h 112"/>
                <a:gd name="T70" fmla="*/ 2147483647 w 147"/>
                <a:gd name="T71" fmla="*/ 2147483647 h 112"/>
                <a:gd name="T72" fmla="*/ 2147483647 w 147"/>
                <a:gd name="T73" fmla="*/ 2147483647 h 112"/>
                <a:gd name="T74" fmla="*/ 0 w 147"/>
                <a:gd name="T75" fmla="*/ 2147483647 h 112"/>
                <a:gd name="T76" fmla="*/ 2147483647 w 147"/>
                <a:gd name="T77" fmla="*/ 2147483647 h 112"/>
                <a:gd name="T78" fmla="*/ 2147483647 w 147"/>
                <a:gd name="T79" fmla="*/ 2147483647 h 112"/>
                <a:gd name="T80" fmla="*/ 2147483647 w 147"/>
                <a:gd name="T81" fmla="*/ 2147483647 h 112"/>
                <a:gd name="T82" fmla="*/ 2147483647 w 147"/>
                <a:gd name="T83" fmla="*/ 0 h 11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7"/>
                <a:gd name="T127" fmla="*/ 0 h 112"/>
                <a:gd name="T128" fmla="*/ 147 w 147"/>
                <a:gd name="T129" fmla="*/ 112 h 11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7" h="112">
                  <a:moveTo>
                    <a:pt x="29" y="0"/>
                  </a:moveTo>
                  <a:lnTo>
                    <a:pt x="37" y="3"/>
                  </a:lnTo>
                  <a:lnTo>
                    <a:pt x="44" y="7"/>
                  </a:lnTo>
                  <a:lnTo>
                    <a:pt x="48" y="12"/>
                  </a:lnTo>
                  <a:lnTo>
                    <a:pt x="49" y="19"/>
                  </a:lnTo>
                  <a:lnTo>
                    <a:pt x="52" y="24"/>
                  </a:lnTo>
                  <a:lnTo>
                    <a:pt x="59" y="30"/>
                  </a:lnTo>
                  <a:lnTo>
                    <a:pt x="68" y="37"/>
                  </a:lnTo>
                  <a:lnTo>
                    <a:pt x="79" y="42"/>
                  </a:lnTo>
                  <a:lnTo>
                    <a:pt x="89" y="48"/>
                  </a:lnTo>
                  <a:lnTo>
                    <a:pt x="95" y="50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101" y="54"/>
                  </a:lnTo>
                  <a:lnTo>
                    <a:pt x="106" y="57"/>
                  </a:lnTo>
                  <a:lnTo>
                    <a:pt x="117" y="60"/>
                  </a:lnTo>
                  <a:lnTo>
                    <a:pt x="134" y="61"/>
                  </a:lnTo>
                  <a:lnTo>
                    <a:pt x="143" y="63"/>
                  </a:lnTo>
                  <a:lnTo>
                    <a:pt x="147" y="65"/>
                  </a:lnTo>
                  <a:lnTo>
                    <a:pt x="147" y="72"/>
                  </a:lnTo>
                  <a:lnTo>
                    <a:pt x="144" y="78"/>
                  </a:lnTo>
                  <a:lnTo>
                    <a:pt x="140" y="86"/>
                  </a:lnTo>
                  <a:lnTo>
                    <a:pt x="136" y="93"/>
                  </a:lnTo>
                  <a:lnTo>
                    <a:pt x="132" y="98"/>
                  </a:lnTo>
                  <a:lnTo>
                    <a:pt x="131" y="102"/>
                  </a:lnTo>
                  <a:lnTo>
                    <a:pt x="127" y="108"/>
                  </a:lnTo>
                  <a:lnTo>
                    <a:pt x="119" y="109"/>
                  </a:lnTo>
                  <a:lnTo>
                    <a:pt x="108" y="110"/>
                  </a:lnTo>
                  <a:lnTo>
                    <a:pt x="98" y="112"/>
                  </a:lnTo>
                  <a:lnTo>
                    <a:pt x="94" y="112"/>
                  </a:lnTo>
                  <a:lnTo>
                    <a:pt x="91" y="110"/>
                  </a:lnTo>
                  <a:lnTo>
                    <a:pt x="80" y="106"/>
                  </a:lnTo>
                  <a:lnTo>
                    <a:pt x="67" y="101"/>
                  </a:lnTo>
                  <a:lnTo>
                    <a:pt x="50" y="93"/>
                  </a:lnTo>
                  <a:lnTo>
                    <a:pt x="33" y="82"/>
                  </a:lnTo>
                  <a:lnTo>
                    <a:pt x="18" y="71"/>
                  </a:lnTo>
                  <a:lnTo>
                    <a:pt x="7" y="57"/>
                  </a:lnTo>
                  <a:lnTo>
                    <a:pt x="0" y="44"/>
                  </a:lnTo>
                  <a:lnTo>
                    <a:pt x="1" y="27"/>
                  </a:lnTo>
                  <a:lnTo>
                    <a:pt x="9" y="11"/>
                  </a:lnTo>
                  <a:lnTo>
                    <a:pt x="19" y="3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13" name="Freeform 2742"/>
            <p:cNvSpPr>
              <a:spLocks/>
            </p:cNvSpPr>
            <p:nvPr/>
          </p:nvSpPr>
          <p:spPr bwMode="auto">
            <a:xfrm rot="1114411" flipH="1">
              <a:off x="2376057" y="4685705"/>
              <a:ext cx="60645" cy="57307"/>
            </a:xfrm>
            <a:custGeom>
              <a:avLst/>
              <a:gdLst>
                <a:gd name="T0" fmla="*/ 2147483647 w 109"/>
                <a:gd name="T1" fmla="*/ 0 h 103"/>
                <a:gd name="T2" fmla="*/ 2147483647 w 109"/>
                <a:gd name="T3" fmla="*/ 2147483647 h 103"/>
                <a:gd name="T4" fmla="*/ 2147483647 w 109"/>
                <a:gd name="T5" fmla="*/ 2147483647 h 103"/>
                <a:gd name="T6" fmla="*/ 2147483647 w 109"/>
                <a:gd name="T7" fmla="*/ 2147483647 h 103"/>
                <a:gd name="T8" fmla="*/ 2147483647 w 109"/>
                <a:gd name="T9" fmla="*/ 2147483647 h 103"/>
                <a:gd name="T10" fmla="*/ 2147483647 w 109"/>
                <a:gd name="T11" fmla="*/ 2147483647 h 103"/>
                <a:gd name="T12" fmla="*/ 2147483647 w 109"/>
                <a:gd name="T13" fmla="*/ 2147483647 h 103"/>
                <a:gd name="T14" fmla="*/ 2147483647 w 109"/>
                <a:gd name="T15" fmla="*/ 2147483647 h 103"/>
                <a:gd name="T16" fmla="*/ 2147483647 w 109"/>
                <a:gd name="T17" fmla="*/ 2147483647 h 103"/>
                <a:gd name="T18" fmla="*/ 2147483647 w 109"/>
                <a:gd name="T19" fmla="*/ 2147483647 h 103"/>
                <a:gd name="T20" fmla="*/ 2147483647 w 109"/>
                <a:gd name="T21" fmla="*/ 2147483647 h 103"/>
                <a:gd name="T22" fmla="*/ 2147483647 w 109"/>
                <a:gd name="T23" fmla="*/ 2147483647 h 103"/>
                <a:gd name="T24" fmla="*/ 2147483647 w 109"/>
                <a:gd name="T25" fmla="*/ 2147483647 h 103"/>
                <a:gd name="T26" fmla="*/ 2147483647 w 109"/>
                <a:gd name="T27" fmla="*/ 2147483647 h 103"/>
                <a:gd name="T28" fmla="*/ 2147483647 w 109"/>
                <a:gd name="T29" fmla="*/ 2147483647 h 103"/>
                <a:gd name="T30" fmla="*/ 2147483647 w 109"/>
                <a:gd name="T31" fmla="*/ 2147483647 h 103"/>
                <a:gd name="T32" fmla="*/ 2147483647 w 109"/>
                <a:gd name="T33" fmla="*/ 2147483647 h 103"/>
                <a:gd name="T34" fmla="*/ 2147483647 w 109"/>
                <a:gd name="T35" fmla="*/ 2147483647 h 103"/>
                <a:gd name="T36" fmla="*/ 2147483647 w 109"/>
                <a:gd name="T37" fmla="*/ 2147483647 h 103"/>
                <a:gd name="T38" fmla="*/ 2147483647 w 109"/>
                <a:gd name="T39" fmla="*/ 2147483647 h 103"/>
                <a:gd name="T40" fmla="*/ 2147483647 w 109"/>
                <a:gd name="T41" fmla="*/ 2147483647 h 103"/>
                <a:gd name="T42" fmla="*/ 2147483647 w 109"/>
                <a:gd name="T43" fmla="*/ 2147483647 h 103"/>
                <a:gd name="T44" fmla="*/ 2147483647 w 109"/>
                <a:gd name="T45" fmla="*/ 2147483647 h 103"/>
                <a:gd name="T46" fmla="*/ 0 w 109"/>
                <a:gd name="T47" fmla="*/ 2147483647 h 103"/>
                <a:gd name="T48" fmla="*/ 0 w 109"/>
                <a:gd name="T49" fmla="*/ 2147483647 h 103"/>
                <a:gd name="T50" fmla="*/ 2147483647 w 109"/>
                <a:gd name="T51" fmla="*/ 2147483647 h 103"/>
                <a:gd name="T52" fmla="*/ 2147483647 w 109"/>
                <a:gd name="T53" fmla="*/ 2147483647 h 103"/>
                <a:gd name="T54" fmla="*/ 2147483647 w 109"/>
                <a:gd name="T55" fmla="*/ 2147483647 h 103"/>
                <a:gd name="T56" fmla="*/ 2147483647 w 109"/>
                <a:gd name="T57" fmla="*/ 2147483647 h 103"/>
                <a:gd name="T58" fmla="*/ 2147483647 w 109"/>
                <a:gd name="T59" fmla="*/ 2147483647 h 103"/>
                <a:gd name="T60" fmla="*/ 2147483647 w 109"/>
                <a:gd name="T61" fmla="*/ 2147483647 h 103"/>
                <a:gd name="T62" fmla="*/ 2147483647 w 109"/>
                <a:gd name="T63" fmla="*/ 0 h 103"/>
                <a:gd name="T64" fmla="*/ 2147483647 w 109"/>
                <a:gd name="T65" fmla="*/ 0 h 1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9"/>
                <a:gd name="T100" fmla="*/ 0 h 103"/>
                <a:gd name="T101" fmla="*/ 109 w 109"/>
                <a:gd name="T102" fmla="*/ 103 h 1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9" h="103">
                  <a:moveTo>
                    <a:pt x="33" y="0"/>
                  </a:moveTo>
                  <a:lnTo>
                    <a:pt x="54" y="6"/>
                  </a:lnTo>
                  <a:lnTo>
                    <a:pt x="73" y="11"/>
                  </a:lnTo>
                  <a:lnTo>
                    <a:pt x="88" y="17"/>
                  </a:lnTo>
                  <a:lnTo>
                    <a:pt x="99" y="25"/>
                  </a:lnTo>
                  <a:lnTo>
                    <a:pt x="107" y="37"/>
                  </a:lnTo>
                  <a:lnTo>
                    <a:pt x="109" y="48"/>
                  </a:lnTo>
                  <a:lnTo>
                    <a:pt x="104" y="58"/>
                  </a:lnTo>
                  <a:lnTo>
                    <a:pt x="97" y="64"/>
                  </a:lnTo>
                  <a:lnTo>
                    <a:pt x="88" y="71"/>
                  </a:lnTo>
                  <a:lnTo>
                    <a:pt x="78" y="78"/>
                  </a:lnTo>
                  <a:lnTo>
                    <a:pt x="69" y="85"/>
                  </a:lnTo>
                  <a:lnTo>
                    <a:pt x="62" y="89"/>
                  </a:lnTo>
                  <a:lnTo>
                    <a:pt x="59" y="90"/>
                  </a:lnTo>
                  <a:lnTo>
                    <a:pt x="58" y="92"/>
                  </a:lnTo>
                  <a:lnTo>
                    <a:pt x="54" y="94"/>
                  </a:lnTo>
                  <a:lnTo>
                    <a:pt x="47" y="98"/>
                  </a:lnTo>
                  <a:lnTo>
                    <a:pt x="39" y="101"/>
                  </a:lnTo>
                  <a:lnTo>
                    <a:pt x="30" y="103"/>
                  </a:lnTo>
                  <a:lnTo>
                    <a:pt x="22" y="101"/>
                  </a:lnTo>
                  <a:lnTo>
                    <a:pt x="14" y="97"/>
                  </a:lnTo>
                  <a:lnTo>
                    <a:pt x="7" y="88"/>
                  </a:lnTo>
                  <a:lnTo>
                    <a:pt x="3" y="73"/>
                  </a:lnTo>
                  <a:lnTo>
                    <a:pt x="0" y="55"/>
                  </a:lnTo>
                  <a:lnTo>
                    <a:pt x="0" y="41"/>
                  </a:lnTo>
                  <a:lnTo>
                    <a:pt x="2" y="32"/>
                  </a:lnTo>
                  <a:lnTo>
                    <a:pt x="3" y="28"/>
                  </a:lnTo>
                  <a:lnTo>
                    <a:pt x="3" y="25"/>
                  </a:lnTo>
                  <a:lnTo>
                    <a:pt x="4" y="19"/>
                  </a:lnTo>
                  <a:lnTo>
                    <a:pt x="9" y="13"/>
                  </a:lnTo>
                  <a:lnTo>
                    <a:pt x="14" y="6"/>
                  </a:lnTo>
                  <a:lnTo>
                    <a:pt x="22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14" name="Freeform 2743"/>
            <p:cNvSpPr>
              <a:spLocks/>
            </p:cNvSpPr>
            <p:nvPr/>
          </p:nvSpPr>
          <p:spPr bwMode="auto">
            <a:xfrm rot="1114411" flipH="1">
              <a:off x="2172396" y="4729575"/>
              <a:ext cx="83456" cy="74554"/>
            </a:xfrm>
            <a:custGeom>
              <a:avLst/>
              <a:gdLst>
                <a:gd name="T0" fmla="*/ 2147483647 w 150"/>
                <a:gd name="T1" fmla="*/ 0 h 134"/>
                <a:gd name="T2" fmla="*/ 2147483647 w 150"/>
                <a:gd name="T3" fmla="*/ 2147483647 h 134"/>
                <a:gd name="T4" fmla="*/ 2147483647 w 150"/>
                <a:gd name="T5" fmla="*/ 2147483647 h 134"/>
                <a:gd name="T6" fmla="*/ 2147483647 w 150"/>
                <a:gd name="T7" fmla="*/ 2147483647 h 134"/>
                <a:gd name="T8" fmla="*/ 2147483647 w 150"/>
                <a:gd name="T9" fmla="*/ 2147483647 h 134"/>
                <a:gd name="T10" fmla="*/ 2147483647 w 150"/>
                <a:gd name="T11" fmla="*/ 2147483647 h 134"/>
                <a:gd name="T12" fmla="*/ 2147483647 w 150"/>
                <a:gd name="T13" fmla="*/ 2147483647 h 134"/>
                <a:gd name="T14" fmla="*/ 2147483647 w 150"/>
                <a:gd name="T15" fmla="*/ 2147483647 h 134"/>
                <a:gd name="T16" fmla="*/ 2147483647 w 150"/>
                <a:gd name="T17" fmla="*/ 2147483647 h 134"/>
                <a:gd name="T18" fmla="*/ 2147483647 w 150"/>
                <a:gd name="T19" fmla="*/ 2147483647 h 134"/>
                <a:gd name="T20" fmla="*/ 2147483647 w 150"/>
                <a:gd name="T21" fmla="*/ 2147483647 h 134"/>
                <a:gd name="T22" fmla="*/ 2147483647 w 150"/>
                <a:gd name="T23" fmla="*/ 2147483647 h 134"/>
                <a:gd name="T24" fmla="*/ 2147483647 w 150"/>
                <a:gd name="T25" fmla="*/ 2147483647 h 134"/>
                <a:gd name="T26" fmla="*/ 2147483647 w 150"/>
                <a:gd name="T27" fmla="*/ 2147483647 h 134"/>
                <a:gd name="T28" fmla="*/ 2147483647 w 150"/>
                <a:gd name="T29" fmla="*/ 2147483647 h 134"/>
                <a:gd name="T30" fmla="*/ 2147483647 w 150"/>
                <a:gd name="T31" fmla="*/ 2147483647 h 134"/>
                <a:gd name="T32" fmla="*/ 2147483647 w 150"/>
                <a:gd name="T33" fmla="*/ 2147483647 h 134"/>
                <a:gd name="T34" fmla="*/ 2147483647 w 150"/>
                <a:gd name="T35" fmla="*/ 2147483647 h 134"/>
                <a:gd name="T36" fmla="*/ 2147483647 w 150"/>
                <a:gd name="T37" fmla="*/ 2147483647 h 134"/>
                <a:gd name="T38" fmla="*/ 2147483647 w 150"/>
                <a:gd name="T39" fmla="*/ 2147483647 h 134"/>
                <a:gd name="T40" fmla="*/ 2147483647 w 150"/>
                <a:gd name="T41" fmla="*/ 2147483647 h 134"/>
                <a:gd name="T42" fmla="*/ 2147483647 w 150"/>
                <a:gd name="T43" fmla="*/ 2147483647 h 134"/>
                <a:gd name="T44" fmla="*/ 2147483647 w 150"/>
                <a:gd name="T45" fmla="*/ 2147483647 h 134"/>
                <a:gd name="T46" fmla="*/ 2147483647 w 150"/>
                <a:gd name="T47" fmla="*/ 2147483647 h 134"/>
                <a:gd name="T48" fmla="*/ 2147483647 w 150"/>
                <a:gd name="T49" fmla="*/ 2147483647 h 134"/>
                <a:gd name="T50" fmla="*/ 2147483647 w 150"/>
                <a:gd name="T51" fmla="*/ 2147483647 h 134"/>
                <a:gd name="T52" fmla="*/ 0 w 150"/>
                <a:gd name="T53" fmla="*/ 2147483647 h 134"/>
                <a:gd name="T54" fmla="*/ 0 w 150"/>
                <a:gd name="T55" fmla="*/ 2147483647 h 134"/>
                <a:gd name="T56" fmla="*/ 2147483647 w 150"/>
                <a:gd name="T57" fmla="*/ 2147483647 h 134"/>
                <a:gd name="T58" fmla="*/ 2147483647 w 150"/>
                <a:gd name="T59" fmla="*/ 2147483647 h 134"/>
                <a:gd name="T60" fmla="*/ 2147483647 w 150"/>
                <a:gd name="T61" fmla="*/ 2147483647 h 134"/>
                <a:gd name="T62" fmla="*/ 2147483647 w 150"/>
                <a:gd name="T63" fmla="*/ 2147483647 h 134"/>
                <a:gd name="T64" fmla="*/ 2147483647 w 150"/>
                <a:gd name="T65" fmla="*/ 2147483647 h 134"/>
                <a:gd name="T66" fmla="*/ 2147483647 w 150"/>
                <a:gd name="T67" fmla="*/ 0 h 13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0"/>
                <a:gd name="T103" fmla="*/ 0 h 134"/>
                <a:gd name="T104" fmla="*/ 150 w 150"/>
                <a:gd name="T105" fmla="*/ 134 h 13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0" h="134">
                  <a:moveTo>
                    <a:pt x="14" y="0"/>
                  </a:moveTo>
                  <a:lnTo>
                    <a:pt x="27" y="3"/>
                  </a:lnTo>
                  <a:lnTo>
                    <a:pt x="42" y="9"/>
                  </a:lnTo>
                  <a:lnTo>
                    <a:pt x="60" y="17"/>
                  </a:lnTo>
                  <a:lnTo>
                    <a:pt x="78" y="26"/>
                  </a:lnTo>
                  <a:lnTo>
                    <a:pt x="97" y="36"/>
                  </a:lnTo>
                  <a:lnTo>
                    <a:pt x="113" y="45"/>
                  </a:lnTo>
                  <a:lnTo>
                    <a:pt x="128" y="55"/>
                  </a:lnTo>
                  <a:lnTo>
                    <a:pt x="139" y="63"/>
                  </a:lnTo>
                  <a:lnTo>
                    <a:pt x="147" y="67"/>
                  </a:lnTo>
                  <a:lnTo>
                    <a:pt x="150" y="70"/>
                  </a:lnTo>
                  <a:lnTo>
                    <a:pt x="150" y="71"/>
                  </a:lnTo>
                  <a:lnTo>
                    <a:pt x="149" y="77"/>
                  </a:lnTo>
                  <a:lnTo>
                    <a:pt x="147" y="84"/>
                  </a:lnTo>
                  <a:lnTo>
                    <a:pt x="145" y="93"/>
                  </a:lnTo>
                  <a:lnTo>
                    <a:pt x="139" y="103"/>
                  </a:lnTo>
                  <a:lnTo>
                    <a:pt x="132" y="112"/>
                  </a:lnTo>
                  <a:lnTo>
                    <a:pt x="123" y="120"/>
                  </a:lnTo>
                  <a:lnTo>
                    <a:pt x="112" y="129"/>
                  </a:lnTo>
                  <a:lnTo>
                    <a:pt x="96" y="133"/>
                  </a:lnTo>
                  <a:lnTo>
                    <a:pt x="78" y="134"/>
                  </a:lnTo>
                  <a:lnTo>
                    <a:pt x="55" y="131"/>
                  </a:lnTo>
                  <a:lnTo>
                    <a:pt x="34" y="126"/>
                  </a:lnTo>
                  <a:lnTo>
                    <a:pt x="21" y="116"/>
                  </a:lnTo>
                  <a:lnTo>
                    <a:pt x="10" y="104"/>
                  </a:lnTo>
                  <a:lnTo>
                    <a:pt x="4" y="89"/>
                  </a:lnTo>
                  <a:lnTo>
                    <a:pt x="0" y="74"/>
                  </a:lnTo>
                  <a:lnTo>
                    <a:pt x="0" y="59"/>
                  </a:lnTo>
                  <a:lnTo>
                    <a:pt x="2" y="44"/>
                  </a:lnTo>
                  <a:lnTo>
                    <a:pt x="4" y="30"/>
                  </a:lnTo>
                  <a:lnTo>
                    <a:pt x="7" y="18"/>
                  </a:lnTo>
                  <a:lnTo>
                    <a:pt x="10" y="9"/>
                  </a:lnTo>
                  <a:lnTo>
                    <a:pt x="12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15" name="Freeform 2744"/>
            <p:cNvSpPr>
              <a:spLocks/>
            </p:cNvSpPr>
            <p:nvPr/>
          </p:nvSpPr>
          <p:spPr bwMode="auto">
            <a:xfrm rot="1114411" flipH="1">
              <a:off x="1345285" y="4792052"/>
              <a:ext cx="75111" cy="60645"/>
            </a:xfrm>
            <a:custGeom>
              <a:avLst/>
              <a:gdLst>
                <a:gd name="T0" fmla="*/ 2147483647 w 135"/>
                <a:gd name="T1" fmla="*/ 0 h 109"/>
                <a:gd name="T2" fmla="*/ 2147483647 w 135"/>
                <a:gd name="T3" fmla="*/ 0 h 109"/>
                <a:gd name="T4" fmla="*/ 2147483647 w 135"/>
                <a:gd name="T5" fmla="*/ 2147483647 h 109"/>
                <a:gd name="T6" fmla="*/ 2147483647 w 135"/>
                <a:gd name="T7" fmla="*/ 2147483647 h 109"/>
                <a:gd name="T8" fmla="*/ 2147483647 w 135"/>
                <a:gd name="T9" fmla="*/ 2147483647 h 109"/>
                <a:gd name="T10" fmla="*/ 2147483647 w 135"/>
                <a:gd name="T11" fmla="*/ 2147483647 h 109"/>
                <a:gd name="T12" fmla="*/ 2147483647 w 135"/>
                <a:gd name="T13" fmla="*/ 2147483647 h 109"/>
                <a:gd name="T14" fmla="*/ 2147483647 w 135"/>
                <a:gd name="T15" fmla="*/ 2147483647 h 109"/>
                <a:gd name="T16" fmla="*/ 2147483647 w 135"/>
                <a:gd name="T17" fmla="*/ 2147483647 h 109"/>
                <a:gd name="T18" fmla="*/ 2147483647 w 135"/>
                <a:gd name="T19" fmla="*/ 2147483647 h 109"/>
                <a:gd name="T20" fmla="*/ 2147483647 w 135"/>
                <a:gd name="T21" fmla="*/ 2147483647 h 109"/>
                <a:gd name="T22" fmla="*/ 2147483647 w 135"/>
                <a:gd name="T23" fmla="*/ 2147483647 h 109"/>
                <a:gd name="T24" fmla="*/ 2147483647 w 135"/>
                <a:gd name="T25" fmla="*/ 2147483647 h 109"/>
                <a:gd name="T26" fmla="*/ 2147483647 w 135"/>
                <a:gd name="T27" fmla="*/ 2147483647 h 109"/>
                <a:gd name="T28" fmla="*/ 2147483647 w 135"/>
                <a:gd name="T29" fmla="*/ 2147483647 h 109"/>
                <a:gd name="T30" fmla="*/ 2147483647 w 135"/>
                <a:gd name="T31" fmla="*/ 2147483647 h 109"/>
                <a:gd name="T32" fmla="*/ 2147483647 w 135"/>
                <a:gd name="T33" fmla="*/ 2147483647 h 109"/>
                <a:gd name="T34" fmla="*/ 2147483647 w 135"/>
                <a:gd name="T35" fmla="*/ 2147483647 h 109"/>
                <a:gd name="T36" fmla="*/ 2147483647 w 135"/>
                <a:gd name="T37" fmla="*/ 2147483647 h 109"/>
                <a:gd name="T38" fmla="*/ 2147483647 w 135"/>
                <a:gd name="T39" fmla="*/ 2147483647 h 109"/>
                <a:gd name="T40" fmla="*/ 2147483647 w 135"/>
                <a:gd name="T41" fmla="*/ 2147483647 h 109"/>
                <a:gd name="T42" fmla="*/ 2147483647 w 135"/>
                <a:gd name="T43" fmla="*/ 2147483647 h 109"/>
                <a:gd name="T44" fmla="*/ 2147483647 w 135"/>
                <a:gd name="T45" fmla="*/ 2147483647 h 109"/>
                <a:gd name="T46" fmla="*/ 2147483647 w 135"/>
                <a:gd name="T47" fmla="*/ 2147483647 h 109"/>
                <a:gd name="T48" fmla="*/ 2147483647 w 135"/>
                <a:gd name="T49" fmla="*/ 2147483647 h 109"/>
                <a:gd name="T50" fmla="*/ 2147483647 w 135"/>
                <a:gd name="T51" fmla="*/ 2147483647 h 109"/>
                <a:gd name="T52" fmla="*/ 2147483647 w 135"/>
                <a:gd name="T53" fmla="*/ 2147483647 h 109"/>
                <a:gd name="T54" fmla="*/ 2147483647 w 135"/>
                <a:gd name="T55" fmla="*/ 2147483647 h 109"/>
                <a:gd name="T56" fmla="*/ 2147483647 w 135"/>
                <a:gd name="T57" fmla="*/ 2147483647 h 109"/>
                <a:gd name="T58" fmla="*/ 2147483647 w 135"/>
                <a:gd name="T59" fmla="*/ 2147483647 h 109"/>
                <a:gd name="T60" fmla="*/ 2147483647 w 135"/>
                <a:gd name="T61" fmla="*/ 2147483647 h 109"/>
                <a:gd name="T62" fmla="*/ 2147483647 w 135"/>
                <a:gd name="T63" fmla="*/ 2147483647 h 109"/>
                <a:gd name="T64" fmla="*/ 2147483647 w 135"/>
                <a:gd name="T65" fmla="*/ 2147483647 h 109"/>
                <a:gd name="T66" fmla="*/ 0 w 135"/>
                <a:gd name="T67" fmla="*/ 2147483647 h 109"/>
                <a:gd name="T68" fmla="*/ 2147483647 w 135"/>
                <a:gd name="T69" fmla="*/ 2147483647 h 109"/>
                <a:gd name="T70" fmla="*/ 2147483647 w 135"/>
                <a:gd name="T71" fmla="*/ 2147483647 h 109"/>
                <a:gd name="T72" fmla="*/ 2147483647 w 135"/>
                <a:gd name="T73" fmla="*/ 2147483647 h 109"/>
                <a:gd name="T74" fmla="*/ 2147483647 w 135"/>
                <a:gd name="T75" fmla="*/ 2147483647 h 109"/>
                <a:gd name="T76" fmla="*/ 2147483647 w 135"/>
                <a:gd name="T77" fmla="*/ 2147483647 h 109"/>
                <a:gd name="T78" fmla="*/ 2147483647 w 135"/>
                <a:gd name="T79" fmla="*/ 2147483647 h 109"/>
                <a:gd name="T80" fmla="*/ 2147483647 w 135"/>
                <a:gd name="T81" fmla="*/ 2147483647 h 109"/>
                <a:gd name="T82" fmla="*/ 2147483647 w 135"/>
                <a:gd name="T83" fmla="*/ 2147483647 h 109"/>
                <a:gd name="T84" fmla="*/ 2147483647 w 135"/>
                <a:gd name="T85" fmla="*/ 0 h 109"/>
                <a:gd name="T86" fmla="*/ 2147483647 w 135"/>
                <a:gd name="T87" fmla="*/ 0 h 1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5"/>
                <a:gd name="T133" fmla="*/ 0 h 109"/>
                <a:gd name="T134" fmla="*/ 135 w 135"/>
                <a:gd name="T135" fmla="*/ 109 h 1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5" h="109">
                  <a:moveTo>
                    <a:pt x="48" y="0"/>
                  </a:moveTo>
                  <a:lnTo>
                    <a:pt x="66" y="0"/>
                  </a:lnTo>
                  <a:lnTo>
                    <a:pt x="84" y="3"/>
                  </a:lnTo>
                  <a:lnTo>
                    <a:pt x="100" y="8"/>
                  </a:lnTo>
                  <a:lnTo>
                    <a:pt x="115" y="16"/>
                  </a:lnTo>
                  <a:lnTo>
                    <a:pt x="125" y="29"/>
                  </a:lnTo>
                  <a:lnTo>
                    <a:pt x="133" y="49"/>
                  </a:lnTo>
                  <a:lnTo>
                    <a:pt x="135" y="67"/>
                  </a:lnTo>
                  <a:lnTo>
                    <a:pt x="135" y="80"/>
                  </a:lnTo>
                  <a:lnTo>
                    <a:pt x="134" y="89"/>
                  </a:lnTo>
                  <a:lnTo>
                    <a:pt x="133" y="93"/>
                  </a:lnTo>
                  <a:lnTo>
                    <a:pt x="131" y="94"/>
                  </a:lnTo>
                  <a:lnTo>
                    <a:pt x="129" y="98"/>
                  </a:lnTo>
                  <a:lnTo>
                    <a:pt x="125" y="104"/>
                  </a:lnTo>
                  <a:lnTo>
                    <a:pt x="118" y="108"/>
                  </a:lnTo>
                  <a:lnTo>
                    <a:pt x="108" y="109"/>
                  </a:lnTo>
                  <a:lnTo>
                    <a:pt x="97" y="105"/>
                  </a:lnTo>
                  <a:lnTo>
                    <a:pt x="84" y="95"/>
                  </a:lnTo>
                  <a:lnTo>
                    <a:pt x="69" y="82"/>
                  </a:lnTo>
                  <a:lnTo>
                    <a:pt x="55" y="68"/>
                  </a:lnTo>
                  <a:lnTo>
                    <a:pt x="43" y="55"/>
                  </a:lnTo>
                  <a:lnTo>
                    <a:pt x="32" y="44"/>
                  </a:lnTo>
                  <a:lnTo>
                    <a:pt x="24" y="34"/>
                  </a:lnTo>
                  <a:lnTo>
                    <a:pt x="18" y="29"/>
                  </a:lnTo>
                  <a:lnTo>
                    <a:pt x="15" y="26"/>
                  </a:lnTo>
                  <a:lnTo>
                    <a:pt x="14" y="23"/>
                  </a:lnTo>
                  <a:lnTo>
                    <a:pt x="13" y="20"/>
                  </a:lnTo>
                  <a:lnTo>
                    <a:pt x="11" y="18"/>
                  </a:lnTo>
                  <a:lnTo>
                    <a:pt x="9" y="14"/>
                  </a:lnTo>
                  <a:lnTo>
                    <a:pt x="7" y="11"/>
                  </a:lnTo>
                  <a:lnTo>
                    <a:pt x="5" y="8"/>
                  </a:lnTo>
                  <a:lnTo>
                    <a:pt x="2" y="7"/>
                  </a:lnTo>
                  <a:lnTo>
                    <a:pt x="0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4" y="1"/>
                  </a:lnTo>
                  <a:lnTo>
                    <a:pt x="18" y="1"/>
                  </a:lnTo>
                  <a:lnTo>
                    <a:pt x="21" y="1"/>
                  </a:lnTo>
                  <a:lnTo>
                    <a:pt x="25" y="1"/>
                  </a:lnTo>
                  <a:lnTo>
                    <a:pt x="35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16" name="Freeform 2745"/>
            <p:cNvSpPr>
              <a:spLocks/>
            </p:cNvSpPr>
            <p:nvPr/>
          </p:nvSpPr>
          <p:spPr bwMode="auto">
            <a:xfrm rot="1114411" flipH="1">
              <a:off x="1066321" y="4790552"/>
              <a:ext cx="82344" cy="62314"/>
            </a:xfrm>
            <a:custGeom>
              <a:avLst/>
              <a:gdLst>
                <a:gd name="T0" fmla="*/ 2147483647 w 148"/>
                <a:gd name="T1" fmla="*/ 0 h 112"/>
                <a:gd name="T2" fmla="*/ 2147483647 w 148"/>
                <a:gd name="T3" fmla="*/ 0 h 112"/>
                <a:gd name="T4" fmla="*/ 2147483647 w 148"/>
                <a:gd name="T5" fmla="*/ 0 h 112"/>
                <a:gd name="T6" fmla="*/ 2147483647 w 148"/>
                <a:gd name="T7" fmla="*/ 0 h 112"/>
                <a:gd name="T8" fmla="*/ 2147483647 w 148"/>
                <a:gd name="T9" fmla="*/ 2147483647 h 112"/>
                <a:gd name="T10" fmla="*/ 2147483647 w 148"/>
                <a:gd name="T11" fmla="*/ 2147483647 h 112"/>
                <a:gd name="T12" fmla="*/ 2147483647 w 148"/>
                <a:gd name="T13" fmla="*/ 2147483647 h 112"/>
                <a:gd name="T14" fmla="*/ 2147483647 w 148"/>
                <a:gd name="T15" fmla="*/ 2147483647 h 112"/>
                <a:gd name="T16" fmla="*/ 2147483647 w 148"/>
                <a:gd name="T17" fmla="*/ 2147483647 h 112"/>
                <a:gd name="T18" fmla="*/ 2147483647 w 148"/>
                <a:gd name="T19" fmla="*/ 2147483647 h 112"/>
                <a:gd name="T20" fmla="*/ 2147483647 w 148"/>
                <a:gd name="T21" fmla="*/ 2147483647 h 112"/>
                <a:gd name="T22" fmla="*/ 2147483647 w 148"/>
                <a:gd name="T23" fmla="*/ 2147483647 h 112"/>
                <a:gd name="T24" fmla="*/ 2147483647 w 148"/>
                <a:gd name="T25" fmla="*/ 2147483647 h 112"/>
                <a:gd name="T26" fmla="*/ 2147483647 w 148"/>
                <a:gd name="T27" fmla="*/ 2147483647 h 112"/>
                <a:gd name="T28" fmla="*/ 2147483647 w 148"/>
                <a:gd name="T29" fmla="*/ 2147483647 h 112"/>
                <a:gd name="T30" fmla="*/ 2147483647 w 148"/>
                <a:gd name="T31" fmla="*/ 2147483647 h 112"/>
                <a:gd name="T32" fmla="*/ 2147483647 w 148"/>
                <a:gd name="T33" fmla="*/ 2147483647 h 112"/>
                <a:gd name="T34" fmla="*/ 2147483647 w 148"/>
                <a:gd name="T35" fmla="*/ 2147483647 h 112"/>
                <a:gd name="T36" fmla="*/ 2147483647 w 148"/>
                <a:gd name="T37" fmla="*/ 2147483647 h 112"/>
                <a:gd name="T38" fmla="*/ 2147483647 w 148"/>
                <a:gd name="T39" fmla="*/ 2147483647 h 112"/>
                <a:gd name="T40" fmla="*/ 2147483647 w 148"/>
                <a:gd name="T41" fmla="*/ 2147483647 h 112"/>
                <a:gd name="T42" fmla="*/ 2147483647 w 148"/>
                <a:gd name="T43" fmla="*/ 2147483647 h 112"/>
                <a:gd name="T44" fmla="*/ 2147483647 w 148"/>
                <a:gd name="T45" fmla="*/ 2147483647 h 112"/>
                <a:gd name="T46" fmla="*/ 2147483647 w 148"/>
                <a:gd name="T47" fmla="*/ 2147483647 h 112"/>
                <a:gd name="T48" fmla="*/ 2147483647 w 148"/>
                <a:gd name="T49" fmla="*/ 2147483647 h 112"/>
                <a:gd name="T50" fmla="*/ 2147483647 w 148"/>
                <a:gd name="T51" fmla="*/ 2147483647 h 112"/>
                <a:gd name="T52" fmla="*/ 2147483647 w 148"/>
                <a:gd name="T53" fmla="*/ 2147483647 h 112"/>
                <a:gd name="T54" fmla="*/ 2147483647 w 148"/>
                <a:gd name="T55" fmla="*/ 2147483647 h 112"/>
                <a:gd name="T56" fmla="*/ 2147483647 w 148"/>
                <a:gd name="T57" fmla="*/ 2147483647 h 112"/>
                <a:gd name="T58" fmla="*/ 2147483647 w 148"/>
                <a:gd name="T59" fmla="*/ 2147483647 h 112"/>
                <a:gd name="T60" fmla="*/ 2147483647 w 148"/>
                <a:gd name="T61" fmla="*/ 2147483647 h 112"/>
                <a:gd name="T62" fmla="*/ 2147483647 w 148"/>
                <a:gd name="T63" fmla="*/ 2147483647 h 112"/>
                <a:gd name="T64" fmla="*/ 0 w 148"/>
                <a:gd name="T65" fmla="*/ 2147483647 h 112"/>
                <a:gd name="T66" fmla="*/ 0 w 148"/>
                <a:gd name="T67" fmla="*/ 2147483647 h 112"/>
                <a:gd name="T68" fmla="*/ 2147483647 w 148"/>
                <a:gd name="T69" fmla="*/ 2147483647 h 112"/>
                <a:gd name="T70" fmla="*/ 2147483647 w 148"/>
                <a:gd name="T71" fmla="*/ 2147483647 h 112"/>
                <a:gd name="T72" fmla="*/ 2147483647 w 148"/>
                <a:gd name="T73" fmla="*/ 0 h 11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8"/>
                <a:gd name="T112" fmla="*/ 0 h 112"/>
                <a:gd name="T113" fmla="*/ 148 w 148"/>
                <a:gd name="T114" fmla="*/ 112 h 11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8" h="112">
                  <a:moveTo>
                    <a:pt x="17" y="0"/>
                  </a:moveTo>
                  <a:lnTo>
                    <a:pt x="26" y="0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53" y="2"/>
                  </a:lnTo>
                  <a:lnTo>
                    <a:pt x="69" y="3"/>
                  </a:lnTo>
                  <a:lnTo>
                    <a:pt x="87" y="7"/>
                  </a:lnTo>
                  <a:lnTo>
                    <a:pt x="102" y="11"/>
                  </a:lnTo>
                  <a:lnTo>
                    <a:pt x="116" y="18"/>
                  </a:lnTo>
                  <a:lnTo>
                    <a:pt x="125" y="28"/>
                  </a:lnTo>
                  <a:lnTo>
                    <a:pt x="137" y="51"/>
                  </a:lnTo>
                  <a:lnTo>
                    <a:pt x="144" y="69"/>
                  </a:lnTo>
                  <a:lnTo>
                    <a:pt x="147" y="82"/>
                  </a:lnTo>
                  <a:lnTo>
                    <a:pt x="148" y="93"/>
                  </a:lnTo>
                  <a:lnTo>
                    <a:pt x="146" y="101"/>
                  </a:lnTo>
                  <a:lnTo>
                    <a:pt x="143" y="107"/>
                  </a:lnTo>
                  <a:lnTo>
                    <a:pt x="139" y="110"/>
                  </a:lnTo>
                  <a:lnTo>
                    <a:pt x="136" y="112"/>
                  </a:lnTo>
                  <a:lnTo>
                    <a:pt x="133" y="112"/>
                  </a:lnTo>
                  <a:lnTo>
                    <a:pt x="125" y="110"/>
                  </a:lnTo>
                  <a:lnTo>
                    <a:pt x="114" y="106"/>
                  </a:lnTo>
                  <a:lnTo>
                    <a:pt x="101" y="97"/>
                  </a:lnTo>
                  <a:lnTo>
                    <a:pt x="87" y="82"/>
                  </a:lnTo>
                  <a:lnTo>
                    <a:pt x="75" y="69"/>
                  </a:lnTo>
                  <a:lnTo>
                    <a:pt x="61" y="59"/>
                  </a:lnTo>
                  <a:lnTo>
                    <a:pt x="49" y="55"/>
                  </a:lnTo>
                  <a:lnTo>
                    <a:pt x="37" y="52"/>
                  </a:lnTo>
                  <a:lnTo>
                    <a:pt x="24" y="51"/>
                  </a:lnTo>
                  <a:lnTo>
                    <a:pt x="16" y="48"/>
                  </a:lnTo>
                  <a:lnTo>
                    <a:pt x="7" y="41"/>
                  </a:lnTo>
                  <a:lnTo>
                    <a:pt x="1" y="32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2" y="7"/>
                  </a:lnTo>
                  <a:lnTo>
                    <a:pt x="9" y="2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17" name="Freeform 2746"/>
            <p:cNvSpPr>
              <a:spLocks/>
            </p:cNvSpPr>
            <p:nvPr/>
          </p:nvSpPr>
          <p:spPr bwMode="auto">
            <a:xfrm rot="1114411" flipH="1">
              <a:off x="1250514" y="4907259"/>
              <a:ext cx="81787" cy="73998"/>
            </a:xfrm>
            <a:custGeom>
              <a:avLst/>
              <a:gdLst>
                <a:gd name="T0" fmla="*/ 2147483647 w 147"/>
                <a:gd name="T1" fmla="*/ 0 h 133"/>
                <a:gd name="T2" fmla="*/ 2147483647 w 147"/>
                <a:gd name="T3" fmla="*/ 2147483647 h 133"/>
                <a:gd name="T4" fmla="*/ 2147483647 w 147"/>
                <a:gd name="T5" fmla="*/ 2147483647 h 133"/>
                <a:gd name="T6" fmla="*/ 2147483647 w 147"/>
                <a:gd name="T7" fmla="*/ 2147483647 h 133"/>
                <a:gd name="T8" fmla="*/ 2147483647 w 147"/>
                <a:gd name="T9" fmla="*/ 2147483647 h 133"/>
                <a:gd name="T10" fmla="*/ 2147483647 w 147"/>
                <a:gd name="T11" fmla="*/ 2147483647 h 133"/>
                <a:gd name="T12" fmla="*/ 2147483647 w 147"/>
                <a:gd name="T13" fmla="*/ 2147483647 h 133"/>
                <a:gd name="T14" fmla="*/ 2147483647 w 147"/>
                <a:gd name="T15" fmla="*/ 2147483647 h 133"/>
                <a:gd name="T16" fmla="*/ 2147483647 w 147"/>
                <a:gd name="T17" fmla="*/ 2147483647 h 133"/>
                <a:gd name="T18" fmla="*/ 2147483647 w 147"/>
                <a:gd name="T19" fmla="*/ 2147483647 h 133"/>
                <a:gd name="T20" fmla="*/ 2147483647 w 147"/>
                <a:gd name="T21" fmla="*/ 2147483647 h 133"/>
                <a:gd name="T22" fmla="*/ 2147483647 w 147"/>
                <a:gd name="T23" fmla="*/ 2147483647 h 133"/>
                <a:gd name="T24" fmla="*/ 2147483647 w 147"/>
                <a:gd name="T25" fmla="*/ 2147483647 h 133"/>
                <a:gd name="T26" fmla="*/ 2147483647 w 147"/>
                <a:gd name="T27" fmla="*/ 2147483647 h 133"/>
                <a:gd name="T28" fmla="*/ 2147483647 w 147"/>
                <a:gd name="T29" fmla="*/ 2147483647 h 133"/>
                <a:gd name="T30" fmla="*/ 2147483647 w 147"/>
                <a:gd name="T31" fmla="*/ 2147483647 h 133"/>
                <a:gd name="T32" fmla="*/ 2147483647 w 147"/>
                <a:gd name="T33" fmla="*/ 2147483647 h 133"/>
                <a:gd name="T34" fmla="*/ 2147483647 w 147"/>
                <a:gd name="T35" fmla="*/ 2147483647 h 133"/>
                <a:gd name="T36" fmla="*/ 2147483647 w 147"/>
                <a:gd name="T37" fmla="*/ 2147483647 h 133"/>
                <a:gd name="T38" fmla="*/ 2147483647 w 147"/>
                <a:gd name="T39" fmla="*/ 2147483647 h 133"/>
                <a:gd name="T40" fmla="*/ 2147483647 w 147"/>
                <a:gd name="T41" fmla="*/ 2147483647 h 133"/>
                <a:gd name="T42" fmla="*/ 2147483647 w 147"/>
                <a:gd name="T43" fmla="*/ 2147483647 h 133"/>
                <a:gd name="T44" fmla="*/ 2147483647 w 147"/>
                <a:gd name="T45" fmla="*/ 2147483647 h 133"/>
                <a:gd name="T46" fmla="*/ 2147483647 w 147"/>
                <a:gd name="T47" fmla="*/ 2147483647 h 133"/>
                <a:gd name="T48" fmla="*/ 2147483647 w 147"/>
                <a:gd name="T49" fmla="*/ 2147483647 h 133"/>
                <a:gd name="T50" fmla="*/ 2147483647 w 147"/>
                <a:gd name="T51" fmla="*/ 2147483647 h 133"/>
                <a:gd name="T52" fmla="*/ 2147483647 w 147"/>
                <a:gd name="T53" fmla="*/ 2147483647 h 133"/>
                <a:gd name="T54" fmla="*/ 2147483647 w 147"/>
                <a:gd name="T55" fmla="*/ 2147483647 h 133"/>
                <a:gd name="T56" fmla="*/ 2147483647 w 147"/>
                <a:gd name="T57" fmla="*/ 2147483647 h 133"/>
                <a:gd name="T58" fmla="*/ 0 w 147"/>
                <a:gd name="T59" fmla="*/ 2147483647 h 133"/>
                <a:gd name="T60" fmla="*/ 2147483647 w 147"/>
                <a:gd name="T61" fmla="*/ 2147483647 h 133"/>
                <a:gd name="T62" fmla="*/ 2147483647 w 147"/>
                <a:gd name="T63" fmla="*/ 2147483647 h 133"/>
                <a:gd name="T64" fmla="*/ 2147483647 w 147"/>
                <a:gd name="T65" fmla="*/ 2147483647 h 133"/>
                <a:gd name="T66" fmla="*/ 2147483647 w 147"/>
                <a:gd name="T67" fmla="*/ 2147483647 h 133"/>
                <a:gd name="T68" fmla="*/ 2147483647 w 147"/>
                <a:gd name="T69" fmla="*/ 2147483647 h 133"/>
                <a:gd name="T70" fmla="*/ 2147483647 w 147"/>
                <a:gd name="T71" fmla="*/ 0 h 1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7"/>
                <a:gd name="T109" fmla="*/ 0 h 133"/>
                <a:gd name="T110" fmla="*/ 147 w 147"/>
                <a:gd name="T111" fmla="*/ 133 h 1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7" h="133">
                  <a:moveTo>
                    <a:pt x="39" y="0"/>
                  </a:moveTo>
                  <a:lnTo>
                    <a:pt x="51" y="8"/>
                  </a:lnTo>
                  <a:lnTo>
                    <a:pt x="68" y="15"/>
                  </a:lnTo>
                  <a:lnTo>
                    <a:pt x="85" y="19"/>
                  </a:lnTo>
                  <a:lnTo>
                    <a:pt x="103" y="25"/>
                  </a:lnTo>
                  <a:lnTo>
                    <a:pt x="120" y="29"/>
                  </a:lnTo>
                  <a:lnTo>
                    <a:pt x="132" y="33"/>
                  </a:lnTo>
                  <a:lnTo>
                    <a:pt x="140" y="38"/>
                  </a:lnTo>
                  <a:lnTo>
                    <a:pt x="144" y="48"/>
                  </a:lnTo>
                  <a:lnTo>
                    <a:pt x="147" y="59"/>
                  </a:lnTo>
                  <a:lnTo>
                    <a:pt x="145" y="71"/>
                  </a:lnTo>
                  <a:lnTo>
                    <a:pt x="144" y="82"/>
                  </a:lnTo>
                  <a:lnTo>
                    <a:pt x="141" y="92"/>
                  </a:lnTo>
                  <a:lnTo>
                    <a:pt x="139" y="98"/>
                  </a:lnTo>
                  <a:lnTo>
                    <a:pt x="139" y="101"/>
                  </a:lnTo>
                  <a:lnTo>
                    <a:pt x="137" y="105"/>
                  </a:lnTo>
                  <a:lnTo>
                    <a:pt x="133" y="113"/>
                  </a:lnTo>
                  <a:lnTo>
                    <a:pt x="126" y="122"/>
                  </a:lnTo>
                  <a:lnTo>
                    <a:pt x="118" y="130"/>
                  </a:lnTo>
                  <a:lnTo>
                    <a:pt x="109" y="133"/>
                  </a:lnTo>
                  <a:lnTo>
                    <a:pt x="94" y="133"/>
                  </a:lnTo>
                  <a:lnTo>
                    <a:pt x="75" y="130"/>
                  </a:lnTo>
                  <a:lnTo>
                    <a:pt x="57" y="126"/>
                  </a:lnTo>
                  <a:lnTo>
                    <a:pt x="43" y="122"/>
                  </a:lnTo>
                  <a:lnTo>
                    <a:pt x="34" y="116"/>
                  </a:lnTo>
                  <a:lnTo>
                    <a:pt x="24" y="105"/>
                  </a:lnTo>
                  <a:lnTo>
                    <a:pt x="15" y="93"/>
                  </a:lnTo>
                  <a:lnTo>
                    <a:pt x="8" y="79"/>
                  </a:lnTo>
                  <a:lnTo>
                    <a:pt x="2" y="68"/>
                  </a:lnTo>
                  <a:lnTo>
                    <a:pt x="0" y="52"/>
                  </a:lnTo>
                  <a:lnTo>
                    <a:pt x="2" y="37"/>
                  </a:lnTo>
                  <a:lnTo>
                    <a:pt x="10" y="25"/>
                  </a:lnTo>
                  <a:lnTo>
                    <a:pt x="20" y="14"/>
                  </a:lnTo>
                  <a:lnTo>
                    <a:pt x="30" y="7"/>
                  </a:lnTo>
                  <a:lnTo>
                    <a:pt x="36" y="3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18" name="Freeform 2747"/>
            <p:cNvSpPr>
              <a:spLocks/>
            </p:cNvSpPr>
            <p:nvPr/>
          </p:nvSpPr>
          <p:spPr bwMode="auto">
            <a:xfrm rot="1114411" flipH="1">
              <a:off x="961804" y="4909315"/>
              <a:ext cx="81231" cy="72885"/>
            </a:xfrm>
            <a:custGeom>
              <a:avLst/>
              <a:gdLst>
                <a:gd name="T0" fmla="*/ 2147483647 w 146"/>
                <a:gd name="T1" fmla="*/ 0 h 131"/>
                <a:gd name="T2" fmla="*/ 2147483647 w 146"/>
                <a:gd name="T3" fmla="*/ 2147483647 h 131"/>
                <a:gd name="T4" fmla="*/ 2147483647 w 146"/>
                <a:gd name="T5" fmla="*/ 2147483647 h 131"/>
                <a:gd name="T6" fmla="*/ 2147483647 w 146"/>
                <a:gd name="T7" fmla="*/ 2147483647 h 131"/>
                <a:gd name="T8" fmla="*/ 2147483647 w 146"/>
                <a:gd name="T9" fmla="*/ 2147483647 h 131"/>
                <a:gd name="T10" fmla="*/ 2147483647 w 146"/>
                <a:gd name="T11" fmla="*/ 2147483647 h 131"/>
                <a:gd name="T12" fmla="*/ 2147483647 w 146"/>
                <a:gd name="T13" fmla="*/ 2147483647 h 131"/>
                <a:gd name="T14" fmla="*/ 2147483647 w 146"/>
                <a:gd name="T15" fmla="*/ 2147483647 h 131"/>
                <a:gd name="T16" fmla="*/ 2147483647 w 146"/>
                <a:gd name="T17" fmla="*/ 2147483647 h 131"/>
                <a:gd name="T18" fmla="*/ 2147483647 w 146"/>
                <a:gd name="T19" fmla="*/ 2147483647 h 131"/>
                <a:gd name="T20" fmla="*/ 2147483647 w 146"/>
                <a:gd name="T21" fmla="*/ 2147483647 h 131"/>
                <a:gd name="T22" fmla="*/ 2147483647 w 146"/>
                <a:gd name="T23" fmla="*/ 2147483647 h 131"/>
                <a:gd name="T24" fmla="*/ 2147483647 w 146"/>
                <a:gd name="T25" fmla="*/ 2147483647 h 131"/>
                <a:gd name="T26" fmla="*/ 2147483647 w 146"/>
                <a:gd name="T27" fmla="*/ 2147483647 h 131"/>
                <a:gd name="T28" fmla="*/ 2147483647 w 146"/>
                <a:gd name="T29" fmla="*/ 2147483647 h 131"/>
                <a:gd name="T30" fmla="*/ 2147483647 w 146"/>
                <a:gd name="T31" fmla="*/ 2147483647 h 131"/>
                <a:gd name="T32" fmla="*/ 2147483647 w 146"/>
                <a:gd name="T33" fmla="*/ 2147483647 h 131"/>
                <a:gd name="T34" fmla="*/ 2147483647 w 146"/>
                <a:gd name="T35" fmla="*/ 2147483647 h 131"/>
                <a:gd name="T36" fmla="*/ 2147483647 w 146"/>
                <a:gd name="T37" fmla="*/ 2147483647 h 131"/>
                <a:gd name="T38" fmla="*/ 2147483647 w 146"/>
                <a:gd name="T39" fmla="*/ 2147483647 h 131"/>
                <a:gd name="T40" fmla="*/ 2147483647 w 146"/>
                <a:gd name="T41" fmla="*/ 2147483647 h 131"/>
                <a:gd name="T42" fmla="*/ 2147483647 w 146"/>
                <a:gd name="T43" fmla="*/ 2147483647 h 131"/>
                <a:gd name="T44" fmla="*/ 2147483647 w 146"/>
                <a:gd name="T45" fmla="*/ 2147483647 h 131"/>
                <a:gd name="T46" fmla="*/ 2147483647 w 146"/>
                <a:gd name="T47" fmla="*/ 2147483647 h 131"/>
                <a:gd name="T48" fmla="*/ 2147483647 w 146"/>
                <a:gd name="T49" fmla="*/ 2147483647 h 131"/>
                <a:gd name="T50" fmla="*/ 2147483647 w 146"/>
                <a:gd name="T51" fmla="*/ 2147483647 h 131"/>
                <a:gd name="T52" fmla="*/ 2147483647 w 146"/>
                <a:gd name="T53" fmla="*/ 2147483647 h 131"/>
                <a:gd name="T54" fmla="*/ 2147483647 w 146"/>
                <a:gd name="T55" fmla="*/ 2147483647 h 131"/>
                <a:gd name="T56" fmla="*/ 2147483647 w 146"/>
                <a:gd name="T57" fmla="*/ 2147483647 h 131"/>
                <a:gd name="T58" fmla="*/ 0 w 146"/>
                <a:gd name="T59" fmla="*/ 2147483647 h 131"/>
                <a:gd name="T60" fmla="*/ 2147483647 w 146"/>
                <a:gd name="T61" fmla="*/ 2147483647 h 131"/>
                <a:gd name="T62" fmla="*/ 2147483647 w 146"/>
                <a:gd name="T63" fmla="*/ 2147483647 h 131"/>
                <a:gd name="T64" fmla="*/ 2147483647 w 146"/>
                <a:gd name="T65" fmla="*/ 2147483647 h 131"/>
                <a:gd name="T66" fmla="*/ 2147483647 w 146"/>
                <a:gd name="T67" fmla="*/ 2147483647 h 131"/>
                <a:gd name="T68" fmla="*/ 2147483647 w 146"/>
                <a:gd name="T69" fmla="*/ 2147483647 h 131"/>
                <a:gd name="T70" fmla="*/ 2147483647 w 146"/>
                <a:gd name="T71" fmla="*/ 0 h 13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6"/>
                <a:gd name="T109" fmla="*/ 0 h 131"/>
                <a:gd name="T110" fmla="*/ 146 w 146"/>
                <a:gd name="T111" fmla="*/ 131 h 13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6" h="131">
                  <a:moveTo>
                    <a:pt x="39" y="0"/>
                  </a:moveTo>
                  <a:lnTo>
                    <a:pt x="52" y="7"/>
                  </a:lnTo>
                  <a:lnTo>
                    <a:pt x="68" y="14"/>
                  </a:lnTo>
                  <a:lnTo>
                    <a:pt x="86" y="20"/>
                  </a:lnTo>
                  <a:lnTo>
                    <a:pt x="103" y="24"/>
                  </a:lnTo>
                  <a:lnTo>
                    <a:pt x="120" y="28"/>
                  </a:lnTo>
                  <a:lnTo>
                    <a:pt x="132" y="32"/>
                  </a:lnTo>
                  <a:lnTo>
                    <a:pt x="140" y="37"/>
                  </a:lnTo>
                  <a:lnTo>
                    <a:pt x="144" y="47"/>
                  </a:lnTo>
                  <a:lnTo>
                    <a:pt x="146" y="58"/>
                  </a:lnTo>
                  <a:lnTo>
                    <a:pt x="146" y="70"/>
                  </a:lnTo>
                  <a:lnTo>
                    <a:pt x="143" y="81"/>
                  </a:lnTo>
                  <a:lnTo>
                    <a:pt x="142" y="90"/>
                  </a:lnTo>
                  <a:lnTo>
                    <a:pt x="139" y="97"/>
                  </a:lnTo>
                  <a:lnTo>
                    <a:pt x="139" y="100"/>
                  </a:lnTo>
                  <a:lnTo>
                    <a:pt x="136" y="104"/>
                  </a:lnTo>
                  <a:lnTo>
                    <a:pt x="132" y="112"/>
                  </a:lnTo>
                  <a:lnTo>
                    <a:pt x="127" y="120"/>
                  </a:lnTo>
                  <a:lnTo>
                    <a:pt x="118" y="129"/>
                  </a:lnTo>
                  <a:lnTo>
                    <a:pt x="109" y="131"/>
                  </a:lnTo>
                  <a:lnTo>
                    <a:pt x="93" y="131"/>
                  </a:lnTo>
                  <a:lnTo>
                    <a:pt x="75" y="129"/>
                  </a:lnTo>
                  <a:lnTo>
                    <a:pt x="57" y="125"/>
                  </a:lnTo>
                  <a:lnTo>
                    <a:pt x="43" y="120"/>
                  </a:lnTo>
                  <a:lnTo>
                    <a:pt x="34" y="115"/>
                  </a:lnTo>
                  <a:lnTo>
                    <a:pt x="24" y="105"/>
                  </a:lnTo>
                  <a:lnTo>
                    <a:pt x="15" y="92"/>
                  </a:lnTo>
                  <a:lnTo>
                    <a:pt x="7" y="80"/>
                  </a:lnTo>
                  <a:lnTo>
                    <a:pt x="1" y="67"/>
                  </a:lnTo>
                  <a:lnTo>
                    <a:pt x="0" y="51"/>
                  </a:lnTo>
                  <a:lnTo>
                    <a:pt x="3" y="36"/>
                  </a:lnTo>
                  <a:lnTo>
                    <a:pt x="11" y="24"/>
                  </a:lnTo>
                  <a:lnTo>
                    <a:pt x="20" y="14"/>
                  </a:lnTo>
                  <a:lnTo>
                    <a:pt x="30" y="6"/>
                  </a:lnTo>
                  <a:lnTo>
                    <a:pt x="37" y="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19" name="Freeform 2748"/>
            <p:cNvSpPr>
              <a:spLocks/>
            </p:cNvSpPr>
            <p:nvPr/>
          </p:nvSpPr>
          <p:spPr bwMode="auto">
            <a:xfrm rot="1114411" flipH="1">
              <a:off x="1840990" y="4678058"/>
              <a:ext cx="127410" cy="61201"/>
            </a:xfrm>
            <a:custGeom>
              <a:avLst/>
              <a:gdLst>
                <a:gd name="T0" fmla="*/ 2147483647 w 229"/>
                <a:gd name="T1" fmla="*/ 0 h 110"/>
                <a:gd name="T2" fmla="*/ 2147483647 w 229"/>
                <a:gd name="T3" fmla="*/ 2147483647 h 110"/>
                <a:gd name="T4" fmla="*/ 2147483647 w 229"/>
                <a:gd name="T5" fmla="*/ 2147483647 h 110"/>
                <a:gd name="T6" fmla="*/ 2147483647 w 229"/>
                <a:gd name="T7" fmla="*/ 2147483647 h 110"/>
                <a:gd name="T8" fmla="*/ 2147483647 w 229"/>
                <a:gd name="T9" fmla="*/ 2147483647 h 110"/>
                <a:gd name="T10" fmla="*/ 2147483647 w 229"/>
                <a:gd name="T11" fmla="*/ 2147483647 h 110"/>
                <a:gd name="T12" fmla="*/ 2147483647 w 229"/>
                <a:gd name="T13" fmla="*/ 2147483647 h 110"/>
                <a:gd name="T14" fmla="*/ 2147483647 w 229"/>
                <a:gd name="T15" fmla="*/ 2147483647 h 110"/>
                <a:gd name="T16" fmla="*/ 2147483647 w 229"/>
                <a:gd name="T17" fmla="*/ 2147483647 h 110"/>
                <a:gd name="T18" fmla="*/ 2147483647 w 229"/>
                <a:gd name="T19" fmla="*/ 2147483647 h 110"/>
                <a:gd name="T20" fmla="*/ 2147483647 w 229"/>
                <a:gd name="T21" fmla="*/ 2147483647 h 110"/>
                <a:gd name="T22" fmla="*/ 2147483647 w 229"/>
                <a:gd name="T23" fmla="*/ 2147483647 h 110"/>
                <a:gd name="T24" fmla="*/ 2147483647 w 229"/>
                <a:gd name="T25" fmla="*/ 2147483647 h 110"/>
                <a:gd name="T26" fmla="*/ 2147483647 w 229"/>
                <a:gd name="T27" fmla="*/ 2147483647 h 110"/>
                <a:gd name="T28" fmla="*/ 2147483647 w 229"/>
                <a:gd name="T29" fmla="*/ 2147483647 h 110"/>
                <a:gd name="T30" fmla="*/ 2147483647 w 229"/>
                <a:gd name="T31" fmla="*/ 2147483647 h 110"/>
                <a:gd name="T32" fmla="*/ 2147483647 w 229"/>
                <a:gd name="T33" fmla="*/ 2147483647 h 110"/>
                <a:gd name="T34" fmla="*/ 2147483647 w 229"/>
                <a:gd name="T35" fmla="*/ 2147483647 h 110"/>
                <a:gd name="T36" fmla="*/ 2147483647 w 229"/>
                <a:gd name="T37" fmla="*/ 2147483647 h 110"/>
                <a:gd name="T38" fmla="*/ 2147483647 w 229"/>
                <a:gd name="T39" fmla="*/ 2147483647 h 110"/>
                <a:gd name="T40" fmla="*/ 2147483647 w 229"/>
                <a:gd name="T41" fmla="*/ 2147483647 h 110"/>
                <a:gd name="T42" fmla="*/ 2147483647 w 229"/>
                <a:gd name="T43" fmla="*/ 2147483647 h 110"/>
                <a:gd name="T44" fmla="*/ 2147483647 w 229"/>
                <a:gd name="T45" fmla="*/ 2147483647 h 110"/>
                <a:gd name="T46" fmla="*/ 2147483647 w 229"/>
                <a:gd name="T47" fmla="*/ 2147483647 h 110"/>
                <a:gd name="T48" fmla="*/ 0 w 229"/>
                <a:gd name="T49" fmla="*/ 2147483647 h 110"/>
                <a:gd name="T50" fmla="*/ 2147483647 w 229"/>
                <a:gd name="T51" fmla="*/ 2147483647 h 110"/>
                <a:gd name="T52" fmla="*/ 2147483647 w 229"/>
                <a:gd name="T53" fmla="*/ 2147483647 h 110"/>
                <a:gd name="T54" fmla="*/ 2147483647 w 229"/>
                <a:gd name="T55" fmla="*/ 2147483647 h 110"/>
                <a:gd name="T56" fmla="*/ 2147483647 w 229"/>
                <a:gd name="T57" fmla="*/ 2147483647 h 110"/>
                <a:gd name="T58" fmla="*/ 2147483647 w 229"/>
                <a:gd name="T59" fmla="*/ 2147483647 h 110"/>
                <a:gd name="T60" fmla="*/ 2147483647 w 229"/>
                <a:gd name="T61" fmla="*/ 2147483647 h 110"/>
                <a:gd name="T62" fmla="*/ 2147483647 w 229"/>
                <a:gd name="T63" fmla="*/ 2147483647 h 110"/>
                <a:gd name="T64" fmla="*/ 2147483647 w 229"/>
                <a:gd name="T65" fmla="*/ 2147483647 h 110"/>
                <a:gd name="T66" fmla="*/ 2147483647 w 229"/>
                <a:gd name="T67" fmla="*/ 2147483647 h 110"/>
                <a:gd name="T68" fmla="*/ 2147483647 w 229"/>
                <a:gd name="T69" fmla="*/ 2147483647 h 110"/>
                <a:gd name="T70" fmla="*/ 2147483647 w 229"/>
                <a:gd name="T71" fmla="*/ 2147483647 h 110"/>
                <a:gd name="T72" fmla="*/ 2147483647 w 229"/>
                <a:gd name="T73" fmla="*/ 2147483647 h 110"/>
                <a:gd name="T74" fmla="*/ 2147483647 w 229"/>
                <a:gd name="T75" fmla="*/ 2147483647 h 110"/>
                <a:gd name="T76" fmla="*/ 2147483647 w 229"/>
                <a:gd name="T77" fmla="*/ 2147483647 h 110"/>
                <a:gd name="T78" fmla="*/ 2147483647 w 229"/>
                <a:gd name="T79" fmla="*/ 2147483647 h 110"/>
                <a:gd name="T80" fmla="*/ 2147483647 w 229"/>
                <a:gd name="T81" fmla="*/ 2147483647 h 110"/>
                <a:gd name="T82" fmla="*/ 2147483647 w 229"/>
                <a:gd name="T83" fmla="*/ 2147483647 h 110"/>
                <a:gd name="T84" fmla="*/ 2147483647 w 229"/>
                <a:gd name="T85" fmla="*/ 2147483647 h 110"/>
                <a:gd name="T86" fmla="*/ 2147483647 w 229"/>
                <a:gd name="T87" fmla="*/ 2147483647 h 110"/>
                <a:gd name="T88" fmla="*/ 2147483647 w 229"/>
                <a:gd name="T89" fmla="*/ 2147483647 h 110"/>
                <a:gd name="T90" fmla="*/ 2147483647 w 229"/>
                <a:gd name="T91" fmla="*/ 2147483647 h 110"/>
                <a:gd name="T92" fmla="*/ 2147483647 w 229"/>
                <a:gd name="T93" fmla="*/ 2147483647 h 110"/>
                <a:gd name="T94" fmla="*/ 2147483647 w 229"/>
                <a:gd name="T95" fmla="*/ 0 h 11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9"/>
                <a:gd name="T145" fmla="*/ 0 h 110"/>
                <a:gd name="T146" fmla="*/ 229 w 229"/>
                <a:gd name="T147" fmla="*/ 110 h 11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9" h="110">
                  <a:moveTo>
                    <a:pt x="192" y="0"/>
                  </a:moveTo>
                  <a:lnTo>
                    <a:pt x="202" y="2"/>
                  </a:lnTo>
                  <a:lnTo>
                    <a:pt x="210" y="3"/>
                  </a:lnTo>
                  <a:lnTo>
                    <a:pt x="218" y="7"/>
                  </a:lnTo>
                  <a:lnTo>
                    <a:pt x="225" y="13"/>
                  </a:lnTo>
                  <a:lnTo>
                    <a:pt x="229" y="22"/>
                  </a:lnTo>
                  <a:lnTo>
                    <a:pt x="229" y="33"/>
                  </a:lnTo>
                  <a:lnTo>
                    <a:pt x="226" y="48"/>
                  </a:lnTo>
                  <a:lnTo>
                    <a:pt x="218" y="66"/>
                  </a:lnTo>
                  <a:lnTo>
                    <a:pt x="206" y="85"/>
                  </a:lnTo>
                  <a:lnTo>
                    <a:pt x="191" y="99"/>
                  </a:lnTo>
                  <a:lnTo>
                    <a:pt x="175" y="107"/>
                  </a:lnTo>
                  <a:lnTo>
                    <a:pt x="158" y="110"/>
                  </a:lnTo>
                  <a:lnTo>
                    <a:pt x="141" y="110"/>
                  </a:lnTo>
                  <a:lnTo>
                    <a:pt x="124" y="107"/>
                  </a:lnTo>
                  <a:lnTo>
                    <a:pt x="109" y="103"/>
                  </a:lnTo>
                  <a:lnTo>
                    <a:pt x="97" y="99"/>
                  </a:lnTo>
                  <a:lnTo>
                    <a:pt x="86" y="93"/>
                  </a:lnTo>
                  <a:lnTo>
                    <a:pt x="81" y="91"/>
                  </a:lnTo>
                  <a:lnTo>
                    <a:pt x="78" y="89"/>
                  </a:lnTo>
                  <a:lnTo>
                    <a:pt x="75" y="86"/>
                  </a:lnTo>
                  <a:lnTo>
                    <a:pt x="66" y="82"/>
                  </a:lnTo>
                  <a:lnTo>
                    <a:pt x="51" y="74"/>
                  </a:lnTo>
                  <a:lnTo>
                    <a:pt x="29" y="65"/>
                  </a:lnTo>
                  <a:lnTo>
                    <a:pt x="0" y="55"/>
                  </a:lnTo>
                  <a:lnTo>
                    <a:pt x="1" y="51"/>
                  </a:lnTo>
                  <a:lnTo>
                    <a:pt x="7" y="44"/>
                  </a:lnTo>
                  <a:lnTo>
                    <a:pt x="16" y="35"/>
                  </a:lnTo>
                  <a:lnTo>
                    <a:pt x="30" y="25"/>
                  </a:lnTo>
                  <a:lnTo>
                    <a:pt x="45" y="17"/>
                  </a:lnTo>
                  <a:lnTo>
                    <a:pt x="63" y="14"/>
                  </a:lnTo>
                  <a:lnTo>
                    <a:pt x="76" y="14"/>
                  </a:lnTo>
                  <a:lnTo>
                    <a:pt x="85" y="17"/>
                  </a:lnTo>
                  <a:lnTo>
                    <a:pt x="93" y="20"/>
                  </a:lnTo>
                  <a:lnTo>
                    <a:pt x="100" y="22"/>
                  </a:lnTo>
                  <a:lnTo>
                    <a:pt x="108" y="25"/>
                  </a:lnTo>
                  <a:lnTo>
                    <a:pt x="120" y="25"/>
                  </a:lnTo>
                  <a:lnTo>
                    <a:pt x="138" y="24"/>
                  </a:lnTo>
                  <a:lnTo>
                    <a:pt x="151" y="21"/>
                  </a:lnTo>
                  <a:lnTo>
                    <a:pt x="161" y="17"/>
                  </a:lnTo>
                  <a:lnTo>
                    <a:pt x="166" y="11"/>
                  </a:lnTo>
                  <a:lnTo>
                    <a:pt x="169" y="7"/>
                  </a:lnTo>
                  <a:lnTo>
                    <a:pt x="171" y="5"/>
                  </a:lnTo>
                  <a:lnTo>
                    <a:pt x="171" y="3"/>
                  </a:lnTo>
                  <a:lnTo>
                    <a:pt x="172" y="2"/>
                  </a:lnTo>
                  <a:lnTo>
                    <a:pt x="177" y="2"/>
                  </a:lnTo>
                  <a:lnTo>
                    <a:pt x="184" y="2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0" name="Freeform 2749"/>
            <p:cNvSpPr>
              <a:spLocks/>
            </p:cNvSpPr>
            <p:nvPr/>
          </p:nvSpPr>
          <p:spPr bwMode="auto">
            <a:xfrm rot="1114411" flipH="1">
              <a:off x="984133" y="4551935"/>
              <a:ext cx="208641" cy="134087"/>
            </a:xfrm>
            <a:custGeom>
              <a:avLst/>
              <a:gdLst>
                <a:gd name="T0" fmla="*/ 2147483647 w 375"/>
                <a:gd name="T1" fmla="*/ 2147483647 h 241"/>
                <a:gd name="T2" fmla="*/ 2147483647 w 375"/>
                <a:gd name="T3" fmla="*/ 2147483647 h 241"/>
                <a:gd name="T4" fmla="*/ 2147483647 w 375"/>
                <a:gd name="T5" fmla="*/ 2147483647 h 241"/>
                <a:gd name="T6" fmla="*/ 2147483647 w 375"/>
                <a:gd name="T7" fmla="*/ 2147483647 h 241"/>
                <a:gd name="T8" fmla="*/ 2147483647 w 375"/>
                <a:gd name="T9" fmla="*/ 2147483647 h 241"/>
                <a:gd name="T10" fmla="*/ 2147483647 w 375"/>
                <a:gd name="T11" fmla="*/ 2147483647 h 241"/>
                <a:gd name="T12" fmla="*/ 2147483647 w 375"/>
                <a:gd name="T13" fmla="*/ 2147483647 h 241"/>
                <a:gd name="T14" fmla="*/ 2147483647 w 375"/>
                <a:gd name="T15" fmla="*/ 2147483647 h 241"/>
                <a:gd name="T16" fmla="*/ 2147483647 w 375"/>
                <a:gd name="T17" fmla="*/ 2147483647 h 241"/>
                <a:gd name="T18" fmla="*/ 2147483647 w 375"/>
                <a:gd name="T19" fmla="*/ 2147483647 h 241"/>
                <a:gd name="T20" fmla="*/ 2147483647 w 375"/>
                <a:gd name="T21" fmla="*/ 2147483647 h 241"/>
                <a:gd name="T22" fmla="*/ 2147483647 w 375"/>
                <a:gd name="T23" fmla="*/ 2147483647 h 241"/>
                <a:gd name="T24" fmla="*/ 2147483647 w 375"/>
                <a:gd name="T25" fmla="*/ 2147483647 h 241"/>
                <a:gd name="T26" fmla="*/ 2147483647 w 375"/>
                <a:gd name="T27" fmla="*/ 2147483647 h 241"/>
                <a:gd name="T28" fmla="*/ 2147483647 w 375"/>
                <a:gd name="T29" fmla="*/ 2147483647 h 241"/>
                <a:gd name="T30" fmla="*/ 2147483647 w 375"/>
                <a:gd name="T31" fmla="*/ 2147483647 h 241"/>
                <a:gd name="T32" fmla="*/ 2147483647 w 375"/>
                <a:gd name="T33" fmla="*/ 2147483647 h 241"/>
                <a:gd name="T34" fmla="*/ 2147483647 w 375"/>
                <a:gd name="T35" fmla="*/ 2147483647 h 241"/>
                <a:gd name="T36" fmla="*/ 2147483647 w 375"/>
                <a:gd name="T37" fmla="*/ 2147483647 h 241"/>
                <a:gd name="T38" fmla="*/ 2147483647 w 375"/>
                <a:gd name="T39" fmla="*/ 2147483647 h 241"/>
                <a:gd name="T40" fmla="*/ 2147483647 w 375"/>
                <a:gd name="T41" fmla="*/ 2147483647 h 241"/>
                <a:gd name="T42" fmla="*/ 2147483647 w 375"/>
                <a:gd name="T43" fmla="*/ 2147483647 h 241"/>
                <a:gd name="T44" fmla="*/ 2147483647 w 375"/>
                <a:gd name="T45" fmla="*/ 2147483647 h 241"/>
                <a:gd name="T46" fmla="*/ 2147483647 w 375"/>
                <a:gd name="T47" fmla="*/ 2147483647 h 241"/>
                <a:gd name="T48" fmla="*/ 2147483647 w 375"/>
                <a:gd name="T49" fmla="*/ 2147483647 h 241"/>
                <a:gd name="T50" fmla="*/ 2147483647 w 375"/>
                <a:gd name="T51" fmla="*/ 2147483647 h 241"/>
                <a:gd name="T52" fmla="*/ 2147483647 w 375"/>
                <a:gd name="T53" fmla="*/ 2147483647 h 241"/>
                <a:gd name="T54" fmla="*/ 2147483647 w 375"/>
                <a:gd name="T55" fmla="*/ 2147483647 h 241"/>
                <a:gd name="T56" fmla="*/ 2147483647 w 375"/>
                <a:gd name="T57" fmla="*/ 2147483647 h 241"/>
                <a:gd name="T58" fmla="*/ 0 w 375"/>
                <a:gd name="T59" fmla="*/ 2147483647 h 241"/>
                <a:gd name="T60" fmla="*/ 2147483647 w 375"/>
                <a:gd name="T61" fmla="*/ 2147483647 h 241"/>
                <a:gd name="T62" fmla="*/ 2147483647 w 375"/>
                <a:gd name="T63" fmla="*/ 2147483647 h 241"/>
                <a:gd name="T64" fmla="*/ 2147483647 w 375"/>
                <a:gd name="T65" fmla="*/ 2147483647 h 241"/>
                <a:gd name="T66" fmla="*/ 2147483647 w 375"/>
                <a:gd name="T67" fmla="*/ 2147483647 h 241"/>
                <a:gd name="T68" fmla="*/ 2147483647 w 375"/>
                <a:gd name="T69" fmla="*/ 2147483647 h 241"/>
                <a:gd name="T70" fmla="*/ 2147483647 w 375"/>
                <a:gd name="T71" fmla="*/ 2147483647 h 241"/>
                <a:gd name="T72" fmla="*/ 2147483647 w 375"/>
                <a:gd name="T73" fmla="*/ 2147483647 h 241"/>
                <a:gd name="T74" fmla="*/ 2147483647 w 375"/>
                <a:gd name="T75" fmla="*/ 2147483647 h 241"/>
                <a:gd name="T76" fmla="*/ 2147483647 w 375"/>
                <a:gd name="T77" fmla="*/ 2147483647 h 241"/>
                <a:gd name="T78" fmla="*/ 2147483647 w 375"/>
                <a:gd name="T79" fmla="*/ 2147483647 h 241"/>
                <a:gd name="T80" fmla="*/ 2147483647 w 375"/>
                <a:gd name="T81" fmla="*/ 2147483647 h 241"/>
                <a:gd name="T82" fmla="*/ 2147483647 w 375"/>
                <a:gd name="T83" fmla="*/ 2147483647 h 241"/>
                <a:gd name="T84" fmla="*/ 2147483647 w 375"/>
                <a:gd name="T85" fmla="*/ 2147483647 h 241"/>
                <a:gd name="T86" fmla="*/ 2147483647 w 375"/>
                <a:gd name="T87" fmla="*/ 2147483647 h 241"/>
                <a:gd name="T88" fmla="*/ 2147483647 w 375"/>
                <a:gd name="T89" fmla="*/ 2147483647 h 241"/>
                <a:gd name="T90" fmla="*/ 2147483647 w 375"/>
                <a:gd name="T91" fmla="*/ 2147483647 h 241"/>
                <a:gd name="T92" fmla="*/ 2147483647 w 375"/>
                <a:gd name="T93" fmla="*/ 2147483647 h 241"/>
                <a:gd name="T94" fmla="*/ 2147483647 w 375"/>
                <a:gd name="T95" fmla="*/ 2147483647 h 241"/>
                <a:gd name="T96" fmla="*/ 2147483647 w 375"/>
                <a:gd name="T97" fmla="*/ 2147483647 h 241"/>
                <a:gd name="T98" fmla="*/ 2147483647 w 375"/>
                <a:gd name="T99" fmla="*/ 2147483647 h 241"/>
                <a:gd name="T100" fmla="*/ 2147483647 w 375"/>
                <a:gd name="T101" fmla="*/ 2147483647 h 241"/>
                <a:gd name="T102" fmla="*/ 2147483647 w 375"/>
                <a:gd name="T103" fmla="*/ 0 h 24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75"/>
                <a:gd name="T157" fmla="*/ 0 h 241"/>
                <a:gd name="T158" fmla="*/ 375 w 375"/>
                <a:gd name="T159" fmla="*/ 241 h 24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75" h="241">
                  <a:moveTo>
                    <a:pt x="306" y="0"/>
                  </a:moveTo>
                  <a:lnTo>
                    <a:pt x="319" y="1"/>
                  </a:lnTo>
                  <a:lnTo>
                    <a:pt x="333" y="8"/>
                  </a:lnTo>
                  <a:lnTo>
                    <a:pt x="340" y="12"/>
                  </a:lnTo>
                  <a:lnTo>
                    <a:pt x="349" y="15"/>
                  </a:lnTo>
                  <a:lnTo>
                    <a:pt x="356" y="18"/>
                  </a:lnTo>
                  <a:lnTo>
                    <a:pt x="359" y="18"/>
                  </a:lnTo>
                  <a:lnTo>
                    <a:pt x="360" y="19"/>
                  </a:lnTo>
                  <a:lnTo>
                    <a:pt x="364" y="20"/>
                  </a:lnTo>
                  <a:lnTo>
                    <a:pt x="370" y="23"/>
                  </a:lnTo>
                  <a:lnTo>
                    <a:pt x="374" y="28"/>
                  </a:lnTo>
                  <a:lnTo>
                    <a:pt x="375" y="35"/>
                  </a:lnTo>
                  <a:lnTo>
                    <a:pt x="372" y="45"/>
                  </a:lnTo>
                  <a:lnTo>
                    <a:pt x="364" y="56"/>
                  </a:lnTo>
                  <a:lnTo>
                    <a:pt x="352" y="73"/>
                  </a:lnTo>
                  <a:lnTo>
                    <a:pt x="344" y="87"/>
                  </a:lnTo>
                  <a:lnTo>
                    <a:pt x="340" y="98"/>
                  </a:lnTo>
                  <a:lnTo>
                    <a:pt x="338" y="106"/>
                  </a:lnTo>
                  <a:lnTo>
                    <a:pt x="338" y="108"/>
                  </a:lnTo>
                  <a:lnTo>
                    <a:pt x="337" y="110"/>
                  </a:lnTo>
                  <a:lnTo>
                    <a:pt x="333" y="118"/>
                  </a:lnTo>
                  <a:lnTo>
                    <a:pt x="325" y="128"/>
                  </a:lnTo>
                  <a:lnTo>
                    <a:pt x="315" y="138"/>
                  </a:lnTo>
                  <a:lnTo>
                    <a:pt x="302" y="147"/>
                  </a:lnTo>
                  <a:lnTo>
                    <a:pt x="285" y="151"/>
                  </a:lnTo>
                  <a:lnTo>
                    <a:pt x="266" y="151"/>
                  </a:lnTo>
                  <a:lnTo>
                    <a:pt x="244" y="147"/>
                  </a:lnTo>
                  <a:lnTo>
                    <a:pt x="229" y="147"/>
                  </a:lnTo>
                  <a:lnTo>
                    <a:pt x="220" y="148"/>
                  </a:lnTo>
                  <a:lnTo>
                    <a:pt x="213" y="153"/>
                  </a:lnTo>
                  <a:lnTo>
                    <a:pt x="212" y="158"/>
                  </a:lnTo>
                  <a:lnTo>
                    <a:pt x="210" y="165"/>
                  </a:lnTo>
                  <a:lnTo>
                    <a:pt x="213" y="172"/>
                  </a:lnTo>
                  <a:lnTo>
                    <a:pt x="214" y="178"/>
                  </a:lnTo>
                  <a:lnTo>
                    <a:pt x="216" y="184"/>
                  </a:lnTo>
                  <a:lnTo>
                    <a:pt x="214" y="187"/>
                  </a:lnTo>
                  <a:lnTo>
                    <a:pt x="209" y="189"/>
                  </a:lnTo>
                  <a:lnTo>
                    <a:pt x="198" y="191"/>
                  </a:lnTo>
                  <a:lnTo>
                    <a:pt x="182" y="191"/>
                  </a:lnTo>
                  <a:lnTo>
                    <a:pt x="167" y="189"/>
                  </a:lnTo>
                  <a:lnTo>
                    <a:pt x="153" y="189"/>
                  </a:lnTo>
                  <a:lnTo>
                    <a:pt x="143" y="192"/>
                  </a:lnTo>
                  <a:lnTo>
                    <a:pt x="138" y="198"/>
                  </a:lnTo>
                  <a:lnTo>
                    <a:pt x="131" y="206"/>
                  </a:lnTo>
                  <a:lnTo>
                    <a:pt x="120" y="215"/>
                  </a:lnTo>
                  <a:lnTo>
                    <a:pt x="105" y="224"/>
                  </a:lnTo>
                  <a:lnTo>
                    <a:pt x="89" y="230"/>
                  </a:lnTo>
                  <a:lnTo>
                    <a:pt x="70" y="232"/>
                  </a:lnTo>
                  <a:lnTo>
                    <a:pt x="52" y="230"/>
                  </a:lnTo>
                  <a:lnTo>
                    <a:pt x="42" y="232"/>
                  </a:lnTo>
                  <a:lnTo>
                    <a:pt x="37" y="233"/>
                  </a:lnTo>
                  <a:lnTo>
                    <a:pt x="34" y="236"/>
                  </a:lnTo>
                  <a:lnTo>
                    <a:pt x="33" y="239"/>
                  </a:lnTo>
                  <a:lnTo>
                    <a:pt x="29" y="241"/>
                  </a:lnTo>
                  <a:lnTo>
                    <a:pt x="22" y="241"/>
                  </a:lnTo>
                  <a:lnTo>
                    <a:pt x="14" y="240"/>
                  </a:lnTo>
                  <a:lnTo>
                    <a:pt x="6" y="233"/>
                  </a:lnTo>
                  <a:lnTo>
                    <a:pt x="2" y="225"/>
                  </a:lnTo>
                  <a:lnTo>
                    <a:pt x="0" y="215"/>
                  </a:lnTo>
                  <a:lnTo>
                    <a:pt x="0" y="206"/>
                  </a:lnTo>
                  <a:lnTo>
                    <a:pt x="2" y="199"/>
                  </a:lnTo>
                  <a:lnTo>
                    <a:pt x="2" y="196"/>
                  </a:lnTo>
                  <a:lnTo>
                    <a:pt x="3" y="196"/>
                  </a:lnTo>
                  <a:lnTo>
                    <a:pt x="6" y="195"/>
                  </a:lnTo>
                  <a:lnTo>
                    <a:pt x="8" y="193"/>
                  </a:lnTo>
                  <a:lnTo>
                    <a:pt x="11" y="191"/>
                  </a:lnTo>
                  <a:lnTo>
                    <a:pt x="14" y="188"/>
                  </a:lnTo>
                  <a:lnTo>
                    <a:pt x="15" y="183"/>
                  </a:lnTo>
                  <a:lnTo>
                    <a:pt x="19" y="176"/>
                  </a:lnTo>
                  <a:lnTo>
                    <a:pt x="27" y="169"/>
                  </a:lnTo>
                  <a:lnTo>
                    <a:pt x="37" y="162"/>
                  </a:lnTo>
                  <a:lnTo>
                    <a:pt x="47" y="155"/>
                  </a:lnTo>
                  <a:lnTo>
                    <a:pt x="56" y="151"/>
                  </a:lnTo>
                  <a:lnTo>
                    <a:pt x="62" y="150"/>
                  </a:lnTo>
                  <a:lnTo>
                    <a:pt x="70" y="147"/>
                  </a:lnTo>
                  <a:lnTo>
                    <a:pt x="81" y="143"/>
                  </a:lnTo>
                  <a:lnTo>
                    <a:pt x="92" y="138"/>
                  </a:lnTo>
                  <a:lnTo>
                    <a:pt x="96" y="129"/>
                  </a:lnTo>
                  <a:lnTo>
                    <a:pt x="100" y="125"/>
                  </a:lnTo>
                  <a:lnTo>
                    <a:pt x="109" y="120"/>
                  </a:lnTo>
                  <a:lnTo>
                    <a:pt x="124" y="113"/>
                  </a:lnTo>
                  <a:lnTo>
                    <a:pt x="141" y="106"/>
                  </a:lnTo>
                  <a:lnTo>
                    <a:pt x="158" y="101"/>
                  </a:lnTo>
                  <a:lnTo>
                    <a:pt x="176" y="97"/>
                  </a:lnTo>
                  <a:lnTo>
                    <a:pt x="192" y="94"/>
                  </a:lnTo>
                  <a:lnTo>
                    <a:pt x="206" y="94"/>
                  </a:lnTo>
                  <a:lnTo>
                    <a:pt x="218" y="95"/>
                  </a:lnTo>
                  <a:lnTo>
                    <a:pt x="227" y="94"/>
                  </a:lnTo>
                  <a:lnTo>
                    <a:pt x="232" y="91"/>
                  </a:lnTo>
                  <a:lnTo>
                    <a:pt x="235" y="87"/>
                  </a:lnTo>
                  <a:lnTo>
                    <a:pt x="236" y="84"/>
                  </a:lnTo>
                  <a:lnTo>
                    <a:pt x="236" y="83"/>
                  </a:lnTo>
                  <a:lnTo>
                    <a:pt x="235" y="79"/>
                  </a:lnTo>
                  <a:lnTo>
                    <a:pt x="236" y="72"/>
                  </a:lnTo>
                  <a:lnTo>
                    <a:pt x="237" y="64"/>
                  </a:lnTo>
                  <a:lnTo>
                    <a:pt x="243" y="54"/>
                  </a:lnTo>
                  <a:lnTo>
                    <a:pt x="254" y="45"/>
                  </a:lnTo>
                  <a:lnTo>
                    <a:pt x="262" y="37"/>
                  </a:lnTo>
                  <a:lnTo>
                    <a:pt x="270" y="28"/>
                  </a:lnTo>
                  <a:lnTo>
                    <a:pt x="277" y="19"/>
                  </a:lnTo>
                  <a:lnTo>
                    <a:pt x="287" y="9"/>
                  </a:lnTo>
                  <a:lnTo>
                    <a:pt x="296" y="2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1" name="Freeform 2750"/>
            <p:cNvSpPr>
              <a:spLocks/>
            </p:cNvSpPr>
            <p:nvPr/>
          </p:nvSpPr>
          <p:spPr bwMode="auto">
            <a:xfrm rot="1114411" flipH="1">
              <a:off x="736535" y="4568076"/>
              <a:ext cx="186386" cy="104599"/>
            </a:xfrm>
            <a:custGeom>
              <a:avLst/>
              <a:gdLst>
                <a:gd name="T0" fmla="*/ 2147483647 w 335"/>
                <a:gd name="T1" fmla="*/ 0 h 188"/>
                <a:gd name="T2" fmla="*/ 2147483647 w 335"/>
                <a:gd name="T3" fmla="*/ 2147483647 h 188"/>
                <a:gd name="T4" fmla="*/ 2147483647 w 335"/>
                <a:gd name="T5" fmla="*/ 2147483647 h 188"/>
                <a:gd name="T6" fmla="*/ 2147483647 w 335"/>
                <a:gd name="T7" fmla="*/ 2147483647 h 188"/>
                <a:gd name="T8" fmla="*/ 2147483647 w 335"/>
                <a:gd name="T9" fmla="*/ 2147483647 h 188"/>
                <a:gd name="T10" fmla="*/ 2147483647 w 335"/>
                <a:gd name="T11" fmla="*/ 2147483647 h 188"/>
                <a:gd name="T12" fmla="*/ 2147483647 w 335"/>
                <a:gd name="T13" fmla="*/ 2147483647 h 188"/>
                <a:gd name="T14" fmla="*/ 2147483647 w 335"/>
                <a:gd name="T15" fmla="*/ 2147483647 h 188"/>
                <a:gd name="T16" fmla="*/ 2147483647 w 335"/>
                <a:gd name="T17" fmla="*/ 2147483647 h 188"/>
                <a:gd name="T18" fmla="*/ 2147483647 w 335"/>
                <a:gd name="T19" fmla="*/ 2147483647 h 188"/>
                <a:gd name="T20" fmla="*/ 2147483647 w 335"/>
                <a:gd name="T21" fmla="*/ 2147483647 h 188"/>
                <a:gd name="T22" fmla="*/ 2147483647 w 335"/>
                <a:gd name="T23" fmla="*/ 2147483647 h 188"/>
                <a:gd name="T24" fmla="*/ 2147483647 w 335"/>
                <a:gd name="T25" fmla="*/ 2147483647 h 188"/>
                <a:gd name="T26" fmla="*/ 2147483647 w 335"/>
                <a:gd name="T27" fmla="*/ 2147483647 h 188"/>
                <a:gd name="T28" fmla="*/ 2147483647 w 335"/>
                <a:gd name="T29" fmla="*/ 2147483647 h 188"/>
                <a:gd name="T30" fmla="*/ 2147483647 w 335"/>
                <a:gd name="T31" fmla="*/ 2147483647 h 188"/>
                <a:gd name="T32" fmla="*/ 2147483647 w 335"/>
                <a:gd name="T33" fmla="*/ 2147483647 h 188"/>
                <a:gd name="T34" fmla="*/ 2147483647 w 335"/>
                <a:gd name="T35" fmla="*/ 2147483647 h 188"/>
                <a:gd name="T36" fmla="*/ 2147483647 w 335"/>
                <a:gd name="T37" fmla="*/ 2147483647 h 188"/>
                <a:gd name="T38" fmla="*/ 2147483647 w 335"/>
                <a:gd name="T39" fmla="*/ 2147483647 h 188"/>
                <a:gd name="T40" fmla="*/ 2147483647 w 335"/>
                <a:gd name="T41" fmla="*/ 2147483647 h 188"/>
                <a:gd name="T42" fmla="*/ 2147483647 w 335"/>
                <a:gd name="T43" fmla="*/ 2147483647 h 188"/>
                <a:gd name="T44" fmla="*/ 2147483647 w 335"/>
                <a:gd name="T45" fmla="*/ 2147483647 h 188"/>
                <a:gd name="T46" fmla="*/ 2147483647 w 335"/>
                <a:gd name="T47" fmla="*/ 2147483647 h 188"/>
                <a:gd name="T48" fmla="*/ 2147483647 w 335"/>
                <a:gd name="T49" fmla="*/ 2147483647 h 188"/>
                <a:gd name="T50" fmla="*/ 2147483647 w 335"/>
                <a:gd name="T51" fmla="*/ 2147483647 h 188"/>
                <a:gd name="T52" fmla="*/ 2147483647 w 335"/>
                <a:gd name="T53" fmla="*/ 2147483647 h 188"/>
                <a:gd name="T54" fmla="*/ 2147483647 w 335"/>
                <a:gd name="T55" fmla="*/ 2147483647 h 188"/>
                <a:gd name="T56" fmla="*/ 2147483647 w 335"/>
                <a:gd name="T57" fmla="*/ 2147483647 h 188"/>
                <a:gd name="T58" fmla="*/ 2147483647 w 335"/>
                <a:gd name="T59" fmla="*/ 2147483647 h 188"/>
                <a:gd name="T60" fmla="*/ 2147483647 w 335"/>
                <a:gd name="T61" fmla="*/ 2147483647 h 188"/>
                <a:gd name="T62" fmla="*/ 2147483647 w 335"/>
                <a:gd name="T63" fmla="*/ 2147483647 h 188"/>
                <a:gd name="T64" fmla="*/ 2147483647 w 335"/>
                <a:gd name="T65" fmla="*/ 2147483647 h 188"/>
                <a:gd name="T66" fmla="*/ 2147483647 w 335"/>
                <a:gd name="T67" fmla="*/ 2147483647 h 188"/>
                <a:gd name="T68" fmla="*/ 2147483647 w 335"/>
                <a:gd name="T69" fmla="*/ 2147483647 h 188"/>
                <a:gd name="T70" fmla="*/ 2147483647 w 335"/>
                <a:gd name="T71" fmla="*/ 2147483647 h 188"/>
                <a:gd name="T72" fmla="*/ 2147483647 w 335"/>
                <a:gd name="T73" fmla="*/ 2147483647 h 188"/>
                <a:gd name="T74" fmla="*/ 2147483647 w 335"/>
                <a:gd name="T75" fmla="*/ 2147483647 h 188"/>
                <a:gd name="T76" fmla="*/ 2147483647 w 335"/>
                <a:gd name="T77" fmla="*/ 2147483647 h 188"/>
                <a:gd name="T78" fmla="*/ 2147483647 w 335"/>
                <a:gd name="T79" fmla="*/ 2147483647 h 188"/>
                <a:gd name="T80" fmla="*/ 2147483647 w 335"/>
                <a:gd name="T81" fmla="*/ 2147483647 h 188"/>
                <a:gd name="T82" fmla="*/ 2147483647 w 335"/>
                <a:gd name="T83" fmla="*/ 2147483647 h 188"/>
                <a:gd name="T84" fmla="*/ 2147483647 w 335"/>
                <a:gd name="T85" fmla="*/ 2147483647 h 188"/>
                <a:gd name="T86" fmla="*/ 2147483647 w 335"/>
                <a:gd name="T87" fmla="*/ 2147483647 h 188"/>
                <a:gd name="T88" fmla="*/ 2147483647 w 335"/>
                <a:gd name="T89" fmla="*/ 2147483647 h 188"/>
                <a:gd name="T90" fmla="*/ 2147483647 w 335"/>
                <a:gd name="T91" fmla="*/ 2147483647 h 188"/>
                <a:gd name="T92" fmla="*/ 2147483647 w 335"/>
                <a:gd name="T93" fmla="*/ 2147483647 h 188"/>
                <a:gd name="T94" fmla="*/ 2147483647 w 335"/>
                <a:gd name="T95" fmla="*/ 2147483647 h 188"/>
                <a:gd name="T96" fmla="*/ 2147483647 w 335"/>
                <a:gd name="T97" fmla="*/ 2147483647 h 188"/>
                <a:gd name="T98" fmla="*/ 2147483647 w 335"/>
                <a:gd name="T99" fmla="*/ 2147483647 h 1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35"/>
                <a:gd name="T151" fmla="*/ 0 h 188"/>
                <a:gd name="T152" fmla="*/ 335 w 335"/>
                <a:gd name="T153" fmla="*/ 188 h 18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35" h="188">
                  <a:moveTo>
                    <a:pt x="271" y="0"/>
                  </a:moveTo>
                  <a:lnTo>
                    <a:pt x="283" y="0"/>
                  </a:lnTo>
                  <a:lnTo>
                    <a:pt x="297" y="6"/>
                  </a:lnTo>
                  <a:lnTo>
                    <a:pt x="304" y="10"/>
                  </a:lnTo>
                  <a:lnTo>
                    <a:pt x="312" y="11"/>
                  </a:lnTo>
                  <a:lnTo>
                    <a:pt x="317" y="14"/>
                  </a:lnTo>
                  <a:lnTo>
                    <a:pt x="320" y="14"/>
                  </a:lnTo>
                  <a:lnTo>
                    <a:pt x="322" y="14"/>
                  </a:lnTo>
                  <a:lnTo>
                    <a:pt x="326" y="15"/>
                  </a:lnTo>
                  <a:lnTo>
                    <a:pt x="330" y="18"/>
                  </a:lnTo>
                  <a:lnTo>
                    <a:pt x="334" y="22"/>
                  </a:lnTo>
                  <a:lnTo>
                    <a:pt x="335" y="27"/>
                  </a:lnTo>
                  <a:lnTo>
                    <a:pt x="332" y="34"/>
                  </a:lnTo>
                  <a:lnTo>
                    <a:pt x="326" y="44"/>
                  </a:lnTo>
                  <a:lnTo>
                    <a:pt x="315" y="57"/>
                  </a:lnTo>
                  <a:lnTo>
                    <a:pt x="308" y="68"/>
                  </a:lnTo>
                  <a:lnTo>
                    <a:pt x="304" y="77"/>
                  </a:lnTo>
                  <a:lnTo>
                    <a:pt x="302" y="82"/>
                  </a:lnTo>
                  <a:lnTo>
                    <a:pt x="302" y="83"/>
                  </a:lnTo>
                  <a:lnTo>
                    <a:pt x="301" y="86"/>
                  </a:lnTo>
                  <a:lnTo>
                    <a:pt x="297" y="92"/>
                  </a:lnTo>
                  <a:lnTo>
                    <a:pt x="290" y="100"/>
                  </a:lnTo>
                  <a:lnTo>
                    <a:pt x="281" y="107"/>
                  </a:lnTo>
                  <a:lnTo>
                    <a:pt x="270" y="113"/>
                  </a:lnTo>
                  <a:lnTo>
                    <a:pt x="255" y="117"/>
                  </a:lnTo>
                  <a:lnTo>
                    <a:pt x="237" y="117"/>
                  </a:lnTo>
                  <a:lnTo>
                    <a:pt x="218" y="115"/>
                  </a:lnTo>
                  <a:lnTo>
                    <a:pt x="204" y="113"/>
                  </a:lnTo>
                  <a:lnTo>
                    <a:pt x="196" y="115"/>
                  </a:lnTo>
                  <a:lnTo>
                    <a:pt x="191" y="119"/>
                  </a:lnTo>
                  <a:lnTo>
                    <a:pt x="188" y="123"/>
                  </a:lnTo>
                  <a:lnTo>
                    <a:pt x="188" y="128"/>
                  </a:lnTo>
                  <a:lnTo>
                    <a:pt x="189" y="131"/>
                  </a:lnTo>
                  <a:lnTo>
                    <a:pt x="189" y="134"/>
                  </a:lnTo>
                  <a:lnTo>
                    <a:pt x="191" y="137"/>
                  </a:lnTo>
                  <a:lnTo>
                    <a:pt x="192" y="139"/>
                  </a:lnTo>
                  <a:lnTo>
                    <a:pt x="193" y="142"/>
                  </a:lnTo>
                  <a:lnTo>
                    <a:pt x="193" y="143"/>
                  </a:lnTo>
                  <a:lnTo>
                    <a:pt x="192" y="145"/>
                  </a:lnTo>
                  <a:lnTo>
                    <a:pt x="191" y="146"/>
                  </a:lnTo>
                  <a:lnTo>
                    <a:pt x="188" y="147"/>
                  </a:lnTo>
                  <a:lnTo>
                    <a:pt x="182" y="147"/>
                  </a:lnTo>
                  <a:lnTo>
                    <a:pt x="177" y="147"/>
                  </a:lnTo>
                  <a:lnTo>
                    <a:pt x="162" y="147"/>
                  </a:lnTo>
                  <a:lnTo>
                    <a:pt x="148" y="147"/>
                  </a:lnTo>
                  <a:lnTo>
                    <a:pt x="137" y="147"/>
                  </a:lnTo>
                  <a:lnTo>
                    <a:pt x="128" y="149"/>
                  </a:lnTo>
                  <a:lnTo>
                    <a:pt x="122" y="153"/>
                  </a:lnTo>
                  <a:lnTo>
                    <a:pt x="114" y="162"/>
                  </a:lnTo>
                  <a:lnTo>
                    <a:pt x="101" y="171"/>
                  </a:lnTo>
                  <a:lnTo>
                    <a:pt x="83" y="177"/>
                  </a:lnTo>
                  <a:lnTo>
                    <a:pt x="61" y="180"/>
                  </a:lnTo>
                  <a:lnTo>
                    <a:pt x="47" y="179"/>
                  </a:lnTo>
                  <a:lnTo>
                    <a:pt x="38" y="180"/>
                  </a:lnTo>
                  <a:lnTo>
                    <a:pt x="34" y="182"/>
                  </a:lnTo>
                  <a:lnTo>
                    <a:pt x="31" y="183"/>
                  </a:lnTo>
                  <a:lnTo>
                    <a:pt x="30" y="186"/>
                  </a:lnTo>
                  <a:lnTo>
                    <a:pt x="26" y="187"/>
                  </a:lnTo>
                  <a:lnTo>
                    <a:pt x="19" y="188"/>
                  </a:lnTo>
                  <a:lnTo>
                    <a:pt x="12" y="186"/>
                  </a:lnTo>
                  <a:lnTo>
                    <a:pt x="5" y="182"/>
                  </a:lnTo>
                  <a:lnTo>
                    <a:pt x="1" y="173"/>
                  </a:lnTo>
                  <a:lnTo>
                    <a:pt x="0" y="164"/>
                  </a:lnTo>
                  <a:lnTo>
                    <a:pt x="1" y="156"/>
                  </a:lnTo>
                  <a:lnTo>
                    <a:pt x="1" y="153"/>
                  </a:lnTo>
                  <a:lnTo>
                    <a:pt x="2" y="153"/>
                  </a:lnTo>
                  <a:lnTo>
                    <a:pt x="4" y="152"/>
                  </a:lnTo>
                  <a:lnTo>
                    <a:pt x="7" y="152"/>
                  </a:lnTo>
                  <a:lnTo>
                    <a:pt x="9" y="149"/>
                  </a:lnTo>
                  <a:lnTo>
                    <a:pt x="12" y="146"/>
                  </a:lnTo>
                  <a:lnTo>
                    <a:pt x="13" y="142"/>
                  </a:lnTo>
                  <a:lnTo>
                    <a:pt x="19" y="137"/>
                  </a:lnTo>
                  <a:lnTo>
                    <a:pt x="27" y="128"/>
                  </a:lnTo>
                  <a:lnTo>
                    <a:pt x="38" y="123"/>
                  </a:lnTo>
                  <a:lnTo>
                    <a:pt x="49" y="117"/>
                  </a:lnTo>
                  <a:lnTo>
                    <a:pt x="56" y="116"/>
                  </a:lnTo>
                  <a:lnTo>
                    <a:pt x="62" y="115"/>
                  </a:lnTo>
                  <a:lnTo>
                    <a:pt x="72" y="111"/>
                  </a:lnTo>
                  <a:lnTo>
                    <a:pt x="82" y="107"/>
                  </a:lnTo>
                  <a:lnTo>
                    <a:pt x="86" y="101"/>
                  </a:lnTo>
                  <a:lnTo>
                    <a:pt x="91" y="97"/>
                  </a:lnTo>
                  <a:lnTo>
                    <a:pt x="102" y="92"/>
                  </a:lnTo>
                  <a:lnTo>
                    <a:pt x="117" y="86"/>
                  </a:lnTo>
                  <a:lnTo>
                    <a:pt x="135" y="79"/>
                  </a:lnTo>
                  <a:lnTo>
                    <a:pt x="152" y="75"/>
                  </a:lnTo>
                  <a:lnTo>
                    <a:pt x="170" y="72"/>
                  </a:lnTo>
                  <a:lnTo>
                    <a:pt x="184" y="72"/>
                  </a:lnTo>
                  <a:lnTo>
                    <a:pt x="196" y="74"/>
                  </a:lnTo>
                  <a:lnTo>
                    <a:pt x="204" y="71"/>
                  </a:lnTo>
                  <a:lnTo>
                    <a:pt x="208" y="68"/>
                  </a:lnTo>
                  <a:lnTo>
                    <a:pt x="210" y="66"/>
                  </a:lnTo>
                  <a:lnTo>
                    <a:pt x="211" y="64"/>
                  </a:lnTo>
                  <a:lnTo>
                    <a:pt x="210" y="60"/>
                  </a:lnTo>
                  <a:lnTo>
                    <a:pt x="211" y="53"/>
                  </a:lnTo>
                  <a:lnTo>
                    <a:pt x="215" y="44"/>
                  </a:lnTo>
                  <a:lnTo>
                    <a:pt x="226" y="34"/>
                  </a:lnTo>
                  <a:lnTo>
                    <a:pt x="234" y="27"/>
                  </a:lnTo>
                  <a:lnTo>
                    <a:pt x="242" y="19"/>
                  </a:lnTo>
                  <a:lnTo>
                    <a:pt x="251" y="11"/>
                  </a:lnTo>
                  <a:lnTo>
                    <a:pt x="260" y="4"/>
                  </a:lnTo>
                  <a:lnTo>
                    <a:pt x="271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2" name="Freeform 2751"/>
            <p:cNvSpPr>
              <a:spLocks/>
            </p:cNvSpPr>
            <p:nvPr/>
          </p:nvSpPr>
          <p:spPr bwMode="auto">
            <a:xfrm rot="1114411" flipH="1">
              <a:off x="1553696" y="4694480"/>
              <a:ext cx="107937" cy="61758"/>
            </a:xfrm>
            <a:custGeom>
              <a:avLst/>
              <a:gdLst>
                <a:gd name="T0" fmla="*/ 2147483647 w 194"/>
                <a:gd name="T1" fmla="*/ 0 h 111"/>
                <a:gd name="T2" fmla="*/ 2147483647 w 194"/>
                <a:gd name="T3" fmla="*/ 0 h 111"/>
                <a:gd name="T4" fmla="*/ 2147483647 w 194"/>
                <a:gd name="T5" fmla="*/ 2147483647 h 111"/>
                <a:gd name="T6" fmla="*/ 2147483647 w 194"/>
                <a:gd name="T7" fmla="*/ 2147483647 h 111"/>
                <a:gd name="T8" fmla="*/ 2147483647 w 194"/>
                <a:gd name="T9" fmla="*/ 2147483647 h 111"/>
                <a:gd name="T10" fmla="*/ 2147483647 w 194"/>
                <a:gd name="T11" fmla="*/ 2147483647 h 111"/>
                <a:gd name="T12" fmla="*/ 2147483647 w 194"/>
                <a:gd name="T13" fmla="*/ 2147483647 h 111"/>
                <a:gd name="T14" fmla="*/ 2147483647 w 194"/>
                <a:gd name="T15" fmla="*/ 2147483647 h 111"/>
                <a:gd name="T16" fmla="*/ 2147483647 w 194"/>
                <a:gd name="T17" fmla="*/ 2147483647 h 111"/>
                <a:gd name="T18" fmla="*/ 2147483647 w 194"/>
                <a:gd name="T19" fmla="*/ 2147483647 h 111"/>
                <a:gd name="T20" fmla="*/ 2147483647 w 194"/>
                <a:gd name="T21" fmla="*/ 2147483647 h 111"/>
                <a:gd name="T22" fmla="*/ 2147483647 w 194"/>
                <a:gd name="T23" fmla="*/ 2147483647 h 111"/>
                <a:gd name="T24" fmla="*/ 2147483647 w 194"/>
                <a:gd name="T25" fmla="*/ 2147483647 h 111"/>
                <a:gd name="T26" fmla="*/ 2147483647 w 194"/>
                <a:gd name="T27" fmla="*/ 2147483647 h 111"/>
                <a:gd name="T28" fmla="*/ 2147483647 w 194"/>
                <a:gd name="T29" fmla="*/ 2147483647 h 111"/>
                <a:gd name="T30" fmla="*/ 2147483647 w 194"/>
                <a:gd name="T31" fmla="*/ 2147483647 h 111"/>
                <a:gd name="T32" fmla="*/ 2147483647 w 194"/>
                <a:gd name="T33" fmla="*/ 2147483647 h 111"/>
                <a:gd name="T34" fmla="*/ 2147483647 w 194"/>
                <a:gd name="T35" fmla="*/ 2147483647 h 111"/>
                <a:gd name="T36" fmla="*/ 2147483647 w 194"/>
                <a:gd name="T37" fmla="*/ 2147483647 h 111"/>
                <a:gd name="T38" fmla="*/ 2147483647 w 194"/>
                <a:gd name="T39" fmla="*/ 2147483647 h 111"/>
                <a:gd name="T40" fmla="*/ 2147483647 w 194"/>
                <a:gd name="T41" fmla="*/ 2147483647 h 111"/>
                <a:gd name="T42" fmla="*/ 2147483647 w 194"/>
                <a:gd name="T43" fmla="*/ 2147483647 h 111"/>
                <a:gd name="T44" fmla="*/ 2147483647 w 194"/>
                <a:gd name="T45" fmla="*/ 2147483647 h 111"/>
                <a:gd name="T46" fmla="*/ 0 w 194"/>
                <a:gd name="T47" fmla="*/ 2147483647 h 111"/>
                <a:gd name="T48" fmla="*/ 2147483647 w 194"/>
                <a:gd name="T49" fmla="*/ 2147483647 h 111"/>
                <a:gd name="T50" fmla="*/ 2147483647 w 194"/>
                <a:gd name="T51" fmla="*/ 2147483647 h 111"/>
                <a:gd name="T52" fmla="*/ 2147483647 w 194"/>
                <a:gd name="T53" fmla="*/ 2147483647 h 111"/>
                <a:gd name="T54" fmla="*/ 2147483647 w 194"/>
                <a:gd name="T55" fmla="*/ 2147483647 h 111"/>
                <a:gd name="T56" fmla="*/ 2147483647 w 194"/>
                <a:gd name="T57" fmla="*/ 2147483647 h 111"/>
                <a:gd name="T58" fmla="*/ 2147483647 w 194"/>
                <a:gd name="T59" fmla="*/ 0 h 11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4"/>
                <a:gd name="T91" fmla="*/ 0 h 111"/>
                <a:gd name="T92" fmla="*/ 194 w 194"/>
                <a:gd name="T93" fmla="*/ 111 h 11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4" h="111">
                  <a:moveTo>
                    <a:pt x="90" y="0"/>
                  </a:moveTo>
                  <a:lnTo>
                    <a:pt x="115" y="0"/>
                  </a:lnTo>
                  <a:lnTo>
                    <a:pt x="141" y="3"/>
                  </a:lnTo>
                  <a:lnTo>
                    <a:pt x="165" y="10"/>
                  </a:lnTo>
                  <a:lnTo>
                    <a:pt x="182" y="18"/>
                  </a:lnTo>
                  <a:lnTo>
                    <a:pt x="190" y="28"/>
                  </a:lnTo>
                  <a:lnTo>
                    <a:pt x="194" y="40"/>
                  </a:lnTo>
                  <a:lnTo>
                    <a:pt x="192" y="52"/>
                  </a:lnTo>
                  <a:lnTo>
                    <a:pt x="188" y="64"/>
                  </a:lnTo>
                  <a:lnTo>
                    <a:pt x="180" y="77"/>
                  </a:lnTo>
                  <a:lnTo>
                    <a:pt x="172" y="88"/>
                  </a:lnTo>
                  <a:lnTo>
                    <a:pt x="161" y="96"/>
                  </a:lnTo>
                  <a:lnTo>
                    <a:pt x="152" y="103"/>
                  </a:lnTo>
                  <a:lnTo>
                    <a:pt x="142" y="107"/>
                  </a:lnTo>
                  <a:lnTo>
                    <a:pt x="132" y="108"/>
                  </a:lnTo>
                  <a:lnTo>
                    <a:pt x="119" y="111"/>
                  </a:lnTo>
                  <a:lnTo>
                    <a:pt x="101" y="111"/>
                  </a:lnTo>
                  <a:lnTo>
                    <a:pt x="82" y="111"/>
                  </a:lnTo>
                  <a:lnTo>
                    <a:pt x="62" y="109"/>
                  </a:lnTo>
                  <a:lnTo>
                    <a:pt x="42" y="105"/>
                  </a:lnTo>
                  <a:lnTo>
                    <a:pt x="26" y="97"/>
                  </a:lnTo>
                  <a:lnTo>
                    <a:pt x="14" y="88"/>
                  </a:lnTo>
                  <a:lnTo>
                    <a:pt x="3" y="70"/>
                  </a:lnTo>
                  <a:lnTo>
                    <a:pt x="0" y="52"/>
                  </a:lnTo>
                  <a:lnTo>
                    <a:pt x="3" y="38"/>
                  </a:lnTo>
                  <a:lnTo>
                    <a:pt x="12" y="26"/>
                  </a:lnTo>
                  <a:lnTo>
                    <a:pt x="26" y="15"/>
                  </a:lnTo>
                  <a:lnTo>
                    <a:pt x="45" y="7"/>
                  </a:lnTo>
                  <a:lnTo>
                    <a:pt x="66" y="2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3" name="Freeform 2752"/>
            <p:cNvSpPr>
              <a:spLocks/>
            </p:cNvSpPr>
            <p:nvPr/>
          </p:nvSpPr>
          <p:spPr bwMode="auto">
            <a:xfrm rot="1114411" flipH="1">
              <a:off x="1526918" y="4332156"/>
              <a:ext cx="91802" cy="139650"/>
            </a:xfrm>
            <a:custGeom>
              <a:avLst/>
              <a:gdLst>
                <a:gd name="T0" fmla="*/ 2147483647 w 165"/>
                <a:gd name="T1" fmla="*/ 0 h 251"/>
                <a:gd name="T2" fmla="*/ 2147483647 w 165"/>
                <a:gd name="T3" fmla="*/ 2147483647 h 251"/>
                <a:gd name="T4" fmla="*/ 2147483647 w 165"/>
                <a:gd name="T5" fmla="*/ 2147483647 h 251"/>
                <a:gd name="T6" fmla="*/ 2147483647 w 165"/>
                <a:gd name="T7" fmla="*/ 2147483647 h 251"/>
                <a:gd name="T8" fmla="*/ 2147483647 w 165"/>
                <a:gd name="T9" fmla="*/ 2147483647 h 251"/>
                <a:gd name="T10" fmla="*/ 2147483647 w 165"/>
                <a:gd name="T11" fmla="*/ 2147483647 h 251"/>
                <a:gd name="T12" fmla="*/ 2147483647 w 165"/>
                <a:gd name="T13" fmla="*/ 2147483647 h 251"/>
                <a:gd name="T14" fmla="*/ 2147483647 w 165"/>
                <a:gd name="T15" fmla="*/ 2147483647 h 251"/>
                <a:gd name="T16" fmla="*/ 2147483647 w 165"/>
                <a:gd name="T17" fmla="*/ 2147483647 h 251"/>
                <a:gd name="T18" fmla="*/ 2147483647 w 165"/>
                <a:gd name="T19" fmla="*/ 2147483647 h 251"/>
                <a:gd name="T20" fmla="*/ 2147483647 w 165"/>
                <a:gd name="T21" fmla="*/ 2147483647 h 251"/>
                <a:gd name="T22" fmla="*/ 2147483647 w 165"/>
                <a:gd name="T23" fmla="*/ 2147483647 h 251"/>
                <a:gd name="T24" fmla="*/ 2147483647 w 165"/>
                <a:gd name="T25" fmla="*/ 2147483647 h 251"/>
                <a:gd name="T26" fmla="*/ 2147483647 w 165"/>
                <a:gd name="T27" fmla="*/ 2147483647 h 251"/>
                <a:gd name="T28" fmla="*/ 2147483647 w 165"/>
                <a:gd name="T29" fmla="*/ 2147483647 h 251"/>
                <a:gd name="T30" fmla="*/ 2147483647 w 165"/>
                <a:gd name="T31" fmla="*/ 2147483647 h 251"/>
                <a:gd name="T32" fmla="*/ 2147483647 w 165"/>
                <a:gd name="T33" fmla="*/ 2147483647 h 251"/>
                <a:gd name="T34" fmla="*/ 2147483647 w 165"/>
                <a:gd name="T35" fmla="*/ 2147483647 h 251"/>
                <a:gd name="T36" fmla="*/ 2147483647 w 165"/>
                <a:gd name="T37" fmla="*/ 2147483647 h 251"/>
                <a:gd name="T38" fmla="*/ 2147483647 w 165"/>
                <a:gd name="T39" fmla="*/ 2147483647 h 251"/>
                <a:gd name="T40" fmla="*/ 2147483647 w 165"/>
                <a:gd name="T41" fmla="*/ 2147483647 h 251"/>
                <a:gd name="T42" fmla="*/ 2147483647 w 165"/>
                <a:gd name="T43" fmla="*/ 2147483647 h 251"/>
                <a:gd name="T44" fmla="*/ 2147483647 w 165"/>
                <a:gd name="T45" fmla="*/ 2147483647 h 251"/>
                <a:gd name="T46" fmla="*/ 2147483647 w 165"/>
                <a:gd name="T47" fmla="*/ 2147483647 h 251"/>
                <a:gd name="T48" fmla="*/ 2147483647 w 165"/>
                <a:gd name="T49" fmla="*/ 2147483647 h 251"/>
                <a:gd name="T50" fmla="*/ 0 w 165"/>
                <a:gd name="T51" fmla="*/ 2147483647 h 251"/>
                <a:gd name="T52" fmla="*/ 2147483647 w 165"/>
                <a:gd name="T53" fmla="*/ 2147483647 h 251"/>
                <a:gd name="T54" fmla="*/ 2147483647 w 165"/>
                <a:gd name="T55" fmla="*/ 2147483647 h 251"/>
                <a:gd name="T56" fmla="*/ 2147483647 w 165"/>
                <a:gd name="T57" fmla="*/ 2147483647 h 251"/>
                <a:gd name="T58" fmla="*/ 2147483647 w 165"/>
                <a:gd name="T59" fmla="*/ 2147483647 h 251"/>
                <a:gd name="T60" fmla="*/ 2147483647 w 165"/>
                <a:gd name="T61" fmla="*/ 2147483647 h 251"/>
                <a:gd name="T62" fmla="*/ 2147483647 w 165"/>
                <a:gd name="T63" fmla="*/ 2147483647 h 251"/>
                <a:gd name="T64" fmla="*/ 2147483647 w 165"/>
                <a:gd name="T65" fmla="*/ 2147483647 h 251"/>
                <a:gd name="T66" fmla="*/ 2147483647 w 165"/>
                <a:gd name="T67" fmla="*/ 2147483647 h 251"/>
                <a:gd name="T68" fmla="*/ 2147483647 w 165"/>
                <a:gd name="T69" fmla="*/ 2147483647 h 251"/>
                <a:gd name="T70" fmla="*/ 2147483647 w 165"/>
                <a:gd name="T71" fmla="*/ 2147483647 h 251"/>
                <a:gd name="T72" fmla="*/ 2147483647 w 165"/>
                <a:gd name="T73" fmla="*/ 2147483647 h 251"/>
                <a:gd name="T74" fmla="*/ 2147483647 w 165"/>
                <a:gd name="T75" fmla="*/ 2147483647 h 251"/>
                <a:gd name="T76" fmla="*/ 2147483647 w 165"/>
                <a:gd name="T77" fmla="*/ 2147483647 h 251"/>
                <a:gd name="T78" fmla="*/ 2147483647 w 165"/>
                <a:gd name="T79" fmla="*/ 2147483647 h 251"/>
                <a:gd name="T80" fmla="*/ 2147483647 w 165"/>
                <a:gd name="T81" fmla="*/ 0 h 25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5"/>
                <a:gd name="T124" fmla="*/ 0 h 251"/>
                <a:gd name="T125" fmla="*/ 165 w 165"/>
                <a:gd name="T126" fmla="*/ 251 h 25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5" h="251">
                  <a:moveTo>
                    <a:pt x="51" y="0"/>
                  </a:moveTo>
                  <a:lnTo>
                    <a:pt x="67" y="1"/>
                  </a:lnTo>
                  <a:lnTo>
                    <a:pt x="85" y="1"/>
                  </a:lnTo>
                  <a:lnTo>
                    <a:pt x="105" y="4"/>
                  </a:lnTo>
                  <a:lnTo>
                    <a:pt x="123" y="6"/>
                  </a:lnTo>
                  <a:lnTo>
                    <a:pt x="139" y="9"/>
                  </a:lnTo>
                  <a:lnTo>
                    <a:pt x="150" y="12"/>
                  </a:lnTo>
                  <a:lnTo>
                    <a:pt x="156" y="16"/>
                  </a:lnTo>
                  <a:lnTo>
                    <a:pt x="164" y="49"/>
                  </a:lnTo>
                  <a:lnTo>
                    <a:pt x="165" y="82"/>
                  </a:lnTo>
                  <a:lnTo>
                    <a:pt x="161" y="112"/>
                  </a:lnTo>
                  <a:lnTo>
                    <a:pt x="153" y="140"/>
                  </a:lnTo>
                  <a:lnTo>
                    <a:pt x="142" y="166"/>
                  </a:lnTo>
                  <a:lnTo>
                    <a:pt x="130" y="188"/>
                  </a:lnTo>
                  <a:lnTo>
                    <a:pt x="116" y="208"/>
                  </a:lnTo>
                  <a:lnTo>
                    <a:pt x="104" y="225"/>
                  </a:lnTo>
                  <a:lnTo>
                    <a:pt x="93" y="237"/>
                  </a:lnTo>
                  <a:lnTo>
                    <a:pt x="86" y="245"/>
                  </a:lnTo>
                  <a:lnTo>
                    <a:pt x="78" y="251"/>
                  </a:lnTo>
                  <a:lnTo>
                    <a:pt x="68" y="249"/>
                  </a:lnTo>
                  <a:lnTo>
                    <a:pt x="58" y="242"/>
                  </a:lnTo>
                  <a:lnTo>
                    <a:pt x="44" y="232"/>
                  </a:lnTo>
                  <a:lnTo>
                    <a:pt x="30" y="218"/>
                  </a:lnTo>
                  <a:lnTo>
                    <a:pt x="15" y="203"/>
                  </a:lnTo>
                  <a:lnTo>
                    <a:pt x="4" y="191"/>
                  </a:lnTo>
                  <a:lnTo>
                    <a:pt x="0" y="180"/>
                  </a:lnTo>
                  <a:lnTo>
                    <a:pt x="2" y="167"/>
                  </a:lnTo>
                  <a:lnTo>
                    <a:pt x="7" y="154"/>
                  </a:lnTo>
                  <a:lnTo>
                    <a:pt x="15" y="139"/>
                  </a:lnTo>
                  <a:lnTo>
                    <a:pt x="28" y="120"/>
                  </a:lnTo>
                  <a:lnTo>
                    <a:pt x="40" y="98"/>
                  </a:lnTo>
                  <a:lnTo>
                    <a:pt x="48" y="77"/>
                  </a:lnTo>
                  <a:lnTo>
                    <a:pt x="51" y="60"/>
                  </a:lnTo>
                  <a:lnTo>
                    <a:pt x="49" y="46"/>
                  </a:lnTo>
                  <a:lnTo>
                    <a:pt x="47" y="32"/>
                  </a:lnTo>
                  <a:lnTo>
                    <a:pt x="41" y="23"/>
                  </a:lnTo>
                  <a:lnTo>
                    <a:pt x="37" y="15"/>
                  </a:lnTo>
                  <a:lnTo>
                    <a:pt x="33" y="8"/>
                  </a:lnTo>
                  <a:lnTo>
                    <a:pt x="33" y="2"/>
                  </a:lnTo>
                  <a:lnTo>
                    <a:pt x="38" y="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4" name="Freeform 2753"/>
            <p:cNvSpPr>
              <a:spLocks/>
            </p:cNvSpPr>
            <p:nvPr/>
          </p:nvSpPr>
          <p:spPr bwMode="auto">
            <a:xfrm rot="1114411" flipH="1">
              <a:off x="1789042" y="4317036"/>
              <a:ext cx="95140" cy="122959"/>
            </a:xfrm>
            <a:custGeom>
              <a:avLst/>
              <a:gdLst>
                <a:gd name="T0" fmla="*/ 2147483647 w 171"/>
                <a:gd name="T1" fmla="*/ 0 h 221"/>
                <a:gd name="T2" fmla="*/ 2147483647 w 171"/>
                <a:gd name="T3" fmla="*/ 2147483647 h 221"/>
                <a:gd name="T4" fmla="*/ 2147483647 w 171"/>
                <a:gd name="T5" fmla="*/ 2147483647 h 221"/>
                <a:gd name="T6" fmla="*/ 2147483647 w 171"/>
                <a:gd name="T7" fmla="*/ 2147483647 h 221"/>
                <a:gd name="T8" fmla="*/ 2147483647 w 171"/>
                <a:gd name="T9" fmla="*/ 2147483647 h 221"/>
                <a:gd name="T10" fmla="*/ 2147483647 w 171"/>
                <a:gd name="T11" fmla="*/ 2147483647 h 221"/>
                <a:gd name="T12" fmla="*/ 2147483647 w 171"/>
                <a:gd name="T13" fmla="*/ 2147483647 h 221"/>
                <a:gd name="T14" fmla="*/ 2147483647 w 171"/>
                <a:gd name="T15" fmla="*/ 2147483647 h 221"/>
                <a:gd name="T16" fmla="*/ 2147483647 w 171"/>
                <a:gd name="T17" fmla="*/ 2147483647 h 221"/>
                <a:gd name="T18" fmla="*/ 2147483647 w 171"/>
                <a:gd name="T19" fmla="*/ 2147483647 h 221"/>
                <a:gd name="T20" fmla="*/ 2147483647 w 171"/>
                <a:gd name="T21" fmla="*/ 2147483647 h 221"/>
                <a:gd name="T22" fmla="*/ 2147483647 w 171"/>
                <a:gd name="T23" fmla="*/ 2147483647 h 221"/>
                <a:gd name="T24" fmla="*/ 2147483647 w 171"/>
                <a:gd name="T25" fmla="*/ 2147483647 h 221"/>
                <a:gd name="T26" fmla="*/ 2147483647 w 171"/>
                <a:gd name="T27" fmla="*/ 2147483647 h 221"/>
                <a:gd name="T28" fmla="*/ 2147483647 w 171"/>
                <a:gd name="T29" fmla="*/ 2147483647 h 221"/>
                <a:gd name="T30" fmla="*/ 2147483647 w 171"/>
                <a:gd name="T31" fmla="*/ 2147483647 h 221"/>
                <a:gd name="T32" fmla="*/ 2147483647 w 171"/>
                <a:gd name="T33" fmla="*/ 2147483647 h 221"/>
                <a:gd name="T34" fmla="*/ 2147483647 w 171"/>
                <a:gd name="T35" fmla="*/ 2147483647 h 221"/>
                <a:gd name="T36" fmla="*/ 2147483647 w 171"/>
                <a:gd name="T37" fmla="*/ 2147483647 h 221"/>
                <a:gd name="T38" fmla="*/ 2147483647 w 171"/>
                <a:gd name="T39" fmla="*/ 2147483647 h 221"/>
                <a:gd name="T40" fmla="*/ 2147483647 w 171"/>
                <a:gd name="T41" fmla="*/ 2147483647 h 221"/>
                <a:gd name="T42" fmla="*/ 2147483647 w 171"/>
                <a:gd name="T43" fmla="*/ 2147483647 h 221"/>
                <a:gd name="T44" fmla="*/ 2147483647 w 171"/>
                <a:gd name="T45" fmla="*/ 2147483647 h 221"/>
                <a:gd name="T46" fmla="*/ 2147483647 w 171"/>
                <a:gd name="T47" fmla="*/ 2147483647 h 221"/>
                <a:gd name="T48" fmla="*/ 2147483647 w 171"/>
                <a:gd name="T49" fmla="*/ 2147483647 h 221"/>
                <a:gd name="T50" fmla="*/ 2147483647 w 171"/>
                <a:gd name="T51" fmla="*/ 2147483647 h 221"/>
                <a:gd name="T52" fmla="*/ 2147483647 w 171"/>
                <a:gd name="T53" fmla="*/ 2147483647 h 221"/>
                <a:gd name="T54" fmla="*/ 2147483647 w 171"/>
                <a:gd name="T55" fmla="*/ 2147483647 h 221"/>
                <a:gd name="T56" fmla="*/ 2147483647 w 171"/>
                <a:gd name="T57" fmla="*/ 2147483647 h 221"/>
                <a:gd name="T58" fmla="*/ 2147483647 w 171"/>
                <a:gd name="T59" fmla="*/ 2147483647 h 221"/>
                <a:gd name="T60" fmla="*/ 0 w 171"/>
                <a:gd name="T61" fmla="*/ 2147483647 h 221"/>
                <a:gd name="T62" fmla="*/ 2147483647 w 171"/>
                <a:gd name="T63" fmla="*/ 2147483647 h 221"/>
                <a:gd name="T64" fmla="*/ 2147483647 w 171"/>
                <a:gd name="T65" fmla="*/ 2147483647 h 221"/>
                <a:gd name="T66" fmla="*/ 2147483647 w 171"/>
                <a:gd name="T67" fmla="*/ 2147483647 h 221"/>
                <a:gd name="T68" fmla="*/ 2147483647 w 171"/>
                <a:gd name="T69" fmla="*/ 2147483647 h 221"/>
                <a:gd name="T70" fmla="*/ 2147483647 w 171"/>
                <a:gd name="T71" fmla="*/ 2147483647 h 221"/>
                <a:gd name="T72" fmla="*/ 2147483647 w 171"/>
                <a:gd name="T73" fmla="*/ 2147483647 h 221"/>
                <a:gd name="T74" fmla="*/ 2147483647 w 171"/>
                <a:gd name="T75" fmla="*/ 2147483647 h 221"/>
                <a:gd name="T76" fmla="*/ 2147483647 w 171"/>
                <a:gd name="T77" fmla="*/ 2147483647 h 221"/>
                <a:gd name="T78" fmla="*/ 2147483647 w 171"/>
                <a:gd name="T79" fmla="*/ 2147483647 h 221"/>
                <a:gd name="T80" fmla="*/ 2147483647 w 171"/>
                <a:gd name="T81" fmla="*/ 0 h 2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1"/>
                <a:gd name="T124" fmla="*/ 0 h 221"/>
                <a:gd name="T125" fmla="*/ 171 w 171"/>
                <a:gd name="T126" fmla="*/ 221 h 2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1" h="221">
                  <a:moveTo>
                    <a:pt x="63" y="0"/>
                  </a:moveTo>
                  <a:lnTo>
                    <a:pt x="66" y="1"/>
                  </a:lnTo>
                  <a:lnTo>
                    <a:pt x="72" y="5"/>
                  </a:lnTo>
                  <a:lnTo>
                    <a:pt x="83" y="11"/>
                  </a:lnTo>
                  <a:lnTo>
                    <a:pt x="96" y="17"/>
                  </a:lnTo>
                  <a:lnTo>
                    <a:pt x="112" y="23"/>
                  </a:lnTo>
                  <a:lnTo>
                    <a:pt x="130" y="30"/>
                  </a:lnTo>
                  <a:lnTo>
                    <a:pt x="147" y="34"/>
                  </a:lnTo>
                  <a:lnTo>
                    <a:pt x="165" y="37"/>
                  </a:lnTo>
                  <a:lnTo>
                    <a:pt x="171" y="65"/>
                  </a:lnTo>
                  <a:lnTo>
                    <a:pt x="169" y="90"/>
                  </a:lnTo>
                  <a:lnTo>
                    <a:pt x="162" y="113"/>
                  </a:lnTo>
                  <a:lnTo>
                    <a:pt x="153" y="133"/>
                  </a:lnTo>
                  <a:lnTo>
                    <a:pt x="141" y="151"/>
                  </a:lnTo>
                  <a:lnTo>
                    <a:pt x="127" y="169"/>
                  </a:lnTo>
                  <a:lnTo>
                    <a:pt x="113" y="184"/>
                  </a:lnTo>
                  <a:lnTo>
                    <a:pt x="102" y="197"/>
                  </a:lnTo>
                  <a:lnTo>
                    <a:pt x="93" y="210"/>
                  </a:lnTo>
                  <a:lnTo>
                    <a:pt x="83" y="219"/>
                  </a:lnTo>
                  <a:lnTo>
                    <a:pt x="74" y="221"/>
                  </a:lnTo>
                  <a:lnTo>
                    <a:pt x="64" y="217"/>
                  </a:lnTo>
                  <a:lnTo>
                    <a:pt x="53" y="210"/>
                  </a:lnTo>
                  <a:lnTo>
                    <a:pt x="44" y="202"/>
                  </a:lnTo>
                  <a:lnTo>
                    <a:pt x="34" y="192"/>
                  </a:lnTo>
                  <a:lnTo>
                    <a:pt x="27" y="182"/>
                  </a:lnTo>
                  <a:lnTo>
                    <a:pt x="22" y="176"/>
                  </a:lnTo>
                  <a:lnTo>
                    <a:pt x="18" y="173"/>
                  </a:lnTo>
                  <a:lnTo>
                    <a:pt x="14" y="170"/>
                  </a:lnTo>
                  <a:lnTo>
                    <a:pt x="8" y="166"/>
                  </a:lnTo>
                  <a:lnTo>
                    <a:pt x="4" y="159"/>
                  </a:lnTo>
                  <a:lnTo>
                    <a:pt x="0" y="150"/>
                  </a:lnTo>
                  <a:lnTo>
                    <a:pt x="2" y="139"/>
                  </a:lnTo>
                  <a:lnTo>
                    <a:pt x="7" y="125"/>
                  </a:lnTo>
                  <a:lnTo>
                    <a:pt x="21" y="110"/>
                  </a:lnTo>
                  <a:lnTo>
                    <a:pt x="33" y="94"/>
                  </a:lnTo>
                  <a:lnTo>
                    <a:pt x="44" y="75"/>
                  </a:lnTo>
                  <a:lnTo>
                    <a:pt x="52" y="54"/>
                  </a:lnTo>
                  <a:lnTo>
                    <a:pt x="57" y="34"/>
                  </a:lnTo>
                  <a:lnTo>
                    <a:pt x="60" y="16"/>
                  </a:lnTo>
                  <a:lnTo>
                    <a:pt x="63" y="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5" name="Freeform 2754"/>
            <p:cNvSpPr>
              <a:spLocks/>
            </p:cNvSpPr>
            <p:nvPr/>
          </p:nvSpPr>
          <p:spPr bwMode="auto">
            <a:xfrm rot="1114411" flipH="1">
              <a:off x="1216802" y="4805934"/>
              <a:ext cx="12240" cy="22255"/>
            </a:xfrm>
            <a:custGeom>
              <a:avLst/>
              <a:gdLst>
                <a:gd name="T0" fmla="*/ 2147483647 w 22"/>
                <a:gd name="T1" fmla="*/ 0 h 40"/>
                <a:gd name="T2" fmla="*/ 2147483647 w 22"/>
                <a:gd name="T3" fmla="*/ 2147483647 h 40"/>
                <a:gd name="T4" fmla="*/ 2147483647 w 22"/>
                <a:gd name="T5" fmla="*/ 2147483647 h 40"/>
                <a:gd name="T6" fmla="*/ 2147483647 w 22"/>
                <a:gd name="T7" fmla="*/ 2147483647 h 40"/>
                <a:gd name="T8" fmla="*/ 2147483647 w 22"/>
                <a:gd name="T9" fmla="*/ 2147483647 h 40"/>
                <a:gd name="T10" fmla="*/ 2147483647 w 22"/>
                <a:gd name="T11" fmla="*/ 2147483647 h 40"/>
                <a:gd name="T12" fmla="*/ 2147483647 w 22"/>
                <a:gd name="T13" fmla="*/ 2147483647 h 40"/>
                <a:gd name="T14" fmla="*/ 2147483647 w 22"/>
                <a:gd name="T15" fmla="*/ 2147483647 h 40"/>
                <a:gd name="T16" fmla="*/ 0 w 22"/>
                <a:gd name="T17" fmla="*/ 2147483647 h 40"/>
                <a:gd name="T18" fmla="*/ 0 w 22"/>
                <a:gd name="T19" fmla="*/ 2147483647 h 40"/>
                <a:gd name="T20" fmla="*/ 2147483647 w 22"/>
                <a:gd name="T21" fmla="*/ 2147483647 h 40"/>
                <a:gd name="T22" fmla="*/ 2147483647 w 22"/>
                <a:gd name="T23" fmla="*/ 2147483647 h 40"/>
                <a:gd name="T24" fmla="*/ 2147483647 w 22"/>
                <a:gd name="T25" fmla="*/ 2147483647 h 40"/>
                <a:gd name="T26" fmla="*/ 2147483647 w 22"/>
                <a:gd name="T27" fmla="*/ 0 h 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"/>
                <a:gd name="T43" fmla="*/ 0 h 40"/>
                <a:gd name="T44" fmla="*/ 22 w 22"/>
                <a:gd name="T45" fmla="*/ 40 h 4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" h="40">
                  <a:moveTo>
                    <a:pt x="12" y="0"/>
                  </a:moveTo>
                  <a:lnTo>
                    <a:pt x="19" y="3"/>
                  </a:lnTo>
                  <a:lnTo>
                    <a:pt x="22" y="10"/>
                  </a:lnTo>
                  <a:lnTo>
                    <a:pt x="22" y="19"/>
                  </a:lnTo>
                  <a:lnTo>
                    <a:pt x="19" y="29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4" y="38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4" y="14"/>
                  </a:lnTo>
                  <a:lnTo>
                    <a:pt x="8" y="7"/>
                  </a:lnTo>
                  <a:lnTo>
                    <a:pt x="11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26" name="Freeform 2755"/>
            <p:cNvSpPr>
              <a:spLocks/>
            </p:cNvSpPr>
            <p:nvPr/>
          </p:nvSpPr>
          <p:spPr bwMode="auto">
            <a:xfrm rot="1114411" flipH="1">
              <a:off x="933524" y="4793451"/>
              <a:ext cx="20030" cy="36721"/>
            </a:xfrm>
            <a:custGeom>
              <a:avLst/>
              <a:gdLst>
                <a:gd name="T0" fmla="*/ 2147483647 w 36"/>
                <a:gd name="T1" fmla="*/ 0 h 66"/>
                <a:gd name="T2" fmla="*/ 2147483647 w 36"/>
                <a:gd name="T3" fmla="*/ 2147483647 h 66"/>
                <a:gd name="T4" fmla="*/ 2147483647 w 36"/>
                <a:gd name="T5" fmla="*/ 2147483647 h 66"/>
                <a:gd name="T6" fmla="*/ 2147483647 w 36"/>
                <a:gd name="T7" fmla="*/ 2147483647 h 66"/>
                <a:gd name="T8" fmla="*/ 2147483647 w 36"/>
                <a:gd name="T9" fmla="*/ 2147483647 h 66"/>
                <a:gd name="T10" fmla="*/ 2147483647 w 36"/>
                <a:gd name="T11" fmla="*/ 2147483647 h 66"/>
                <a:gd name="T12" fmla="*/ 2147483647 w 36"/>
                <a:gd name="T13" fmla="*/ 2147483647 h 66"/>
                <a:gd name="T14" fmla="*/ 2147483647 w 36"/>
                <a:gd name="T15" fmla="*/ 2147483647 h 66"/>
                <a:gd name="T16" fmla="*/ 2147483647 w 36"/>
                <a:gd name="T17" fmla="*/ 2147483647 h 66"/>
                <a:gd name="T18" fmla="*/ 2147483647 w 36"/>
                <a:gd name="T19" fmla="*/ 2147483647 h 66"/>
                <a:gd name="T20" fmla="*/ 2147483647 w 36"/>
                <a:gd name="T21" fmla="*/ 2147483647 h 66"/>
                <a:gd name="T22" fmla="*/ 2147483647 w 36"/>
                <a:gd name="T23" fmla="*/ 2147483647 h 66"/>
                <a:gd name="T24" fmla="*/ 2147483647 w 36"/>
                <a:gd name="T25" fmla="*/ 2147483647 h 66"/>
                <a:gd name="T26" fmla="*/ 0 w 36"/>
                <a:gd name="T27" fmla="*/ 2147483647 h 66"/>
                <a:gd name="T28" fmla="*/ 2147483647 w 36"/>
                <a:gd name="T29" fmla="*/ 2147483647 h 66"/>
                <a:gd name="T30" fmla="*/ 2147483647 w 36"/>
                <a:gd name="T31" fmla="*/ 2147483647 h 66"/>
                <a:gd name="T32" fmla="*/ 2147483647 w 36"/>
                <a:gd name="T33" fmla="*/ 2147483647 h 66"/>
                <a:gd name="T34" fmla="*/ 2147483647 w 36"/>
                <a:gd name="T35" fmla="*/ 2147483647 h 66"/>
                <a:gd name="T36" fmla="*/ 2147483647 w 36"/>
                <a:gd name="T37" fmla="*/ 0 h 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6"/>
                <a:gd name="T58" fmla="*/ 0 h 66"/>
                <a:gd name="T59" fmla="*/ 36 w 36"/>
                <a:gd name="T60" fmla="*/ 66 h 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6" h="66">
                  <a:moveTo>
                    <a:pt x="12" y="0"/>
                  </a:moveTo>
                  <a:lnTo>
                    <a:pt x="24" y="1"/>
                  </a:lnTo>
                  <a:lnTo>
                    <a:pt x="31" y="6"/>
                  </a:lnTo>
                  <a:lnTo>
                    <a:pt x="35" y="12"/>
                  </a:lnTo>
                  <a:lnTo>
                    <a:pt x="36" y="21"/>
                  </a:lnTo>
                  <a:lnTo>
                    <a:pt x="35" y="30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4" y="55"/>
                  </a:lnTo>
                  <a:lnTo>
                    <a:pt x="17" y="63"/>
                  </a:lnTo>
                  <a:lnTo>
                    <a:pt x="13" y="66"/>
                  </a:lnTo>
                  <a:lnTo>
                    <a:pt x="9" y="64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1" y="36"/>
                  </a:lnTo>
                  <a:lnTo>
                    <a:pt x="4" y="23"/>
                  </a:lnTo>
                  <a:lnTo>
                    <a:pt x="8" y="11"/>
                  </a:lnTo>
                  <a:lnTo>
                    <a:pt x="11" y="3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27" name="Freeform 2756"/>
            <p:cNvSpPr>
              <a:spLocks noEditPoints="1"/>
            </p:cNvSpPr>
            <p:nvPr/>
          </p:nvSpPr>
          <p:spPr bwMode="auto">
            <a:xfrm rot="1114411" flipH="1">
              <a:off x="428051" y="4728707"/>
              <a:ext cx="130748" cy="66209"/>
            </a:xfrm>
            <a:custGeom>
              <a:avLst/>
              <a:gdLst>
                <a:gd name="T0" fmla="*/ 2147483647 w 235"/>
                <a:gd name="T1" fmla="*/ 2147483647 h 119"/>
                <a:gd name="T2" fmla="*/ 2147483647 w 235"/>
                <a:gd name="T3" fmla="*/ 2147483647 h 119"/>
                <a:gd name="T4" fmla="*/ 2147483647 w 235"/>
                <a:gd name="T5" fmla="*/ 2147483647 h 119"/>
                <a:gd name="T6" fmla="*/ 2147483647 w 235"/>
                <a:gd name="T7" fmla="*/ 2147483647 h 119"/>
                <a:gd name="T8" fmla="*/ 2147483647 w 235"/>
                <a:gd name="T9" fmla="*/ 2147483647 h 119"/>
                <a:gd name="T10" fmla="*/ 2147483647 w 235"/>
                <a:gd name="T11" fmla="*/ 2147483647 h 119"/>
                <a:gd name="T12" fmla="*/ 2147483647 w 235"/>
                <a:gd name="T13" fmla="*/ 2147483647 h 119"/>
                <a:gd name="T14" fmla="*/ 2147483647 w 235"/>
                <a:gd name="T15" fmla="*/ 2147483647 h 119"/>
                <a:gd name="T16" fmla="*/ 2147483647 w 235"/>
                <a:gd name="T17" fmla="*/ 2147483647 h 119"/>
                <a:gd name="T18" fmla="*/ 2147483647 w 235"/>
                <a:gd name="T19" fmla="*/ 2147483647 h 119"/>
                <a:gd name="T20" fmla="*/ 2147483647 w 235"/>
                <a:gd name="T21" fmla="*/ 2147483647 h 119"/>
                <a:gd name="T22" fmla="*/ 2147483647 w 235"/>
                <a:gd name="T23" fmla="*/ 2147483647 h 119"/>
                <a:gd name="T24" fmla="*/ 2147483647 w 235"/>
                <a:gd name="T25" fmla="*/ 2147483647 h 119"/>
                <a:gd name="T26" fmla="*/ 2147483647 w 235"/>
                <a:gd name="T27" fmla="*/ 2147483647 h 119"/>
                <a:gd name="T28" fmla="*/ 2147483647 w 235"/>
                <a:gd name="T29" fmla="*/ 2147483647 h 119"/>
                <a:gd name="T30" fmla="*/ 2147483647 w 235"/>
                <a:gd name="T31" fmla="*/ 2147483647 h 119"/>
                <a:gd name="T32" fmla="*/ 2147483647 w 235"/>
                <a:gd name="T33" fmla="*/ 2147483647 h 119"/>
                <a:gd name="T34" fmla="*/ 2147483647 w 235"/>
                <a:gd name="T35" fmla="*/ 2147483647 h 119"/>
                <a:gd name="T36" fmla="*/ 2147483647 w 235"/>
                <a:gd name="T37" fmla="*/ 2147483647 h 119"/>
                <a:gd name="T38" fmla="*/ 2147483647 w 235"/>
                <a:gd name="T39" fmla="*/ 2147483647 h 119"/>
                <a:gd name="T40" fmla="*/ 2147483647 w 235"/>
                <a:gd name="T41" fmla="*/ 2147483647 h 119"/>
                <a:gd name="T42" fmla="*/ 2147483647 w 235"/>
                <a:gd name="T43" fmla="*/ 2147483647 h 119"/>
                <a:gd name="T44" fmla="*/ 0 w 235"/>
                <a:gd name="T45" fmla="*/ 2147483647 h 119"/>
                <a:gd name="T46" fmla="*/ 0 w 235"/>
                <a:gd name="T47" fmla="*/ 2147483647 h 119"/>
                <a:gd name="T48" fmla="*/ 2147483647 w 235"/>
                <a:gd name="T49" fmla="*/ 2147483647 h 119"/>
                <a:gd name="T50" fmla="*/ 2147483647 w 235"/>
                <a:gd name="T51" fmla="*/ 2147483647 h 119"/>
                <a:gd name="T52" fmla="*/ 2147483647 w 235"/>
                <a:gd name="T53" fmla="*/ 2147483647 h 119"/>
                <a:gd name="T54" fmla="*/ 2147483647 w 235"/>
                <a:gd name="T55" fmla="*/ 2147483647 h 119"/>
                <a:gd name="T56" fmla="*/ 2147483647 w 235"/>
                <a:gd name="T57" fmla="*/ 2147483647 h 119"/>
                <a:gd name="T58" fmla="*/ 2147483647 w 235"/>
                <a:gd name="T59" fmla="*/ 2147483647 h 119"/>
                <a:gd name="T60" fmla="*/ 2147483647 w 235"/>
                <a:gd name="T61" fmla="*/ 2147483647 h 119"/>
                <a:gd name="T62" fmla="*/ 2147483647 w 235"/>
                <a:gd name="T63" fmla="*/ 2147483647 h 119"/>
                <a:gd name="T64" fmla="*/ 2147483647 w 235"/>
                <a:gd name="T65" fmla="*/ 2147483647 h 119"/>
                <a:gd name="T66" fmla="*/ 2147483647 w 235"/>
                <a:gd name="T67" fmla="*/ 2147483647 h 119"/>
                <a:gd name="T68" fmla="*/ 2147483647 w 235"/>
                <a:gd name="T69" fmla="*/ 0 h 11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35"/>
                <a:gd name="T106" fmla="*/ 0 h 119"/>
                <a:gd name="T107" fmla="*/ 235 w 235"/>
                <a:gd name="T108" fmla="*/ 119 h 11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35" h="119">
                  <a:moveTo>
                    <a:pt x="157" y="93"/>
                  </a:moveTo>
                  <a:lnTo>
                    <a:pt x="157" y="93"/>
                  </a:lnTo>
                  <a:lnTo>
                    <a:pt x="156" y="94"/>
                  </a:lnTo>
                  <a:lnTo>
                    <a:pt x="156" y="93"/>
                  </a:lnTo>
                  <a:lnTo>
                    <a:pt x="157" y="93"/>
                  </a:lnTo>
                  <a:close/>
                  <a:moveTo>
                    <a:pt x="126" y="0"/>
                  </a:moveTo>
                  <a:lnTo>
                    <a:pt x="131" y="3"/>
                  </a:lnTo>
                  <a:lnTo>
                    <a:pt x="138" y="10"/>
                  </a:lnTo>
                  <a:lnTo>
                    <a:pt x="148" y="16"/>
                  </a:lnTo>
                  <a:lnTo>
                    <a:pt x="159" y="19"/>
                  </a:lnTo>
                  <a:lnTo>
                    <a:pt x="170" y="21"/>
                  </a:lnTo>
                  <a:lnTo>
                    <a:pt x="182" y="21"/>
                  </a:lnTo>
                  <a:lnTo>
                    <a:pt x="194" y="21"/>
                  </a:lnTo>
                  <a:lnTo>
                    <a:pt x="204" y="22"/>
                  </a:lnTo>
                  <a:lnTo>
                    <a:pt x="212" y="25"/>
                  </a:lnTo>
                  <a:lnTo>
                    <a:pt x="216" y="33"/>
                  </a:lnTo>
                  <a:lnTo>
                    <a:pt x="220" y="41"/>
                  </a:lnTo>
                  <a:lnTo>
                    <a:pt x="224" y="53"/>
                  </a:lnTo>
                  <a:lnTo>
                    <a:pt x="230" y="66"/>
                  </a:lnTo>
                  <a:lnTo>
                    <a:pt x="232" y="79"/>
                  </a:lnTo>
                  <a:lnTo>
                    <a:pt x="235" y="91"/>
                  </a:lnTo>
                  <a:lnTo>
                    <a:pt x="235" y="104"/>
                  </a:lnTo>
                  <a:lnTo>
                    <a:pt x="232" y="112"/>
                  </a:lnTo>
                  <a:lnTo>
                    <a:pt x="224" y="117"/>
                  </a:lnTo>
                  <a:lnTo>
                    <a:pt x="213" y="119"/>
                  </a:lnTo>
                  <a:lnTo>
                    <a:pt x="197" y="116"/>
                  </a:lnTo>
                  <a:lnTo>
                    <a:pt x="186" y="111"/>
                  </a:lnTo>
                  <a:lnTo>
                    <a:pt x="179" y="105"/>
                  </a:lnTo>
                  <a:lnTo>
                    <a:pt x="175" y="100"/>
                  </a:lnTo>
                  <a:lnTo>
                    <a:pt x="171" y="96"/>
                  </a:lnTo>
                  <a:lnTo>
                    <a:pt x="165" y="93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6" y="91"/>
                  </a:lnTo>
                  <a:lnTo>
                    <a:pt x="150" y="87"/>
                  </a:lnTo>
                  <a:lnTo>
                    <a:pt x="141" y="83"/>
                  </a:lnTo>
                  <a:lnTo>
                    <a:pt x="125" y="76"/>
                  </a:lnTo>
                  <a:lnTo>
                    <a:pt x="100" y="67"/>
                  </a:lnTo>
                  <a:lnTo>
                    <a:pt x="77" y="61"/>
                  </a:lnTo>
                  <a:lnTo>
                    <a:pt x="56" y="59"/>
                  </a:lnTo>
                  <a:lnTo>
                    <a:pt x="37" y="59"/>
                  </a:lnTo>
                  <a:lnTo>
                    <a:pt x="22" y="60"/>
                  </a:lnTo>
                  <a:lnTo>
                    <a:pt x="11" y="60"/>
                  </a:lnTo>
                  <a:lnTo>
                    <a:pt x="3" y="60"/>
                  </a:lnTo>
                  <a:lnTo>
                    <a:pt x="0" y="56"/>
                  </a:lnTo>
                  <a:lnTo>
                    <a:pt x="0" y="55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2" y="49"/>
                  </a:lnTo>
                  <a:lnTo>
                    <a:pt x="5" y="46"/>
                  </a:lnTo>
                  <a:lnTo>
                    <a:pt x="6" y="44"/>
                  </a:lnTo>
                  <a:lnTo>
                    <a:pt x="10" y="42"/>
                  </a:lnTo>
                  <a:lnTo>
                    <a:pt x="14" y="41"/>
                  </a:lnTo>
                  <a:lnTo>
                    <a:pt x="21" y="40"/>
                  </a:lnTo>
                  <a:lnTo>
                    <a:pt x="32" y="37"/>
                  </a:lnTo>
                  <a:lnTo>
                    <a:pt x="40" y="31"/>
                  </a:lnTo>
                  <a:lnTo>
                    <a:pt x="45" y="23"/>
                  </a:lnTo>
                  <a:lnTo>
                    <a:pt x="50" y="16"/>
                  </a:lnTo>
                  <a:lnTo>
                    <a:pt x="51" y="14"/>
                  </a:lnTo>
                  <a:lnTo>
                    <a:pt x="51" y="10"/>
                  </a:lnTo>
                  <a:lnTo>
                    <a:pt x="54" y="7"/>
                  </a:lnTo>
                  <a:lnTo>
                    <a:pt x="59" y="4"/>
                  </a:lnTo>
                  <a:lnTo>
                    <a:pt x="69" y="3"/>
                  </a:lnTo>
                  <a:lnTo>
                    <a:pt x="85" y="4"/>
                  </a:lnTo>
                  <a:lnTo>
                    <a:pt x="99" y="6"/>
                  </a:lnTo>
                  <a:lnTo>
                    <a:pt x="108" y="4"/>
                  </a:lnTo>
                  <a:lnTo>
                    <a:pt x="115" y="3"/>
                  </a:lnTo>
                  <a:lnTo>
                    <a:pt x="120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8" name="Freeform 2757"/>
            <p:cNvSpPr>
              <a:spLocks/>
            </p:cNvSpPr>
            <p:nvPr/>
          </p:nvSpPr>
          <p:spPr bwMode="auto">
            <a:xfrm rot="1114411" flipH="1">
              <a:off x="441598" y="4610654"/>
              <a:ext cx="62314" cy="81231"/>
            </a:xfrm>
            <a:custGeom>
              <a:avLst/>
              <a:gdLst>
                <a:gd name="T0" fmla="*/ 2147483647 w 112"/>
                <a:gd name="T1" fmla="*/ 0 h 146"/>
                <a:gd name="T2" fmla="*/ 2147483647 w 112"/>
                <a:gd name="T3" fmla="*/ 2147483647 h 146"/>
                <a:gd name="T4" fmla="*/ 2147483647 w 112"/>
                <a:gd name="T5" fmla="*/ 2147483647 h 146"/>
                <a:gd name="T6" fmla="*/ 2147483647 w 112"/>
                <a:gd name="T7" fmla="*/ 2147483647 h 146"/>
                <a:gd name="T8" fmla="*/ 2147483647 w 112"/>
                <a:gd name="T9" fmla="*/ 2147483647 h 146"/>
                <a:gd name="T10" fmla="*/ 2147483647 w 112"/>
                <a:gd name="T11" fmla="*/ 2147483647 h 146"/>
                <a:gd name="T12" fmla="*/ 2147483647 w 112"/>
                <a:gd name="T13" fmla="*/ 2147483647 h 146"/>
                <a:gd name="T14" fmla="*/ 2147483647 w 112"/>
                <a:gd name="T15" fmla="*/ 2147483647 h 146"/>
                <a:gd name="T16" fmla="*/ 2147483647 w 112"/>
                <a:gd name="T17" fmla="*/ 2147483647 h 146"/>
                <a:gd name="T18" fmla="*/ 2147483647 w 112"/>
                <a:gd name="T19" fmla="*/ 2147483647 h 146"/>
                <a:gd name="T20" fmla="*/ 2147483647 w 112"/>
                <a:gd name="T21" fmla="*/ 2147483647 h 146"/>
                <a:gd name="T22" fmla="*/ 2147483647 w 112"/>
                <a:gd name="T23" fmla="*/ 2147483647 h 146"/>
                <a:gd name="T24" fmla="*/ 2147483647 w 112"/>
                <a:gd name="T25" fmla="*/ 2147483647 h 146"/>
                <a:gd name="T26" fmla="*/ 2147483647 w 112"/>
                <a:gd name="T27" fmla="*/ 2147483647 h 146"/>
                <a:gd name="T28" fmla="*/ 2147483647 w 112"/>
                <a:gd name="T29" fmla="*/ 2147483647 h 146"/>
                <a:gd name="T30" fmla="*/ 2147483647 w 112"/>
                <a:gd name="T31" fmla="*/ 2147483647 h 146"/>
                <a:gd name="T32" fmla="*/ 2147483647 w 112"/>
                <a:gd name="T33" fmla="*/ 2147483647 h 146"/>
                <a:gd name="T34" fmla="*/ 0 w 112"/>
                <a:gd name="T35" fmla="*/ 2147483647 h 146"/>
                <a:gd name="T36" fmla="*/ 2147483647 w 112"/>
                <a:gd name="T37" fmla="*/ 2147483647 h 146"/>
                <a:gd name="T38" fmla="*/ 2147483647 w 112"/>
                <a:gd name="T39" fmla="*/ 2147483647 h 146"/>
                <a:gd name="T40" fmla="*/ 2147483647 w 112"/>
                <a:gd name="T41" fmla="*/ 2147483647 h 146"/>
                <a:gd name="T42" fmla="*/ 2147483647 w 112"/>
                <a:gd name="T43" fmla="*/ 2147483647 h 146"/>
                <a:gd name="T44" fmla="*/ 2147483647 w 112"/>
                <a:gd name="T45" fmla="*/ 2147483647 h 146"/>
                <a:gd name="T46" fmla="*/ 2147483647 w 112"/>
                <a:gd name="T47" fmla="*/ 2147483647 h 146"/>
                <a:gd name="T48" fmla="*/ 2147483647 w 112"/>
                <a:gd name="T49" fmla="*/ 2147483647 h 146"/>
                <a:gd name="T50" fmla="*/ 2147483647 w 112"/>
                <a:gd name="T51" fmla="*/ 2147483647 h 146"/>
                <a:gd name="T52" fmla="*/ 2147483647 w 112"/>
                <a:gd name="T53" fmla="*/ 2147483647 h 146"/>
                <a:gd name="T54" fmla="*/ 2147483647 w 112"/>
                <a:gd name="T55" fmla="*/ 2147483647 h 146"/>
                <a:gd name="T56" fmla="*/ 2147483647 w 112"/>
                <a:gd name="T57" fmla="*/ 2147483647 h 146"/>
                <a:gd name="T58" fmla="*/ 2147483647 w 112"/>
                <a:gd name="T59" fmla="*/ 2147483647 h 146"/>
                <a:gd name="T60" fmla="*/ 2147483647 w 112"/>
                <a:gd name="T61" fmla="*/ 0 h 1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2"/>
                <a:gd name="T94" fmla="*/ 0 h 146"/>
                <a:gd name="T95" fmla="*/ 112 w 112"/>
                <a:gd name="T96" fmla="*/ 146 h 14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2" h="146">
                  <a:moveTo>
                    <a:pt x="112" y="0"/>
                  </a:moveTo>
                  <a:lnTo>
                    <a:pt x="112" y="24"/>
                  </a:lnTo>
                  <a:lnTo>
                    <a:pt x="109" y="45"/>
                  </a:lnTo>
                  <a:lnTo>
                    <a:pt x="104" y="63"/>
                  </a:lnTo>
                  <a:lnTo>
                    <a:pt x="97" y="77"/>
                  </a:lnTo>
                  <a:lnTo>
                    <a:pt x="91" y="88"/>
                  </a:lnTo>
                  <a:lnTo>
                    <a:pt x="87" y="95"/>
                  </a:lnTo>
                  <a:lnTo>
                    <a:pt x="85" y="97"/>
                  </a:lnTo>
                  <a:lnTo>
                    <a:pt x="83" y="99"/>
                  </a:lnTo>
                  <a:lnTo>
                    <a:pt x="76" y="103"/>
                  </a:lnTo>
                  <a:lnTo>
                    <a:pt x="67" y="110"/>
                  </a:lnTo>
                  <a:lnTo>
                    <a:pt x="56" y="118"/>
                  </a:lnTo>
                  <a:lnTo>
                    <a:pt x="42" y="126"/>
                  </a:lnTo>
                  <a:lnTo>
                    <a:pt x="30" y="134"/>
                  </a:lnTo>
                  <a:lnTo>
                    <a:pt x="19" y="140"/>
                  </a:lnTo>
                  <a:lnTo>
                    <a:pt x="10" y="145"/>
                  </a:lnTo>
                  <a:lnTo>
                    <a:pt x="3" y="146"/>
                  </a:lnTo>
                  <a:lnTo>
                    <a:pt x="0" y="144"/>
                  </a:lnTo>
                  <a:lnTo>
                    <a:pt x="3" y="134"/>
                  </a:lnTo>
                  <a:lnTo>
                    <a:pt x="8" y="120"/>
                  </a:lnTo>
                  <a:lnTo>
                    <a:pt x="15" y="103"/>
                  </a:lnTo>
                  <a:lnTo>
                    <a:pt x="25" y="85"/>
                  </a:lnTo>
                  <a:lnTo>
                    <a:pt x="34" y="69"/>
                  </a:lnTo>
                  <a:lnTo>
                    <a:pt x="42" y="54"/>
                  </a:lnTo>
                  <a:lnTo>
                    <a:pt x="52" y="44"/>
                  </a:lnTo>
                  <a:lnTo>
                    <a:pt x="63" y="33"/>
                  </a:lnTo>
                  <a:lnTo>
                    <a:pt x="76" y="24"/>
                  </a:lnTo>
                  <a:lnTo>
                    <a:pt x="90" y="14"/>
                  </a:lnTo>
                  <a:lnTo>
                    <a:pt x="101" y="7"/>
                  </a:lnTo>
                  <a:lnTo>
                    <a:pt x="109" y="3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29" name="Freeform 2758"/>
            <p:cNvSpPr>
              <a:spLocks/>
            </p:cNvSpPr>
            <p:nvPr/>
          </p:nvSpPr>
          <p:spPr bwMode="auto">
            <a:xfrm rot="1114411" flipH="1">
              <a:off x="541014" y="4531647"/>
              <a:ext cx="168025" cy="171364"/>
            </a:xfrm>
            <a:custGeom>
              <a:avLst/>
              <a:gdLst>
                <a:gd name="T0" fmla="*/ 2147483647 w 302"/>
                <a:gd name="T1" fmla="*/ 2147483647 h 308"/>
                <a:gd name="T2" fmla="*/ 2147483647 w 302"/>
                <a:gd name="T3" fmla="*/ 2147483647 h 308"/>
                <a:gd name="T4" fmla="*/ 2147483647 w 302"/>
                <a:gd name="T5" fmla="*/ 2147483647 h 308"/>
                <a:gd name="T6" fmla="*/ 2147483647 w 302"/>
                <a:gd name="T7" fmla="*/ 2147483647 h 308"/>
                <a:gd name="T8" fmla="*/ 2147483647 w 302"/>
                <a:gd name="T9" fmla="*/ 2147483647 h 308"/>
                <a:gd name="T10" fmla="*/ 2147483647 w 302"/>
                <a:gd name="T11" fmla="*/ 2147483647 h 308"/>
                <a:gd name="T12" fmla="*/ 2147483647 w 302"/>
                <a:gd name="T13" fmla="*/ 2147483647 h 308"/>
                <a:gd name="T14" fmla="*/ 2147483647 w 302"/>
                <a:gd name="T15" fmla="*/ 2147483647 h 308"/>
                <a:gd name="T16" fmla="*/ 2147483647 w 302"/>
                <a:gd name="T17" fmla="*/ 2147483647 h 308"/>
                <a:gd name="T18" fmla="*/ 2147483647 w 302"/>
                <a:gd name="T19" fmla="*/ 2147483647 h 308"/>
                <a:gd name="T20" fmla="*/ 2147483647 w 302"/>
                <a:gd name="T21" fmla="*/ 2147483647 h 308"/>
                <a:gd name="T22" fmla="*/ 2147483647 w 302"/>
                <a:gd name="T23" fmla="*/ 2147483647 h 308"/>
                <a:gd name="T24" fmla="*/ 2147483647 w 302"/>
                <a:gd name="T25" fmla="*/ 2147483647 h 308"/>
                <a:gd name="T26" fmla="*/ 2147483647 w 302"/>
                <a:gd name="T27" fmla="*/ 2147483647 h 308"/>
                <a:gd name="T28" fmla="*/ 2147483647 w 302"/>
                <a:gd name="T29" fmla="*/ 2147483647 h 308"/>
                <a:gd name="T30" fmla="*/ 2147483647 w 302"/>
                <a:gd name="T31" fmla="*/ 2147483647 h 308"/>
                <a:gd name="T32" fmla="*/ 2147483647 w 302"/>
                <a:gd name="T33" fmla="*/ 2147483647 h 308"/>
                <a:gd name="T34" fmla="*/ 2147483647 w 302"/>
                <a:gd name="T35" fmla="*/ 2147483647 h 308"/>
                <a:gd name="T36" fmla="*/ 2147483647 w 302"/>
                <a:gd name="T37" fmla="*/ 2147483647 h 308"/>
                <a:gd name="T38" fmla="*/ 2147483647 w 302"/>
                <a:gd name="T39" fmla="*/ 2147483647 h 308"/>
                <a:gd name="T40" fmla="*/ 2147483647 w 302"/>
                <a:gd name="T41" fmla="*/ 2147483647 h 308"/>
                <a:gd name="T42" fmla="*/ 2147483647 w 302"/>
                <a:gd name="T43" fmla="*/ 2147483647 h 308"/>
                <a:gd name="T44" fmla="*/ 2147483647 w 302"/>
                <a:gd name="T45" fmla="*/ 2147483647 h 308"/>
                <a:gd name="T46" fmla="*/ 2147483647 w 302"/>
                <a:gd name="T47" fmla="*/ 2147483647 h 308"/>
                <a:gd name="T48" fmla="*/ 0 w 302"/>
                <a:gd name="T49" fmla="*/ 2147483647 h 308"/>
                <a:gd name="T50" fmla="*/ 2147483647 w 302"/>
                <a:gd name="T51" fmla="*/ 2147483647 h 308"/>
                <a:gd name="T52" fmla="*/ 2147483647 w 302"/>
                <a:gd name="T53" fmla="*/ 2147483647 h 308"/>
                <a:gd name="T54" fmla="*/ 2147483647 w 302"/>
                <a:gd name="T55" fmla="*/ 2147483647 h 308"/>
                <a:gd name="T56" fmla="*/ 2147483647 w 302"/>
                <a:gd name="T57" fmla="*/ 2147483647 h 308"/>
                <a:gd name="T58" fmla="*/ 2147483647 w 302"/>
                <a:gd name="T59" fmla="*/ 2147483647 h 308"/>
                <a:gd name="T60" fmla="*/ 2147483647 w 302"/>
                <a:gd name="T61" fmla="*/ 2147483647 h 308"/>
                <a:gd name="T62" fmla="*/ 2147483647 w 302"/>
                <a:gd name="T63" fmla="*/ 2147483647 h 308"/>
                <a:gd name="T64" fmla="*/ 2147483647 w 302"/>
                <a:gd name="T65" fmla="*/ 2147483647 h 308"/>
                <a:gd name="T66" fmla="*/ 2147483647 w 302"/>
                <a:gd name="T67" fmla="*/ 2147483647 h 308"/>
                <a:gd name="T68" fmla="*/ 2147483647 w 302"/>
                <a:gd name="T69" fmla="*/ 2147483647 h 308"/>
                <a:gd name="T70" fmla="*/ 2147483647 w 302"/>
                <a:gd name="T71" fmla="*/ 2147483647 h 308"/>
                <a:gd name="T72" fmla="*/ 2147483647 w 302"/>
                <a:gd name="T73" fmla="*/ 2147483647 h 308"/>
                <a:gd name="T74" fmla="*/ 2147483647 w 302"/>
                <a:gd name="T75" fmla="*/ 2147483647 h 308"/>
                <a:gd name="T76" fmla="*/ 2147483647 w 302"/>
                <a:gd name="T77" fmla="*/ 2147483647 h 308"/>
                <a:gd name="T78" fmla="*/ 2147483647 w 302"/>
                <a:gd name="T79" fmla="*/ 2147483647 h 308"/>
                <a:gd name="T80" fmla="*/ 2147483647 w 302"/>
                <a:gd name="T81" fmla="*/ 2147483647 h 308"/>
                <a:gd name="T82" fmla="*/ 2147483647 w 302"/>
                <a:gd name="T83" fmla="*/ 2147483647 h 308"/>
                <a:gd name="T84" fmla="*/ 2147483647 w 302"/>
                <a:gd name="T85" fmla="*/ 2147483647 h 308"/>
                <a:gd name="T86" fmla="*/ 2147483647 w 302"/>
                <a:gd name="T87" fmla="*/ 2147483647 h 30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02"/>
                <a:gd name="T133" fmla="*/ 0 h 308"/>
                <a:gd name="T134" fmla="*/ 302 w 302"/>
                <a:gd name="T135" fmla="*/ 308 h 30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02" h="308">
                  <a:moveTo>
                    <a:pt x="275" y="0"/>
                  </a:moveTo>
                  <a:lnTo>
                    <a:pt x="282" y="4"/>
                  </a:lnTo>
                  <a:lnTo>
                    <a:pt x="289" y="14"/>
                  </a:lnTo>
                  <a:lnTo>
                    <a:pt x="293" y="27"/>
                  </a:lnTo>
                  <a:lnTo>
                    <a:pt x="297" y="42"/>
                  </a:lnTo>
                  <a:lnTo>
                    <a:pt x="300" y="60"/>
                  </a:lnTo>
                  <a:lnTo>
                    <a:pt x="301" y="79"/>
                  </a:lnTo>
                  <a:lnTo>
                    <a:pt x="302" y="97"/>
                  </a:lnTo>
                  <a:lnTo>
                    <a:pt x="302" y="113"/>
                  </a:lnTo>
                  <a:lnTo>
                    <a:pt x="302" y="127"/>
                  </a:lnTo>
                  <a:lnTo>
                    <a:pt x="301" y="136"/>
                  </a:lnTo>
                  <a:lnTo>
                    <a:pt x="300" y="140"/>
                  </a:lnTo>
                  <a:lnTo>
                    <a:pt x="297" y="143"/>
                  </a:lnTo>
                  <a:lnTo>
                    <a:pt x="295" y="147"/>
                  </a:lnTo>
                  <a:lnTo>
                    <a:pt x="293" y="150"/>
                  </a:lnTo>
                  <a:lnTo>
                    <a:pt x="293" y="153"/>
                  </a:lnTo>
                  <a:lnTo>
                    <a:pt x="291" y="155"/>
                  </a:lnTo>
                  <a:lnTo>
                    <a:pt x="294" y="176"/>
                  </a:lnTo>
                  <a:lnTo>
                    <a:pt x="290" y="194"/>
                  </a:lnTo>
                  <a:lnTo>
                    <a:pt x="280" y="213"/>
                  </a:lnTo>
                  <a:lnTo>
                    <a:pt x="268" y="231"/>
                  </a:lnTo>
                  <a:lnTo>
                    <a:pt x="256" y="247"/>
                  </a:lnTo>
                  <a:lnTo>
                    <a:pt x="242" y="263"/>
                  </a:lnTo>
                  <a:lnTo>
                    <a:pt x="231" y="278"/>
                  </a:lnTo>
                  <a:lnTo>
                    <a:pt x="223" y="292"/>
                  </a:lnTo>
                  <a:lnTo>
                    <a:pt x="218" y="303"/>
                  </a:lnTo>
                  <a:lnTo>
                    <a:pt x="211" y="307"/>
                  </a:lnTo>
                  <a:lnTo>
                    <a:pt x="204" y="306"/>
                  </a:lnTo>
                  <a:lnTo>
                    <a:pt x="197" y="301"/>
                  </a:lnTo>
                  <a:lnTo>
                    <a:pt x="189" y="293"/>
                  </a:lnTo>
                  <a:lnTo>
                    <a:pt x="178" y="285"/>
                  </a:lnTo>
                  <a:lnTo>
                    <a:pt x="167" y="278"/>
                  </a:lnTo>
                  <a:lnTo>
                    <a:pt x="155" y="274"/>
                  </a:lnTo>
                  <a:lnTo>
                    <a:pt x="143" y="276"/>
                  </a:lnTo>
                  <a:lnTo>
                    <a:pt x="135" y="278"/>
                  </a:lnTo>
                  <a:lnTo>
                    <a:pt x="128" y="284"/>
                  </a:lnTo>
                  <a:lnTo>
                    <a:pt x="124" y="288"/>
                  </a:lnTo>
                  <a:lnTo>
                    <a:pt x="121" y="291"/>
                  </a:lnTo>
                  <a:lnTo>
                    <a:pt x="118" y="291"/>
                  </a:lnTo>
                  <a:lnTo>
                    <a:pt x="110" y="293"/>
                  </a:lnTo>
                  <a:lnTo>
                    <a:pt x="99" y="296"/>
                  </a:lnTo>
                  <a:lnTo>
                    <a:pt x="84" y="300"/>
                  </a:lnTo>
                  <a:lnTo>
                    <a:pt x="68" y="304"/>
                  </a:lnTo>
                  <a:lnTo>
                    <a:pt x="50" y="307"/>
                  </a:lnTo>
                  <a:lnTo>
                    <a:pt x="35" y="308"/>
                  </a:lnTo>
                  <a:lnTo>
                    <a:pt x="20" y="308"/>
                  </a:lnTo>
                  <a:lnTo>
                    <a:pt x="9" y="307"/>
                  </a:lnTo>
                  <a:lnTo>
                    <a:pt x="1" y="303"/>
                  </a:lnTo>
                  <a:lnTo>
                    <a:pt x="0" y="296"/>
                  </a:lnTo>
                  <a:lnTo>
                    <a:pt x="4" y="280"/>
                  </a:lnTo>
                  <a:lnTo>
                    <a:pt x="13" y="267"/>
                  </a:lnTo>
                  <a:lnTo>
                    <a:pt x="25" y="259"/>
                  </a:lnTo>
                  <a:lnTo>
                    <a:pt x="39" y="252"/>
                  </a:lnTo>
                  <a:lnTo>
                    <a:pt x="55" y="248"/>
                  </a:lnTo>
                  <a:lnTo>
                    <a:pt x="72" y="246"/>
                  </a:lnTo>
                  <a:lnTo>
                    <a:pt x="88" y="243"/>
                  </a:lnTo>
                  <a:lnTo>
                    <a:pt x="105" y="241"/>
                  </a:lnTo>
                  <a:lnTo>
                    <a:pt x="118" y="237"/>
                  </a:lnTo>
                  <a:lnTo>
                    <a:pt x="129" y="233"/>
                  </a:lnTo>
                  <a:lnTo>
                    <a:pt x="137" y="226"/>
                  </a:lnTo>
                  <a:lnTo>
                    <a:pt x="148" y="216"/>
                  </a:lnTo>
                  <a:lnTo>
                    <a:pt x="160" y="211"/>
                  </a:lnTo>
                  <a:lnTo>
                    <a:pt x="171" y="213"/>
                  </a:lnTo>
                  <a:lnTo>
                    <a:pt x="181" y="214"/>
                  </a:lnTo>
                  <a:lnTo>
                    <a:pt x="189" y="214"/>
                  </a:lnTo>
                  <a:lnTo>
                    <a:pt x="196" y="210"/>
                  </a:lnTo>
                  <a:lnTo>
                    <a:pt x="205" y="199"/>
                  </a:lnTo>
                  <a:lnTo>
                    <a:pt x="218" y="188"/>
                  </a:lnTo>
                  <a:lnTo>
                    <a:pt x="234" y="180"/>
                  </a:lnTo>
                  <a:lnTo>
                    <a:pt x="252" y="176"/>
                  </a:lnTo>
                  <a:lnTo>
                    <a:pt x="259" y="173"/>
                  </a:lnTo>
                  <a:lnTo>
                    <a:pt x="264" y="165"/>
                  </a:lnTo>
                  <a:lnTo>
                    <a:pt x="267" y="155"/>
                  </a:lnTo>
                  <a:lnTo>
                    <a:pt x="268" y="145"/>
                  </a:lnTo>
                  <a:lnTo>
                    <a:pt x="267" y="134"/>
                  </a:lnTo>
                  <a:lnTo>
                    <a:pt x="267" y="124"/>
                  </a:lnTo>
                  <a:lnTo>
                    <a:pt x="265" y="117"/>
                  </a:lnTo>
                  <a:lnTo>
                    <a:pt x="265" y="115"/>
                  </a:lnTo>
                  <a:lnTo>
                    <a:pt x="264" y="110"/>
                  </a:lnTo>
                  <a:lnTo>
                    <a:pt x="260" y="102"/>
                  </a:lnTo>
                  <a:lnTo>
                    <a:pt x="256" y="90"/>
                  </a:lnTo>
                  <a:lnTo>
                    <a:pt x="250" y="75"/>
                  </a:lnTo>
                  <a:lnTo>
                    <a:pt x="248" y="59"/>
                  </a:lnTo>
                  <a:lnTo>
                    <a:pt x="246" y="41"/>
                  </a:lnTo>
                  <a:lnTo>
                    <a:pt x="249" y="26"/>
                  </a:lnTo>
                  <a:lnTo>
                    <a:pt x="256" y="12"/>
                  </a:lnTo>
                  <a:lnTo>
                    <a:pt x="265" y="3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0" name="Freeform 2759"/>
            <p:cNvSpPr>
              <a:spLocks/>
            </p:cNvSpPr>
            <p:nvPr/>
          </p:nvSpPr>
          <p:spPr bwMode="auto">
            <a:xfrm rot="1114411" flipH="1">
              <a:off x="577096" y="4737164"/>
              <a:ext cx="95697" cy="47292"/>
            </a:xfrm>
            <a:custGeom>
              <a:avLst/>
              <a:gdLst>
                <a:gd name="T0" fmla="*/ 2147483647 w 172"/>
                <a:gd name="T1" fmla="*/ 0 h 85"/>
                <a:gd name="T2" fmla="*/ 2147483647 w 172"/>
                <a:gd name="T3" fmla="*/ 2147483647 h 85"/>
                <a:gd name="T4" fmla="*/ 2147483647 w 172"/>
                <a:gd name="T5" fmla="*/ 2147483647 h 85"/>
                <a:gd name="T6" fmla="*/ 2147483647 w 172"/>
                <a:gd name="T7" fmla="*/ 2147483647 h 85"/>
                <a:gd name="T8" fmla="*/ 2147483647 w 172"/>
                <a:gd name="T9" fmla="*/ 2147483647 h 85"/>
                <a:gd name="T10" fmla="*/ 2147483647 w 172"/>
                <a:gd name="T11" fmla="*/ 2147483647 h 85"/>
                <a:gd name="T12" fmla="*/ 2147483647 w 172"/>
                <a:gd name="T13" fmla="*/ 2147483647 h 85"/>
                <a:gd name="T14" fmla="*/ 2147483647 w 172"/>
                <a:gd name="T15" fmla="*/ 2147483647 h 85"/>
                <a:gd name="T16" fmla="*/ 2147483647 w 172"/>
                <a:gd name="T17" fmla="*/ 2147483647 h 85"/>
                <a:gd name="T18" fmla="*/ 2147483647 w 172"/>
                <a:gd name="T19" fmla="*/ 2147483647 h 85"/>
                <a:gd name="T20" fmla="*/ 2147483647 w 172"/>
                <a:gd name="T21" fmla="*/ 2147483647 h 85"/>
                <a:gd name="T22" fmla="*/ 2147483647 w 172"/>
                <a:gd name="T23" fmla="*/ 2147483647 h 85"/>
                <a:gd name="T24" fmla="*/ 2147483647 w 172"/>
                <a:gd name="T25" fmla="*/ 2147483647 h 85"/>
                <a:gd name="T26" fmla="*/ 2147483647 w 172"/>
                <a:gd name="T27" fmla="*/ 2147483647 h 85"/>
                <a:gd name="T28" fmla="*/ 2147483647 w 172"/>
                <a:gd name="T29" fmla="*/ 2147483647 h 85"/>
                <a:gd name="T30" fmla="*/ 2147483647 w 172"/>
                <a:gd name="T31" fmla="*/ 2147483647 h 85"/>
                <a:gd name="T32" fmla="*/ 2147483647 w 172"/>
                <a:gd name="T33" fmla="*/ 2147483647 h 85"/>
                <a:gd name="T34" fmla="*/ 2147483647 w 172"/>
                <a:gd name="T35" fmla="*/ 2147483647 h 85"/>
                <a:gd name="T36" fmla="*/ 2147483647 w 172"/>
                <a:gd name="T37" fmla="*/ 2147483647 h 85"/>
                <a:gd name="T38" fmla="*/ 2147483647 w 172"/>
                <a:gd name="T39" fmla="*/ 2147483647 h 85"/>
                <a:gd name="T40" fmla="*/ 2147483647 w 172"/>
                <a:gd name="T41" fmla="*/ 2147483647 h 85"/>
                <a:gd name="T42" fmla="*/ 2147483647 w 172"/>
                <a:gd name="T43" fmla="*/ 2147483647 h 85"/>
                <a:gd name="T44" fmla="*/ 2147483647 w 172"/>
                <a:gd name="T45" fmla="*/ 2147483647 h 85"/>
                <a:gd name="T46" fmla="*/ 2147483647 w 172"/>
                <a:gd name="T47" fmla="*/ 2147483647 h 85"/>
                <a:gd name="T48" fmla="*/ 2147483647 w 172"/>
                <a:gd name="T49" fmla="*/ 2147483647 h 85"/>
                <a:gd name="T50" fmla="*/ 2147483647 w 172"/>
                <a:gd name="T51" fmla="*/ 2147483647 h 85"/>
                <a:gd name="T52" fmla="*/ 2147483647 w 172"/>
                <a:gd name="T53" fmla="*/ 2147483647 h 85"/>
                <a:gd name="T54" fmla="*/ 2147483647 w 172"/>
                <a:gd name="T55" fmla="*/ 2147483647 h 85"/>
                <a:gd name="T56" fmla="*/ 2147483647 w 172"/>
                <a:gd name="T57" fmla="*/ 2147483647 h 85"/>
                <a:gd name="T58" fmla="*/ 2147483647 w 172"/>
                <a:gd name="T59" fmla="*/ 2147483647 h 85"/>
                <a:gd name="T60" fmla="*/ 2147483647 w 172"/>
                <a:gd name="T61" fmla="*/ 2147483647 h 85"/>
                <a:gd name="T62" fmla="*/ 2147483647 w 172"/>
                <a:gd name="T63" fmla="*/ 2147483647 h 85"/>
                <a:gd name="T64" fmla="*/ 2147483647 w 172"/>
                <a:gd name="T65" fmla="*/ 2147483647 h 85"/>
                <a:gd name="T66" fmla="*/ 2147483647 w 172"/>
                <a:gd name="T67" fmla="*/ 2147483647 h 85"/>
                <a:gd name="T68" fmla="*/ 2147483647 w 172"/>
                <a:gd name="T69" fmla="*/ 2147483647 h 85"/>
                <a:gd name="T70" fmla="*/ 2147483647 w 172"/>
                <a:gd name="T71" fmla="*/ 2147483647 h 85"/>
                <a:gd name="T72" fmla="*/ 2147483647 w 172"/>
                <a:gd name="T73" fmla="*/ 2147483647 h 85"/>
                <a:gd name="T74" fmla="*/ 0 w 172"/>
                <a:gd name="T75" fmla="*/ 2147483647 h 85"/>
                <a:gd name="T76" fmla="*/ 2147483647 w 172"/>
                <a:gd name="T77" fmla="*/ 2147483647 h 85"/>
                <a:gd name="T78" fmla="*/ 2147483647 w 172"/>
                <a:gd name="T79" fmla="*/ 0 h 85"/>
                <a:gd name="T80" fmla="*/ 2147483647 w 172"/>
                <a:gd name="T81" fmla="*/ 0 h 8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2"/>
                <a:gd name="T124" fmla="*/ 0 h 85"/>
                <a:gd name="T125" fmla="*/ 172 w 172"/>
                <a:gd name="T126" fmla="*/ 85 h 8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2" h="85">
                  <a:moveTo>
                    <a:pt x="17" y="0"/>
                  </a:moveTo>
                  <a:lnTo>
                    <a:pt x="25" y="3"/>
                  </a:lnTo>
                  <a:lnTo>
                    <a:pt x="34" y="10"/>
                  </a:lnTo>
                  <a:lnTo>
                    <a:pt x="44" y="15"/>
                  </a:lnTo>
                  <a:lnTo>
                    <a:pt x="55" y="20"/>
                  </a:lnTo>
                  <a:lnTo>
                    <a:pt x="67" y="23"/>
                  </a:lnTo>
                  <a:lnTo>
                    <a:pt x="83" y="25"/>
                  </a:lnTo>
                  <a:lnTo>
                    <a:pt x="101" y="25"/>
                  </a:lnTo>
                  <a:lnTo>
                    <a:pt x="119" y="25"/>
                  </a:lnTo>
                  <a:lnTo>
                    <a:pt x="134" y="23"/>
                  </a:lnTo>
                  <a:lnTo>
                    <a:pt x="145" y="22"/>
                  </a:lnTo>
                  <a:lnTo>
                    <a:pt x="149" y="22"/>
                  </a:lnTo>
                  <a:lnTo>
                    <a:pt x="150" y="22"/>
                  </a:lnTo>
                  <a:lnTo>
                    <a:pt x="154" y="23"/>
                  </a:lnTo>
                  <a:lnTo>
                    <a:pt x="160" y="25"/>
                  </a:lnTo>
                  <a:lnTo>
                    <a:pt x="165" y="27"/>
                  </a:lnTo>
                  <a:lnTo>
                    <a:pt x="169" y="31"/>
                  </a:lnTo>
                  <a:lnTo>
                    <a:pt x="172" y="38"/>
                  </a:lnTo>
                  <a:lnTo>
                    <a:pt x="169" y="46"/>
                  </a:lnTo>
                  <a:lnTo>
                    <a:pt x="162" y="59"/>
                  </a:lnTo>
                  <a:lnTo>
                    <a:pt x="149" y="72"/>
                  </a:lnTo>
                  <a:lnTo>
                    <a:pt x="132" y="81"/>
                  </a:lnTo>
                  <a:lnTo>
                    <a:pt x="117" y="85"/>
                  </a:lnTo>
                  <a:lnTo>
                    <a:pt x="104" y="85"/>
                  </a:lnTo>
                  <a:lnTo>
                    <a:pt x="94" y="85"/>
                  </a:lnTo>
                  <a:lnTo>
                    <a:pt x="89" y="85"/>
                  </a:lnTo>
                  <a:lnTo>
                    <a:pt x="85" y="82"/>
                  </a:lnTo>
                  <a:lnTo>
                    <a:pt x="77" y="75"/>
                  </a:lnTo>
                  <a:lnTo>
                    <a:pt x="66" y="67"/>
                  </a:lnTo>
                  <a:lnTo>
                    <a:pt x="53" y="59"/>
                  </a:lnTo>
                  <a:lnTo>
                    <a:pt x="41" y="52"/>
                  </a:lnTo>
                  <a:lnTo>
                    <a:pt x="29" y="46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1" y="40"/>
                  </a:lnTo>
                  <a:lnTo>
                    <a:pt x="6" y="33"/>
                  </a:lnTo>
                  <a:lnTo>
                    <a:pt x="2" y="25"/>
                  </a:lnTo>
                  <a:lnTo>
                    <a:pt x="0" y="15"/>
                  </a:lnTo>
                  <a:lnTo>
                    <a:pt x="3" y="7"/>
                  </a:lnTo>
                  <a:lnTo>
                    <a:pt x="10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1" name="Freeform 2760"/>
            <p:cNvSpPr>
              <a:spLocks/>
            </p:cNvSpPr>
            <p:nvPr/>
          </p:nvSpPr>
          <p:spPr bwMode="auto">
            <a:xfrm rot="1114411" flipH="1">
              <a:off x="744738" y="4419942"/>
              <a:ext cx="76780" cy="89577"/>
            </a:xfrm>
            <a:custGeom>
              <a:avLst/>
              <a:gdLst>
                <a:gd name="T0" fmla="*/ 2147483647 w 138"/>
                <a:gd name="T1" fmla="*/ 0 h 161"/>
                <a:gd name="T2" fmla="*/ 2147483647 w 138"/>
                <a:gd name="T3" fmla="*/ 2147483647 h 161"/>
                <a:gd name="T4" fmla="*/ 2147483647 w 138"/>
                <a:gd name="T5" fmla="*/ 2147483647 h 161"/>
                <a:gd name="T6" fmla="*/ 2147483647 w 138"/>
                <a:gd name="T7" fmla="*/ 2147483647 h 161"/>
                <a:gd name="T8" fmla="*/ 2147483647 w 138"/>
                <a:gd name="T9" fmla="*/ 2147483647 h 161"/>
                <a:gd name="T10" fmla="*/ 2147483647 w 138"/>
                <a:gd name="T11" fmla="*/ 2147483647 h 161"/>
                <a:gd name="T12" fmla="*/ 2147483647 w 138"/>
                <a:gd name="T13" fmla="*/ 2147483647 h 161"/>
                <a:gd name="T14" fmla="*/ 2147483647 w 138"/>
                <a:gd name="T15" fmla="*/ 2147483647 h 161"/>
                <a:gd name="T16" fmla="*/ 2147483647 w 138"/>
                <a:gd name="T17" fmla="*/ 2147483647 h 161"/>
                <a:gd name="T18" fmla="*/ 2147483647 w 138"/>
                <a:gd name="T19" fmla="*/ 2147483647 h 161"/>
                <a:gd name="T20" fmla="*/ 2147483647 w 138"/>
                <a:gd name="T21" fmla="*/ 2147483647 h 161"/>
                <a:gd name="T22" fmla="*/ 2147483647 w 138"/>
                <a:gd name="T23" fmla="*/ 2147483647 h 161"/>
                <a:gd name="T24" fmla="*/ 2147483647 w 138"/>
                <a:gd name="T25" fmla="*/ 2147483647 h 161"/>
                <a:gd name="T26" fmla="*/ 2147483647 w 138"/>
                <a:gd name="T27" fmla="*/ 2147483647 h 161"/>
                <a:gd name="T28" fmla="*/ 2147483647 w 138"/>
                <a:gd name="T29" fmla="*/ 2147483647 h 161"/>
                <a:gd name="T30" fmla="*/ 2147483647 w 138"/>
                <a:gd name="T31" fmla="*/ 2147483647 h 161"/>
                <a:gd name="T32" fmla="*/ 2147483647 w 138"/>
                <a:gd name="T33" fmla="*/ 2147483647 h 161"/>
                <a:gd name="T34" fmla="*/ 2147483647 w 138"/>
                <a:gd name="T35" fmla="*/ 2147483647 h 161"/>
                <a:gd name="T36" fmla="*/ 2147483647 w 138"/>
                <a:gd name="T37" fmla="*/ 2147483647 h 161"/>
                <a:gd name="T38" fmla="*/ 2147483647 w 138"/>
                <a:gd name="T39" fmla="*/ 2147483647 h 161"/>
                <a:gd name="T40" fmla="*/ 2147483647 w 138"/>
                <a:gd name="T41" fmla="*/ 2147483647 h 161"/>
                <a:gd name="T42" fmla="*/ 2147483647 w 138"/>
                <a:gd name="T43" fmla="*/ 2147483647 h 161"/>
                <a:gd name="T44" fmla="*/ 2147483647 w 138"/>
                <a:gd name="T45" fmla="*/ 2147483647 h 161"/>
                <a:gd name="T46" fmla="*/ 2147483647 w 138"/>
                <a:gd name="T47" fmla="*/ 2147483647 h 161"/>
                <a:gd name="T48" fmla="*/ 2147483647 w 138"/>
                <a:gd name="T49" fmla="*/ 2147483647 h 161"/>
                <a:gd name="T50" fmla="*/ 2147483647 w 138"/>
                <a:gd name="T51" fmla="*/ 2147483647 h 161"/>
                <a:gd name="T52" fmla="*/ 2147483647 w 138"/>
                <a:gd name="T53" fmla="*/ 2147483647 h 161"/>
                <a:gd name="T54" fmla="*/ 2147483647 w 138"/>
                <a:gd name="T55" fmla="*/ 2147483647 h 161"/>
                <a:gd name="T56" fmla="*/ 2147483647 w 138"/>
                <a:gd name="T57" fmla="*/ 2147483647 h 161"/>
                <a:gd name="T58" fmla="*/ 2147483647 w 138"/>
                <a:gd name="T59" fmla="*/ 2147483647 h 161"/>
                <a:gd name="T60" fmla="*/ 2147483647 w 138"/>
                <a:gd name="T61" fmla="*/ 2147483647 h 161"/>
                <a:gd name="T62" fmla="*/ 0 w 138"/>
                <a:gd name="T63" fmla="*/ 2147483647 h 161"/>
                <a:gd name="T64" fmla="*/ 2147483647 w 138"/>
                <a:gd name="T65" fmla="*/ 2147483647 h 161"/>
                <a:gd name="T66" fmla="*/ 2147483647 w 138"/>
                <a:gd name="T67" fmla="*/ 2147483647 h 161"/>
                <a:gd name="T68" fmla="*/ 2147483647 w 138"/>
                <a:gd name="T69" fmla="*/ 2147483647 h 161"/>
                <a:gd name="T70" fmla="*/ 2147483647 w 138"/>
                <a:gd name="T71" fmla="*/ 2147483647 h 161"/>
                <a:gd name="T72" fmla="*/ 2147483647 w 138"/>
                <a:gd name="T73" fmla="*/ 2147483647 h 161"/>
                <a:gd name="T74" fmla="*/ 2147483647 w 138"/>
                <a:gd name="T75" fmla="*/ 2147483647 h 161"/>
                <a:gd name="T76" fmla="*/ 2147483647 w 138"/>
                <a:gd name="T77" fmla="*/ 2147483647 h 161"/>
                <a:gd name="T78" fmla="*/ 2147483647 w 138"/>
                <a:gd name="T79" fmla="*/ 2147483647 h 161"/>
                <a:gd name="T80" fmla="*/ 2147483647 w 138"/>
                <a:gd name="T81" fmla="*/ 2147483647 h 161"/>
                <a:gd name="T82" fmla="*/ 2147483647 w 138"/>
                <a:gd name="T83" fmla="*/ 0 h 16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38"/>
                <a:gd name="T127" fmla="*/ 0 h 161"/>
                <a:gd name="T128" fmla="*/ 138 w 138"/>
                <a:gd name="T129" fmla="*/ 161 h 16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38" h="161">
                  <a:moveTo>
                    <a:pt x="44" y="0"/>
                  </a:moveTo>
                  <a:lnTo>
                    <a:pt x="53" y="1"/>
                  </a:lnTo>
                  <a:lnTo>
                    <a:pt x="65" y="7"/>
                  </a:lnTo>
                  <a:lnTo>
                    <a:pt x="79" y="14"/>
                  </a:lnTo>
                  <a:lnTo>
                    <a:pt x="93" y="22"/>
                  </a:lnTo>
                  <a:lnTo>
                    <a:pt x="106" y="31"/>
                  </a:lnTo>
                  <a:lnTo>
                    <a:pt x="117" y="41"/>
                  </a:lnTo>
                  <a:lnTo>
                    <a:pt x="127" y="52"/>
                  </a:lnTo>
                  <a:lnTo>
                    <a:pt x="134" y="61"/>
                  </a:lnTo>
                  <a:lnTo>
                    <a:pt x="138" y="75"/>
                  </a:lnTo>
                  <a:lnTo>
                    <a:pt x="138" y="89"/>
                  </a:lnTo>
                  <a:lnTo>
                    <a:pt x="135" y="104"/>
                  </a:lnTo>
                  <a:lnTo>
                    <a:pt x="131" y="117"/>
                  </a:lnTo>
                  <a:lnTo>
                    <a:pt x="124" y="128"/>
                  </a:lnTo>
                  <a:lnTo>
                    <a:pt x="119" y="138"/>
                  </a:lnTo>
                  <a:lnTo>
                    <a:pt x="115" y="145"/>
                  </a:lnTo>
                  <a:lnTo>
                    <a:pt x="113" y="147"/>
                  </a:lnTo>
                  <a:lnTo>
                    <a:pt x="112" y="149"/>
                  </a:lnTo>
                  <a:lnTo>
                    <a:pt x="106" y="150"/>
                  </a:lnTo>
                  <a:lnTo>
                    <a:pt x="98" y="154"/>
                  </a:lnTo>
                  <a:lnTo>
                    <a:pt x="89" y="158"/>
                  </a:lnTo>
                  <a:lnTo>
                    <a:pt x="80" y="161"/>
                  </a:lnTo>
                  <a:lnTo>
                    <a:pt x="72" y="161"/>
                  </a:lnTo>
                  <a:lnTo>
                    <a:pt x="67" y="160"/>
                  </a:lnTo>
                  <a:lnTo>
                    <a:pt x="65" y="156"/>
                  </a:lnTo>
                  <a:lnTo>
                    <a:pt x="64" y="145"/>
                  </a:lnTo>
                  <a:lnTo>
                    <a:pt x="59" y="136"/>
                  </a:lnTo>
                  <a:lnTo>
                    <a:pt x="49" y="128"/>
                  </a:lnTo>
                  <a:lnTo>
                    <a:pt x="34" y="119"/>
                  </a:lnTo>
                  <a:lnTo>
                    <a:pt x="14" y="106"/>
                  </a:lnTo>
                  <a:lnTo>
                    <a:pt x="4" y="98"/>
                  </a:lnTo>
                  <a:lnTo>
                    <a:pt x="0" y="86"/>
                  </a:lnTo>
                  <a:lnTo>
                    <a:pt x="1" y="74"/>
                  </a:lnTo>
                  <a:lnTo>
                    <a:pt x="4" y="60"/>
                  </a:lnTo>
                  <a:lnTo>
                    <a:pt x="11" y="46"/>
                  </a:lnTo>
                  <a:lnTo>
                    <a:pt x="16" y="34"/>
                  </a:lnTo>
                  <a:lnTo>
                    <a:pt x="23" y="25"/>
                  </a:lnTo>
                  <a:lnTo>
                    <a:pt x="27" y="18"/>
                  </a:lnTo>
                  <a:lnTo>
                    <a:pt x="30" y="15"/>
                  </a:lnTo>
                  <a:lnTo>
                    <a:pt x="30" y="5"/>
                  </a:lnTo>
                  <a:lnTo>
                    <a:pt x="35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2" name="Freeform 2761"/>
            <p:cNvSpPr>
              <a:spLocks/>
            </p:cNvSpPr>
            <p:nvPr/>
          </p:nvSpPr>
          <p:spPr bwMode="auto">
            <a:xfrm rot="1114411" flipH="1">
              <a:off x="986974" y="4381512"/>
              <a:ext cx="81231" cy="101817"/>
            </a:xfrm>
            <a:custGeom>
              <a:avLst/>
              <a:gdLst>
                <a:gd name="T0" fmla="*/ 2147483647 w 146"/>
                <a:gd name="T1" fmla="*/ 0 h 183"/>
                <a:gd name="T2" fmla="*/ 2147483647 w 146"/>
                <a:gd name="T3" fmla="*/ 2147483647 h 183"/>
                <a:gd name="T4" fmla="*/ 2147483647 w 146"/>
                <a:gd name="T5" fmla="*/ 2147483647 h 183"/>
                <a:gd name="T6" fmla="*/ 2147483647 w 146"/>
                <a:gd name="T7" fmla="*/ 2147483647 h 183"/>
                <a:gd name="T8" fmla="*/ 2147483647 w 146"/>
                <a:gd name="T9" fmla="*/ 2147483647 h 183"/>
                <a:gd name="T10" fmla="*/ 2147483647 w 146"/>
                <a:gd name="T11" fmla="*/ 2147483647 h 183"/>
                <a:gd name="T12" fmla="*/ 2147483647 w 146"/>
                <a:gd name="T13" fmla="*/ 2147483647 h 183"/>
                <a:gd name="T14" fmla="*/ 2147483647 w 146"/>
                <a:gd name="T15" fmla="*/ 2147483647 h 183"/>
                <a:gd name="T16" fmla="*/ 2147483647 w 146"/>
                <a:gd name="T17" fmla="*/ 2147483647 h 183"/>
                <a:gd name="T18" fmla="*/ 2147483647 w 146"/>
                <a:gd name="T19" fmla="*/ 2147483647 h 183"/>
                <a:gd name="T20" fmla="*/ 2147483647 w 146"/>
                <a:gd name="T21" fmla="*/ 2147483647 h 183"/>
                <a:gd name="T22" fmla="*/ 2147483647 w 146"/>
                <a:gd name="T23" fmla="*/ 2147483647 h 183"/>
                <a:gd name="T24" fmla="*/ 2147483647 w 146"/>
                <a:gd name="T25" fmla="*/ 2147483647 h 183"/>
                <a:gd name="T26" fmla="*/ 2147483647 w 146"/>
                <a:gd name="T27" fmla="*/ 2147483647 h 183"/>
                <a:gd name="T28" fmla="*/ 2147483647 w 146"/>
                <a:gd name="T29" fmla="*/ 2147483647 h 183"/>
                <a:gd name="T30" fmla="*/ 2147483647 w 146"/>
                <a:gd name="T31" fmla="*/ 2147483647 h 183"/>
                <a:gd name="T32" fmla="*/ 2147483647 w 146"/>
                <a:gd name="T33" fmla="*/ 2147483647 h 183"/>
                <a:gd name="T34" fmla="*/ 2147483647 w 146"/>
                <a:gd name="T35" fmla="*/ 2147483647 h 183"/>
                <a:gd name="T36" fmla="*/ 2147483647 w 146"/>
                <a:gd name="T37" fmla="*/ 2147483647 h 183"/>
                <a:gd name="T38" fmla="*/ 2147483647 w 146"/>
                <a:gd name="T39" fmla="*/ 2147483647 h 183"/>
                <a:gd name="T40" fmla="*/ 2147483647 w 146"/>
                <a:gd name="T41" fmla="*/ 2147483647 h 183"/>
                <a:gd name="T42" fmla="*/ 2147483647 w 146"/>
                <a:gd name="T43" fmla="*/ 2147483647 h 183"/>
                <a:gd name="T44" fmla="*/ 2147483647 w 146"/>
                <a:gd name="T45" fmla="*/ 2147483647 h 183"/>
                <a:gd name="T46" fmla="*/ 2147483647 w 146"/>
                <a:gd name="T47" fmla="*/ 2147483647 h 183"/>
                <a:gd name="T48" fmla="*/ 2147483647 w 146"/>
                <a:gd name="T49" fmla="*/ 2147483647 h 183"/>
                <a:gd name="T50" fmla="*/ 2147483647 w 146"/>
                <a:gd name="T51" fmla="*/ 2147483647 h 183"/>
                <a:gd name="T52" fmla="*/ 2147483647 w 146"/>
                <a:gd name="T53" fmla="*/ 2147483647 h 183"/>
                <a:gd name="T54" fmla="*/ 0 w 146"/>
                <a:gd name="T55" fmla="*/ 2147483647 h 183"/>
                <a:gd name="T56" fmla="*/ 2147483647 w 146"/>
                <a:gd name="T57" fmla="*/ 2147483647 h 183"/>
                <a:gd name="T58" fmla="*/ 2147483647 w 146"/>
                <a:gd name="T59" fmla="*/ 2147483647 h 183"/>
                <a:gd name="T60" fmla="*/ 2147483647 w 146"/>
                <a:gd name="T61" fmla="*/ 2147483647 h 183"/>
                <a:gd name="T62" fmla="*/ 2147483647 w 146"/>
                <a:gd name="T63" fmla="*/ 2147483647 h 183"/>
                <a:gd name="T64" fmla="*/ 2147483647 w 146"/>
                <a:gd name="T65" fmla="*/ 2147483647 h 183"/>
                <a:gd name="T66" fmla="*/ 2147483647 w 146"/>
                <a:gd name="T67" fmla="*/ 2147483647 h 183"/>
                <a:gd name="T68" fmla="*/ 2147483647 w 146"/>
                <a:gd name="T69" fmla="*/ 2147483647 h 183"/>
                <a:gd name="T70" fmla="*/ 2147483647 w 146"/>
                <a:gd name="T71" fmla="*/ 2147483647 h 183"/>
                <a:gd name="T72" fmla="*/ 2147483647 w 146"/>
                <a:gd name="T73" fmla="*/ 2147483647 h 183"/>
                <a:gd name="T74" fmla="*/ 2147483647 w 146"/>
                <a:gd name="T75" fmla="*/ 2147483647 h 183"/>
                <a:gd name="T76" fmla="*/ 2147483647 w 146"/>
                <a:gd name="T77" fmla="*/ 2147483647 h 183"/>
                <a:gd name="T78" fmla="*/ 2147483647 w 146"/>
                <a:gd name="T79" fmla="*/ 2147483647 h 183"/>
                <a:gd name="T80" fmla="*/ 2147483647 w 146"/>
                <a:gd name="T81" fmla="*/ 2147483647 h 183"/>
                <a:gd name="T82" fmla="*/ 2147483647 w 146"/>
                <a:gd name="T83" fmla="*/ 2147483647 h 183"/>
                <a:gd name="T84" fmla="*/ 2147483647 w 146"/>
                <a:gd name="T85" fmla="*/ 2147483647 h 183"/>
                <a:gd name="T86" fmla="*/ 2147483647 w 146"/>
                <a:gd name="T87" fmla="*/ 2147483647 h 183"/>
                <a:gd name="T88" fmla="*/ 2147483647 w 146"/>
                <a:gd name="T89" fmla="*/ 2147483647 h 183"/>
                <a:gd name="T90" fmla="*/ 2147483647 w 146"/>
                <a:gd name="T91" fmla="*/ 2147483647 h 183"/>
                <a:gd name="T92" fmla="*/ 2147483647 w 146"/>
                <a:gd name="T93" fmla="*/ 2147483647 h 183"/>
                <a:gd name="T94" fmla="*/ 2147483647 w 146"/>
                <a:gd name="T95" fmla="*/ 0 h 18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6"/>
                <a:gd name="T145" fmla="*/ 0 h 183"/>
                <a:gd name="T146" fmla="*/ 146 w 146"/>
                <a:gd name="T147" fmla="*/ 183 h 18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6" h="183">
                  <a:moveTo>
                    <a:pt x="142" y="0"/>
                  </a:moveTo>
                  <a:lnTo>
                    <a:pt x="146" y="5"/>
                  </a:lnTo>
                  <a:lnTo>
                    <a:pt x="146" y="15"/>
                  </a:lnTo>
                  <a:lnTo>
                    <a:pt x="146" y="30"/>
                  </a:lnTo>
                  <a:lnTo>
                    <a:pt x="143" y="48"/>
                  </a:lnTo>
                  <a:lnTo>
                    <a:pt x="139" y="67"/>
                  </a:lnTo>
                  <a:lnTo>
                    <a:pt x="135" y="87"/>
                  </a:lnTo>
                  <a:lnTo>
                    <a:pt x="131" y="108"/>
                  </a:lnTo>
                  <a:lnTo>
                    <a:pt x="125" y="127"/>
                  </a:lnTo>
                  <a:lnTo>
                    <a:pt x="121" y="143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3" y="169"/>
                  </a:lnTo>
                  <a:lnTo>
                    <a:pt x="112" y="171"/>
                  </a:lnTo>
                  <a:lnTo>
                    <a:pt x="106" y="173"/>
                  </a:lnTo>
                  <a:lnTo>
                    <a:pt x="98" y="176"/>
                  </a:lnTo>
                  <a:lnTo>
                    <a:pt x="88" y="180"/>
                  </a:lnTo>
                  <a:lnTo>
                    <a:pt x="80" y="183"/>
                  </a:lnTo>
                  <a:lnTo>
                    <a:pt x="72" y="183"/>
                  </a:lnTo>
                  <a:lnTo>
                    <a:pt x="67" y="181"/>
                  </a:lnTo>
                  <a:lnTo>
                    <a:pt x="65" y="177"/>
                  </a:lnTo>
                  <a:lnTo>
                    <a:pt x="65" y="166"/>
                  </a:lnTo>
                  <a:lnTo>
                    <a:pt x="60" y="158"/>
                  </a:lnTo>
                  <a:lnTo>
                    <a:pt x="49" y="150"/>
                  </a:lnTo>
                  <a:lnTo>
                    <a:pt x="34" y="141"/>
                  </a:lnTo>
                  <a:lnTo>
                    <a:pt x="13" y="128"/>
                  </a:lnTo>
                  <a:lnTo>
                    <a:pt x="4" y="120"/>
                  </a:lnTo>
                  <a:lnTo>
                    <a:pt x="0" y="108"/>
                  </a:lnTo>
                  <a:lnTo>
                    <a:pt x="1" y="96"/>
                  </a:lnTo>
                  <a:lnTo>
                    <a:pt x="5" y="82"/>
                  </a:lnTo>
                  <a:lnTo>
                    <a:pt x="11" y="68"/>
                  </a:lnTo>
                  <a:lnTo>
                    <a:pt x="17" y="56"/>
                  </a:lnTo>
                  <a:lnTo>
                    <a:pt x="23" y="46"/>
                  </a:lnTo>
                  <a:lnTo>
                    <a:pt x="28" y="40"/>
                  </a:lnTo>
                  <a:lnTo>
                    <a:pt x="30" y="37"/>
                  </a:lnTo>
                  <a:lnTo>
                    <a:pt x="27" y="23"/>
                  </a:lnTo>
                  <a:lnTo>
                    <a:pt x="27" y="12"/>
                  </a:lnTo>
                  <a:lnTo>
                    <a:pt x="32" y="7"/>
                  </a:lnTo>
                  <a:lnTo>
                    <a:pt x="39" y="4"/>
                  </a:lnTo>
                  <a:lnTo>
                    <a:pt x="49" y="3"/>
                  </a:lnTo>
                  <a:lnTo>
                    <a:pt x="60" y="3"/>
                  </a:lnTo>
                  <a:lnTo>
                    <a:pt x="72" y="4"/>
                  </a:lnTo>
                  <a:lnTo>
                    <a:pt x="86" y="5"/>
                  </a:lnTo>
                  <a:lnTo>
                    <a:pt x="98" y="7"/>
                  </a:lnTo>
                  <a:lnTo>
                    <a:pt x="112" y="7"/>
                  </a:lnTo>
                  <a:lnTo>
                    <a:pt x="124" y="5"/>
                  </a:lnTo>
                  <a:lnTo>
                    <a:pt x="136" y="1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3" name="Freeform 2762"/>
            <p:cNvSpPr>
              <a:spLocks/>
            </p:cNvSpPr>
            <p:nvPr/>
          </p:nvSpPr>
          <p:spPr bwMode="auto">
            <a:xfrm rot="1114411" flipH="1">
              <a:off x="1245067" y="4359693"/>
              <a:ext cx="90133" cy="112944"/>
            </a:xfrm>
            <a:custGeom>
              <a:avLst/>
              <a:gdLst>
                <a:gd name="T0" fmla="*/ 2147483647 w 162"/>
                <a:gd name="T1" fmla="*/ 0 h 203"/>
                <a:gd name="T2" fmla="*/ 2147483647 w 162"/>
                <a:gd name="T3" fmla="*/ 2147483647 h 203"/>
                <a:gd name="T4" fmla="*/ 2147483647 w 162"/>
                <a:gd name="T5" fmla="*/ 2147483647 h 203"/>
                <a:gd name="T6" fmla="*/ 2147483647 w 162"/>
                <a:gd name="T7" fmla="*/ 2147483647 h 203"/>
                <a:gd name="T8" fmla="*/ 2147483647 w 162"/>
                <a:gd name="T9" fmla="*/ 2147483647 h 203"/>
                <a:gd name="T10" fmla="*/ 2147483647 w 162"/>
                <a:gd name="T11" fmla="*/ 2147483647 h 203"/>
                <a:gd name="T12" fmla="*/ 2147483647 w 162"/>
                <a:gd name="T13" fmla="*/ 2147483647 h 203"/>
                <a:gd name="T14" fmla="*/ 2147483647 w 162"/>
                <a:gd name="T15" fmla="*/ 2147483647 h 203"/>
                <a:gd name="T16" fmla="*/ 2147483647 w 162"/>
                <a:gd name="T17" fmla="*/ 2147483647 h 203"/>
                <a:gd name="T18" fmla="*/ 2147483647 w 162"/>
                <a:gd name="T19" fmla="*/ 2147483647 h 203"/>
                <a:gd name="T20" fmla="*/ 2147483647 w 162"/>
                <a:gd name="T21" fmla="*/ 2147483647 h 203"/>
                <a:gd name="T22" fmla="*/ 2147483647 w 162"/>
                <a:gd name="T23" fmla="*/ 2147483647 h 203"/>
                <a:gd name="T24" fmla="*/ 2147483647 w 162"/>
                <a:gd name="T25" fmla="*/ 2147483647 h 203"/>
                <a:gd name="T26" fmla="*/ 2147483647 w 162"/>
                <a:gd name="T27" fmla="*/ 2147483647 h 203"/>
                <a:gd name="T28" fmla="*/ 2147483647 w 162"/>
                <a:gd name="T29" fmla="*/ 2147483647 h 203"/>
                <a:gd name="T30" fmla="*/ 2147483647 w 162"/>
                <a:gd name="T31" fmla="*/ 2147483647 h 203"/>
                <a:gd name="T32" fmla="*/ 2147483647 w 162"/>
                <a:gd name="T33" fmla="*/ 2147483647 h 203"/>
                <a:gd name="T34" fmla="*/ 2147483647 w 162"/>
                <a:gd name="T35" fmla="*/ 2147483647 h 203"/>
                <a:gd name="T36" fmla="*/ 2147483647 w 162"/>
                <a:gd name="T37" fmla="*/ 2147483647 h 203"/>
                <a:gd name="T38" fmla="*/ 2147483647 w 162"/>
                <a:gd name="T39" fmla="*/ 2147483647 h 203"/>
                <a:gd name="T40" fmla="*/ 2147483647 w 162"/>
                <a:gd name="T41" fmla="*/ 2147483647 h 203"/>
                <a:gd name="T42" fmla="*/ 2147483647 w 162"/>
                <a:gd name="T43" fmla="*/ 2147483647 h 203"/>
                <a:gd name="T44" fmla="*/ 2147483647 w 162"/>
                <a:gd name="T45" fmla="*/ 2147483647 h 203"/>
                <a:gd name="T46" fmla="*/ 2147483647 w 162"/>
                <a:gd name="T47" fmla="*/ 2147483647 h 203"/>
                <a:gd name="T48" fmla="*/ 2147483647 w 162"/>
                <a:gd name="T49" fmla="*/ 2147483647 h 203"/>
                <a:gd name="T50" fmla="*/ 2147483647 w 162"/>
                <a:gd name="T51" fmla="*/ 2147483647 h 203"/>
                <a:gd name="T52" fmla="*/ 2147483647 w 162"/>
                <a:gd name="T53" fmla="*/ 2147483647 h 203"/>
                <a:gd name="T54" fmla="*/ 2147483647 w 162"/>
                <a:gd name="T55" fmla="*/ 2147483647 h 203"/>
                <a:gd name="T56" fmla="*/ 0 w 162"/>
                <a:gd name="T57" fmla="*/ 2147483647 h 203"/>
                <a:gd name="T58" fmla="*/ 0 w 162"/>
                <a:gd name="T59" fmla="*/ 2147483647 h 203"/>
                <a:gd name="T60" fmla="*/ 2147483647 w 162"/>
                <a:gd name="T61" fmla="*/ 2147483647 h 203"/>
                <a:gd name="T62" fmla="*/ 2147483647 w 162"/>
                <a:gd name="T63" fmla="*/ 2147483647 h 203"/>
                <a:gd name="T64" fmla="*/ 2147483647 w 162"/>
                <a:gd name="T65" fmla="*/ 2147483647 h 203"/>
                <a:gd name="T66" fmla="*/ 2147483647 w 162"/>
                <a:gd name="T67" fmla="*/ 2147483647 h 203"/>
                <a:gd name="T68" fmla="*/ 2147483647 w 162"/>
                <a:gd name="T69" fmla="*/ 2147483647 h 203"/>
                <a:gd name="T70" fmla="*/ 2147483647 w 162"/>
                <a:gd name="T71" fmla="*/ 2147483647 h 203"/>
                <a:gd name="T72" fmla="*/ 2147483647 w 162"/>
                <a:gd name="T73" fmla="*/ 2147483647 h 203"/>
                <a:gd name="T74" fmla="*/ 2147483647 w 162"/>
                <a:gd name="T75" fmla="*/ 2147483647 h 203"/>
                <a:gd name="T76" fmla="*/ 2147483647 w 162"/>
                <a:gd name="T77" fmla="*/ 2147483647 h 203"/>
                <a:gd name="T78" fmla="*/ 2147483647 w 162"/>
                <a:gd name="T79" fmla="*/ 2147483647 h 203"/>
                <a:gd name="T80" fmla="*/ 2147483647 w 162"/>
                <a:gd name="T81" fmla="*/ 2147483647 h 203"/>
                <a:gd name="T82" fmla="*/ 2147483647 w 162"/>
                <a:gd name="T83" fmla="*/ 2147483647 h 203"/>
                <a:gd name="T84" fmla="*/ 2147483647 w 162"/>
                <a:gd name="T85" fmla="*/ 2147483647 h 203"/>
                <a:gd name="T86" fmla="*/ 2147483647 w 162"/>
                <a:gd name="T87" fmla="*/ 2147483647 h 203"/>
                <a:gd name="T88" fmla="*/ 2147483647 w 162"/>
                <a:gd name="T89" fmla="*/ 2147483647 h 203"/>
                <a:gd name="T90" fmla="*/ 2147483647 w 162"/>
                <a:gd name="T91" fmla="*/ 2147483647 h 203"/>
                <a:gd name="T92" fmla="*/ 2147483647 w 162"/>
                <a:gd name="T93" fmla="*/ 2147483647 h 203"/>
                <a:gd name="T94" fmla="*/ 2147483647 w 162"/>
                <a:gd name="T95" fmla="*/ 2147483647 h 203"/>
                <a:gd name="T96" fmla="*/ 2147483647 w 162"/>
                <a:gd name="T97" fmla="*/ 2147483647 h 203"/>
                <a:gd name="T98" fmla="*/ 2147483647 w 162"/>
                <a:gd name="T99" fmla="*/ 0 h 20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62"/>
                <a:gd name="T151" fmla="*/ 0 h 203"/>
                <a:gd name="T152" fmla="*/ 162 w 162"/>
                <a:gd name="T153" fmla="*/ 203 h 20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62" h="203">
                  <a:moveTo>
                    <a:pt x="161" y="0"/>
                  </a:moveTo>
                  <a:lnTo>
                    <a:pt x="162" y="4"/>
                  </a:lnTo>
                  <a:lnTo>
                    <a:pt x="162" y="13"/>
                  </a:lnTo>
                  <a:lnTo>
                    <a:pt x="161" y="27"/>
                  </a:lnTo>
                  <a:lnTo>
                    <a:pt x="157" y="45"/>
                  </a:lnTo>
                  <a:lnTo>
                    <a:pt x="151" y="65"/>
                  </a:lnTo>
                  <a:lnTo>
                    <a:pt x="144" y="86"/>
                  </a:lnTo>
                  <a:lnTo>
                    <a:pt x="139" y="108"/>
                  </a:lnTo>
                  <a:lnTo>
                    <a:pt x="132" y="128"/>
                  </a:lnTo>
                  <a:lnTo>
                    <a:pt x="125" y="147"/>
                  </a:lnTo>
                  <a:lnTo>
                    <a:pt x="120" y="163"/>
                  </a:lnTo>
                  <a:lnTo>
                    <a:pt x="116" y="177"/>
                  </a:lnTo>
                  <a:lnTo>
                    <a:pt x="113" y="185"/>
                  </a:lnTo>
                  <a:lnTo>
                    <a:pt x="112" y="189"/>
                  </a:lnTo>
                  <a:lnTo>
                    <a:pt x="109" y="189"/>
                  </a:lnTo>
                  <a:lnTo>
                    <a:pt x="103" y="192"/>
                  </a:lnTo>
                  <a:lnTo>
                    <a:pt x="95" y="196"/>
                  </a:lnTo>
                  <a:lnTo>
                    <a:pt x="87" y="199"/>
                  </a:lnTo>
                  <a:lnTo>
                    <a:pt x="78" y="202"/>
                  </a:lnTo>
                  <a:lnTo>
                    <a:pt x="71" y="203"/>
                  </a:lnTo>
                  <a:lnTo>
                    <a:pt x="65" y="202"/>
                  </a:lnTo>
                  <a:lnTo>
                    <a:pt x="64" y="196"/>
                  </a:lnTo>
                  <a:lnTo>
                    <a:pt x="63" y="187"/>
                  </a:lnTo>
                  <a:lnTo>
                    <a:pt x="57" y="178"/>
                  </a:lnTo>
                  <a:lnTo>
                    <a:pt x="48" y="170"/>
                  </a:lnTo>
                  <a:lnTo>
                    <a:pt x="31" y="161"/>
                  </a:lnTo>
                  <a:lnTo>
                    <a:pt x="12" y="148"/>
                  </a:lnTo>
                  <a:lnTo>
                    <a:pt x="4" y="140"/>
                  </a:lnTo>
                  <a:lnTo>
                    <a:pt x="0" y="129"/>
                  </a:lnTo>
                  <a:lnTo>
                    <a:pt x="0" y="114"/>
                  </a:lnTo>
                  <a:lnTo>
                    <a:pt x="3" y="99"/>
                  </a:lnTo>
                  <a:lnTo>
                    <a:pt x="7" y="82"/>
                  </a:lnTo>
                  <a:lnTo>
                    <a:pt x="12" y="65"/>
                  </a:lnTo>
                  <a:lnTo>
                    <a:pt x="19" y="49"/>
                  </a:lnTo>
                  <a:lnTo>
                    <a:pt x="24" y="35"/>
                  </a:lnTo>
                  <a:lnTo>
                    <a:pt x="30" y="24"/>
                  </a:lnTo>
                  <a:lnTo>
                    <a:pt x="34" y="17"/>
                  </a:lnTo>
                  <a:lnTo>
                    <a:pt x="35" y="15"/>
                  </a:lnTo>
                  <a:lnTo>
                    <a:pt x="35" y="7"/>
                  </a:lnTo>
                  <a:lnTo>
                    <a:pt x="39" y="2"/>
                  </a:lnTo>
                  <a:lnTo>
                    <a:pt x="45" y="1"/>
                  </a:lnTo>
                  <a:lnTo>
                    <a:pt x="53" y="4"/>
                  </a:lnTo>
                  <a:lnTo>
                    <a:pt x="64" y="8"/>
                  </a:lnTo>
                  <a:lnTo>
                    <a:pt x="76" y="12"/>
                  </a:lnTo>
                  <a:lnTo>
                    <a:pt x="91" y="16"/>
                  </a:lnTo>
                  <a:lnTo>
                    <a:pt x="106" y="17"/>
                  </a:lnTo>
                  <a:lnTo>
                    <a:pt x="123" y="16"/>
                  </a:lnTo>
                  <a:lnTo>
                    <a:pt x="139" y="11"/>
                  </a:lnTo>
                  <a:lnTo>
                    <a:pt x="155" y="1"/>
                  </a:lnTo>
                  <a:lnTo>
                    <a:pt x="161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4" name="Freeform 2763"/>
            <p:cNvSpPr>
              <a:spLocks/>
            </p:cNvSpPr>
            <p:nvPr/>
          </p:nvSpPr>
          <p:spPr bwMode="auto">
            <a:xfrm rot="1114411" flipH="1">
              <a:off x="770924" y="4704077"/>
              <a:ext cx="87351" cy="48405"/>
            </a:xfrm>
            <a:custGeom>
              <a:avLst/>
              <a:gdLst>
                <a:gd name="T0" fmla="*/ 2147483647 w 157"/>
                <a:gd name="T1" fmla="*/ 0 h 87"/>
                <a:gd name="T2" fmla="*/ 2147483647 w 157"/>
                <a:gd name="T3" fmla="*/ 2147483647 h 87"/>
                <a:gd name="T4" fmla="*/ 2147483647 w 157"/>
                <a:gd name="T5" fmla="*/ 2147483647 h 87"/>
                <a:gd name="T6" fmla="*/ 2147483647 w 157"/>
                <a:gd name="T7" fmla="*/ 2147483647 h 87"/>
                <a:gd name="T8" fmla="*/ 2147483647 w 157"/>
                <a:gd name="T9" fmla="*/ 2147483647 h 87"/>
                <a:gd name="T10" fmla="*/ 2147483647 w 157"/>
                <a:gd name="T11" fmla="*/ 2147483647 h 87"/>
                <a:gd name="T12" fmla="*/ 2147483647 w 157"/>
                <a:gd name="T13" fmla="*/ 2147483647 h 87"/>
                <a:gd name="T14" fmla="*/ 2147483647 w 157"/>
                <a:gd name="T15" fmla="*/ 2147483647 h 87"/>
                <a:gd name="T16" fmla="*/ 2147483647 w 157"/>
                <a:gd name="T17" fmla="*/ 2147483647 h 87"/>
                <a:gd name="T18" fmla="*/ 2147483647 w 157"/>
                <a:gd name="T19" fmla="*/ 2147483647 h 87"/>
                <a:gd name="T20" fmla="*/ 2147483647 w 157"/>
                <a:gd name="T21" fmla="*/ 2147483647 h 87"/>
                <a:gd name="T22" fmla="*/ 2147483647 w 157"/>
                <a:gd name="T23" fmla="*/ 2147483647 h 87"/>
                <a:gd name="T24" fmla="*/ 2147483647 w 157"/>
                <a:gd name="T25" fmla="*/ 2147483647 h 87"/>
                <a:gd name="T26" fmla="*/ 2147483647 w 157"/>
                <a:gd name="T27" fmla="*/ 2147483647 h 87"/>
                <a:gd name="T28" fmla="*/ 2147483647 w 157"/>
                <a:gd name="T29" fmla="*/ 2147483647 h 87"/>
                <a:gd name="T30" fmla="*/ 2147483647 w 157"/>
                <a:gd name="T31" fmla="*/ 2147483647 h 87"/>
                <a:gd name="T32" fmla="*/ 2147483647 w 157"/>
                <a:gd name="T33" fmla="*/ 2147483647 h 87"/>
                <a:gd name="T34" fmla="*/ 2147483647 w 157"/>
                <a:gd name="T35" fmla="*/ 2147483647 h 87"/>
                <a:gd name="T36" fmla="*/ 2147483647 w 157"/>
                <a:gd name="T37" fmla="*/ 2147483647 h 87"/>
                <a:gd name="T38" fmla="*/ 2147483647 w 157"/>
                <a:gd name="T39" fmla="*/ 2147483647 h 87"/>
                <a:gd name="T40" fmla="*/ 2147483647 w 157"/>
                <a:gd name="T41" fmla="*/ 2147483647 h 87"/>
                <a:gd name="T42" fmla="*/ 2147483647 w 157"/>
                <a:gd name="T43" fmla="*/ 2147483647 h 87"/>
                <a:gd name="T44" fmla="*/ 2147483647 w 157"/>
                <a:gd name="T45" fmla="*/ 2147483647 h 87"/>
                <a:gd name="T46" fmla="*/ 2147483647 w 157"/>
                <a:gd name="T47" fmla="*/ 2147483647 h 87"/>
                <a:gd name="T48" fmla="*/ 2147483647 w 157"/>
                <a:gd name="T49" fmla="*/ 2147483647 h 87"/>
                <a:gd name="T50" fmla="*/ 2147483647 w 157"/>
                <a:gd name="T51" fmla="*/ 2147483647 h 87"/>
                <a:gd name="T52" fmla="*/ 0 w 157"/>
                <a:gd name="T53" fmla="*/ 2147483647 h 87"/>
                <a:gd name="T54" fmla="*/ 2147483647 w 157"/>
                <a:gd name="T55" fmla="*/ 2147483647 h 87"/>
                <a:gd name="T56" fmla="*/ 2147483647 w 157"/>
                <a:gd name="T57" fmla="*/ 2147483647 h 87"/>
                <a:gd name="T58" fmla="*/ 2147483647 w 157"/>
                <a:gd name="T59" fmla="*/ 2147483647 h 87"/>
                <a:gd name="T60" fmla="*/ 2147483647 w 157"/>
                <a:gd name="T61" fmla="*/ 2147483647 h 87"/>
                <a:gd name="T62" fmla="*/ 2147483647 w 157"/>
                <a:gd name="T63" fmla="*/ 2147483647 h 87"/>
                <a:gd name="T64" fmla="*/ 2147483647 w 157"/>
                <a:gd name="T65" fmla="*/ 2147483647 h 87"/>
                <a:gd name="T66" fmla="*/ 2147483647 w 157"/>
                <a:gd name="T67" fmla="*/ 2147483647 h 87"/>
                <a:gd name="T68" fmla="*/ 2147483647 w 157"/>
                <a:gd name="T69" fmla="*/ 2147483647 h 87"/>
                <a:gd name="T70" fmla="*/ 2147483647 w 157"/>
                <a:gd name="T71" fmla="*/ 2147483647 h 87"/>
                <a:gd name="T72" fmla="*/ 2147483647 w 157"/>
                <a:gd name="T73" fmla="*/ 2147483647 h 87"/>
                <a:gd name="T74" fmla="*/ 2147483647 w 157"/>
                <a:gd name="T75" fmla="*/ 2147483647 h 87"/>
                <a:gd name="T76" fmla="*/ 2147483647 w 157"/>
                <a:gd name="T77" fmla="*/ 2147483647 h 87"/>
                <a:gd name="T78" fmla="*/ 2147483647 w 157"/>
                <a:gd name="T79" fmla="*/ 2147483647 h 87"/>
                <a:gd name="T80" fmla="*/ 2147483647 w 157"/>
                <a:gd name="T81" fmla="*/ 2147483647 h 87"/>
                <a:gd name="T82" fmla="*/ 2147483647 w 157"/>
                <a:gd name="T83" fmla="*/ 2147483647 h 87"/>
                <a:gd name="T84" fmla="*/ 2147483647 w 157"/>
                <a:gd name="T85" fmla="*/ 2147483647 h 87"/>
                <a:gd name="T86" fmla="*/ 2147483647 w 157"/>
                <a:gd name="T87" fmla="*/ 0 h 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7"/>
                <a:gd name="T133" fmla="*/ 0 h 87"/>
                <a:gd name="T134" fmla="*/ 157 w 157"/>
                <a:gd name="T135" fmla="*/ 87 h 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7" h="87">
                  <a:moveTo>
                    <a:pt x="120" y="0"/>
                  </a:moveTo>
                  <a:lnTo>
                    <a:pt x="127" y="1"/>
                  </a:lnTo>
                  <a:lnTo>
                    <a:pt x="132" y="5"/>
                  </a:lnTo>
                  <a:lnTo>
                    <a:pt x="140" y="8"/>
                  </a:lnTo>
                  <a:lnTo>
                    <a:pt x="150" y="11"/>
                  </a:lnTo>
                  <a:lnTo>
                    <a:pt x="155" y="15"/>
                  </a:lnTo>
                  <a:lnTo>
                    <a:pt x="157" y="22"/>
                  </a:lnTo>
                  <a:lnTo>
                    <a:pt x="155" y="30"/>
                  </a:lnTo>
                  <a:lnTo>
                    <a:pt x="150" y="40"/>
                  </a:lnTo>
                  <a:lnTo>
                    <a:pt x="144" y="49"/>
                  </a:lnTo>
                  <a:lnTo>
                    <a:pt x="139" y="57"/>
                  </a:lnTo>
                  <a:lnTo>
                    <a:pt x="135" y="63"/>
                  </a:lnTo>
                  <a:lnTo>
                    <a:pt x="134" y="65"/>
                  </a:lnTo>
                  <a:lnTo>
                    <a:pt x="131" y="67"/>
                  </a:lnTo>
                  <a:lnTo>
                    <a:pt x="125" y="72"/>
                  </a:lnTo>
                  <a:lnTo>
                    <a:pt x="116" y="78"/>
                  </a:lnTo>
                  <a:lnTo>
                    <a:pt x="105" y="83"/>
                  </a:lnTo>
                  <a:lnTo>
                    <a:pt x="93" y="87"/>
                  </a:lnTo>
                  <a:lnTo>
                    <a:pt x="82" y="87"/>
                  </a:lnTo>
                  <a:lnTo>
                    <a:pt x="69" y="86"/>
                  </a:lnTo>
                  <a:lnTo>
                    <a:pt x="57" y="87"/>
                  </a:lnTo>
                  <a:lnTo>
                    <a:pt x="44" y="87"/>
                  </a:lnTo>
                  <a:lnTo>
                    <a:pt x="31" y="85"/>
                  </a:lnTo>
                  <a:lnTo>
                    <a:pt x="19" y="80"/>
                  </a:lnTo>
                  <a:lnTo>
                    <a:pt x="9" y="70"/>
                  </a:lnTo>
                  <a:lnTo>
                    <a:pt x="3" y="55"/>
                  </a:lnTo>
                  <a:lnTo>
                    <a:pt x="0" y="44"/>
                  </a:lnTo>
                  <a:lnTo>
                    <a:pt x="3" y="35"/>
                  </a:lnTo>
                  <a:lnTo>
                    <a:pt x="8" y="31"/>
                  </a:lnTo>
                  <a:lnTo>
                    <a:pt x="15" y="29"/>
                  </a:lnTo>
                  <a:lnTo>
                    <a:pt x="23" y="29"/>
                  </a:lnTo>
                  <a:lnTo>
                    <a:pt x="31" y="29"/>
                  </a:lnTo>
                  <a:lnTo>
                    <a:pt x="38" y="30"/>
                  </a:lnTo>
                  <a:lnTo>
                    <a:pt x="44" y="30"/>
                  </a:lnTo>
                  <a:lnTo>
                    <a:pt x="45" y="31"/>
                  </a:lnTo>
                  <a:lnTo>
                    <a:pt x="49" y="31"/>
                  </a:lnTo>
                  <a:lnTo>
                    <a:pt x="57" y="33"/>
                  </a:lnTo>
                  <a:lnTo>
                    <a:pt x="68" y="33"/>
                  </a:lnTo>
                  <a:lnTo>
                    <a:pt x="80" y="31"/>
                  </a:lnTo>
                  <a:lnTo>
                    <a:pt x="91" y="27"/>
                  </a:lnTo>
                  <a:lnTo>
                    <a:pt x="99" y="19"/>
                  </a:lnTo>
                  <a:lnTo>
                    <a:pt x="108" y="8"/>
                  </a:lnTo>
                  <a:lnTo>
                    <a:pt x="114" y="1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5" name="Freeform 2764"/>
            <p:cNvSpPr>
              <a:spLocks/>
            </p:cNvSpPr>
            <p:nvPr/>
          </p:nvSpPr>
          <p:spPr bwMode="auto">
            <a:xfrm rot="1114411" flipH="1">
              <a:off x="1006011" y="4704190"/>
              <a:ext cx="110162" cy="50074"/>
            </a:xfrm>
            <a:custGeom>
              <a:avLst/>
              <a:gdLst>
                <a:gd name="T0" fmla="*/ 2147483647 w 198"/>
                <a:gd name="T1" fmla="*/ 0 h 90"/>
                <a:gd name="T2" fmla="*/ 2147483647 w 198"/>
                <a:gd name="T3" fmla="*/ 2147483647 h 90"/>
                <a:gd name="T4" fmla="*/ 2147483647 w 198"/>
                <a:gd name="T5" fmla="*/ 2147483647 h 90"/>
                <a:gd name="T6" fmla="*/ 2147483647 w 198"/>
                <a:gd name="T7" fmla="*/ 2147483647 h 90"/>
                <a:gd name="T8" fmla="*/ 2147483647 w 198"/>
                <a:gd name="T9" fmla="*/ 2147483647 h 90"/>
                <a:gd name="T10" fmla="*/ 2147483647 w 198"/>
                <a:gd name="T11" fmla="*/ 2147483647 h 90"/>
                <a:gd name="T12" fmla="*/ 2147483647 w 198"/>
                <a:gd name="T13" fmla="*/ 2147483647 h 90"/>
                <a:gd name="T14" fmla="*/ 2147483647 w 198"/>
                <a:gd name="T15" fmla="*/ 2147483647 h 90"/>
                <a:gd name="T16" fmla="*/ 2147483647 w 198"/>
                <a:gd name="T17" fmla="*/ 2147483647 h 90"/>
                <a:gd name="T18" fmla="*/ 2147483647 w 198"/>
                <a:gd name="T19" fmla="*/ 2147483647 h 90"/>
                <a:gd name="T20" fmla="*/ 2147483647 w 198"/>
                <a:gd name="T21" fmla="*/ 2147483647 h 90"/>
                <a:gd name="T22" fmla="*/ 2147483647 w 198"/>
                <a:gd name="T23" fmla="*/ 2147483647 h 90"/>
                <a:gd name="T24" fmla="*/ 2147483647 w 198"/>
                <a:gd name="T25" fmla="*/ 2147483647 h 90"/>
                <a:gd name="T26" fmla="*/ 2147483647 w 198"/>
                <a:gd name="T27" fmla="*/ 2147483647 h 90"/>
                <a:gd name="T28" fmla="*/ 2147483647 w 198"/>
                <a:gd name="T29" fmla="*/ 2147483647 h 90"/>
                <a:gd name="T30" fmla="*/ 2147483647 w 198"/>
                <a:gd name="T31" fmla="*/ 2147483647 h 90"/>
                <a:gd name="T32" fmla="*/ 2147483647 w 198"/>
                <a:gd name="T33" fmla="*/ 2147483647 h 90"/>
                <a:gd name="T34" fmla="*/ 2147483647 w 198"/>
                <a:gd name="T35" fmla="*/ 2147483647 h 90"/>
                <a:gd name="T36" fmla="*/ 2147483647 w 198"/>
                <a:gd name="T37" fmla="*/ 2147483647 h 90"/>
                <a:gd name="T38" fmla="*/ 2147483647 w 198"/>
                <a:gd name="T39" fmla="*/ 2147483647 h 90"/>
                <a:gd name="T40" fmla="*/ 2147483647 w 198"/>
                <a:gd name="T41" fmla="*/ 2147483647 h 90"/>
                <a:gd name="T42" fmla="*/ 2147483647 w 198"/>
                <a:gd name="T43" fmla="*/ 2147483647 h 90"/>
                <a:gd name="T44" fmla="*/ 2147483647 w 198"/>
                <a:gd name="T45" fmla="*/ 2147483647 h 90"/>
                <a:gd name="T46" fmla="*/ 2147483647 w 198"/>
                <a:gd name="T47" fmla="*/ 2147483647 h 90"/>
                <a:gd name="T48" fmla="*/ 2147483647 w 198"/>
                <a:gd name="T49" fmla="*/ 2147483647 h 90"/>
                <a:gd name="T50" fmla="*/ 2147483647 w 198"/>
                <a:gd name="T51" fmla="*/ 2147483647 h 90"/>
                <a:gd name="T52" fmla="*/ 2147483647 w 198"/>
                <a:gd name="T53" fmla="*/ 2147483647 h 90"/>
                <a:gd name="T54" fmla="*/ 2147483647 w 198"/>
                <a:gd name="T55" fmla="*/ 2147483647 h 90"/>
                <a:gd name="T56" fmla="*/ 0 w 198"/>
                <a:gd name="T57" fmla="*/ 2147483647 h 90"/>
                <a:gd name="T58" fmla="*/ 2147483647 w 198"/>
                <a:gd name="T59" fmla="*/ 2147483647 h 90"/>
                <a:gd name="T60" fmla="*/ 2147483647 w 198"/>
                <a:gd name="T61" fmla="*/ 2147483647 h 90"/>
                <a:gd name="T62" fmla="*/ 2147483647 w 198"/>
                <a:gd name="T63" fmla="*/ 2147483647 h 90"/>
                <a:gd name="T64" fmla="*/ 2147483647 w 198"/>
                <a:gd name="T65" fmla="*/ 2147483647 h 90"/>
                <a:gd name="T66" fmla="*/ 2147483647 w 198"/>
                <a:gd name="T67" fmla="*/ 2147483647 h 90"/>
                <a:gd name="T68" fmla="*/ 2147483647 w 198"/>
                <a:gd name="T69" fmla="*/ 2147483647 h 90"/>
                <a:gd name="T70" fmla="*/ 2147483647 w 198"/>
                <a:gd name="T71" fmla="*/ 2147483647 h 90"/>
                <a:gd name="T72" fmla="*/ 2147483647 w 198"/>
                <a:gd name="T73" fmla="*/ 2147483647 h 90"/>
                <a:gd name="T74" fmla="*/ 2147483647 w 198"/>
                <a:gd name="T75" fmla="*/ 2147483647 h 90"/>
                <a:gd name="T76" fmla="*/ 2147483647 w 198"/>
                <a:gd name="T77" fmla="*/ 2147483647 h 90"/>
                <a:gd name="T78" fmla="*/ 2147483647 w 198"/>
                <a:gd name="T79" fmla="*/ 2147483647 h 90"/>
                <a:gd name="T80" fmla="*/ 2147483647 w 198"/>
                <a:gd name="T81" fmla="*/ 2147483647 h 90"/>
                <a:gd name="T82" fmla="*/ 2147483647 w 198"/>
                <a:gd name="T83" fmla="*/ 2147483647 h 90"/>
                <a:gd name="T84" fmla="*/ 2147483647 w 198"/>
                <a:gd name="T85" fmla="*/ 2147483647 h 90"/>
                <a:gd name="T86" fmla="*/ 2147483647 w 198"/>
                <a:gd name="T87" fmla="*/ 2147483647 h 90"/>
                <a:gd name="T88" fmla="*/ 2147483647 w 198"/>
                <a:gd name="T89" fmla="*/ 2147483647 h 90"/>
                <a:gd name="T90" fmla="*/ 2147483647 w 198"/>
                <a:gd name="T91" fmla="*/ 2147483647 h 90"/>
                <a:gd name="T92" fmla="*/ 2147483647 w 198"/>
                <a:gd name="T93" fmla="*/ 2147483647 h 90"/>
                <a:gd name="T94" fmla="*/ 2147483647 w 198"/>
                <a:gd name="T95" fmla="*/ 2147483647 h 90"/>
                <a:gd name="T96" fmla="*/ 2147483647 w 198"/>
                <a:gd name="T97" fmla="*/ 0 h 9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8"/>
                <a:gd name="T148" fmla="*/ 0 h 90"/>
                <a:gd name="T149" fmla="*/ 198 w 198"/>
                <a:gd name="T150" fmla="*/ 90 h 9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8" h="90">
                  <a:moveTo>
                    <a:pt x="161" y="0"/>
                  </a:moveTo>
                  <a:lnTo>
                    <a:pt x="167" y="3"/>
                  </a:lnTo>
                  <a:lnTo>
                    <a:pt x="174" y="6"/>
                  </a:lnTo>
                  <a:lnTo>
                    <a:pt x="182" y="10"/>
                  </a:lnTo>
                  <a:lnTo>
                    <a:pt x="190" y="13"/>
                  </a:lnTo>
                  <a:lnTo>
                    <a:pt x="197" y="15"/>
                  </a:lnTo>
                  <a:lnTo>
                    <a:pt x="198" y="22"/>
                  </a:lnTo>
                  <a:lnTo>
                    <a:pt x="195" y="30"/>
                  </a:lnTo>
                  <a:lnTo>
                    <a:pt x="191" y="40"/>
                  </a:lnTo>
                  <a:lnTo>
                    <a:pt x="186" y="50"/>
                  </a:lnTo>
                  <a:lnTo>
                    <a:pt x="180" y="58"/>
                  </a:lnTo>
                  <a:lnTo>
                    <a:pt x="176" y="65"/>
                  </a:lnTo>
                  <a:lnTo>
                    <a:pt x="175" y="66"/>
                  </a:lnTo>
                  <a:lnTo>
                    <a:pt x="172" y="69"/>
                  </a:lnTo>
                  <a:lnTo>
                    <a:pt x="165" y="73"/>
                  </a:lnTo>
                  <a:lnTo>
                    <a:pt x="157" y="78"/>
                  </a:lnTo>
                  <a:lnTo>
                    <a:pt x="146" y="84"/>
                  </a:lnTo>
                  <a:lnTo>
                    <a:pt x="134" y="88"/>
                  </a:lnTo>
                  <a:lnTo>
                    <a:pt x="123" y="88"/>
                  </a:lnTo>
                  <a:lnTo>
                    <a:pt x="112" y="88"/>
                  </a:lnTo>
                  <a:lnTo>
                    <a:pt x="97" y="88"/>
                  </a:lnTo>
                  <a:lnTo>
                    <a:pt x="81" y="90"/>
                  </a:lnTo>
                  <a:lnTo>
                    <a:pt x="63" y="90"/>
                  </a:lnTo>
                  <a:lnTo>
                    <a:pt x="45" y="90"/>
                  </a:lnTo>
                  <a:lnTo>
                    <a:pt x="30" y="89"/>
                  </a:lnTo>
                  <a:lnTo>
                    <a:pt x="17" y="85"/>
                  </a:lnTo>
                  <a:lnTo>
                    <a:pt x="9" y="75"/>
                  </a:lnTo>
                  <a:lnTo>
                    <a:pt x="2" y="62"/>
                  </a:lnTo>
                  <a:lnTo>
                    <a:pt x="0" y="51"/>
                  </a:lnTo>
                  <a:lnTo>
                    <a:pt x="2" y="44"/>
                  </a:lnTo>
                  <a:lnTo>
                    <a:pt x="6" y="39"/>
                  </a:lnTo>
                  <a:lnTo>
                    <a:pt x="13" y="35"/>
                  </a:lnTo>
                  <a:lnTo>
                    <a:pt x="21" y="33"/>
                  </a:lnTo>
                  <a:lnTo>
                    <a:pt x="29" y="32"/>
                  </a:lnTo>
                  <a:lnTo>
                    <a:pt x="37" y="32"/>
                  </a:lnTo>
                  <a:lnTo>
                    <a:pt x="44" y="33"/>
                  </a:lnTo>
                  <a:lnTo>
                    <a:pt x="48" y="33"/>
                  </a:lnTo>
                  <a:lnTo>
                    <a:pt x="51" y="35"/>
                  </a:lnTo>
                  <a:lnTo>
                    <a:pt x="54" y="35"/>
                  </a:lnTo>
                  <a:lnTo>
                    <a:pt x="63" y="35"/>
                  </a:lnTo>
                  <a:lnTo>
                    <a:pt x="75" y="35"/>
                  </a:lnTo>
                  <a:lnTo>
                    <a:pt x="90" y="35"/>
                  </a:lnTo>
                  <a:lnTo>
                    <a:pt x="107" y="33"/>
                  </a:lnTo>
                  <a:lnTo>
                    <a:pt x="122" y="30"/>
                  </a:lnTo>
                  <a:lnTo>
                    <a:pt x="133" y="26"/>
                  </a:lnTo>
                  <a:lnTo>
                    <a:pt x="141" y="20"/>
                  </a:lnTo>
                  <a:lnTo>
                    <a:pt x="149" y="9"/>
                  </a:lnTo>
                  <a:lnTo>
                    <a:pt x="156" y="3"/>
                  </a:lnTo>
                  <a:lnTo>
                    <a:pt x="161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6" name="Freeform 2765"/>
            <p:cNvSpPr>
              <a:spLocks/>
            </p:cNvSpPr>
            <p:nvPr/>
          </p:nvSpPr>
          <p:spPr bwMode="auto">
            <a:xfrm rot="1114411" flipH="1">
              <a:off x="1272209" y="4698698"/>
              <a:ext cx="114057" cy="52856"/>
            </a:xfrm>
            <a:custGeom>
              <a:avLst/>
              <a:gdLst>
                <a:gd name="T0" fmla="*/ 2147483647 w 205"/>
                <a:gd name="T1" fmla="*/ 0 h 95"/>
                <a:gd name="T2" fmla="*/ 2147483647 w 205"/>
                <a:gd name="T3" fmla="*/ 2147483647 h 95"/>
                <a:gd name="T4" fmla="*/ 2147483647 w 205"/>
                <a:gd name="T5" fmla="*/ 2147483647 h 95"/>
                <a:gd name="T6" fmla="*/ 2147483647 w 205"/>
                <a:gd name="T7" fmla="*/ 2147483647 h 95"/>
                <a:gd name="T8" fmla="*/ 2147483647 w 205"/>
                <a:gd name="T9" fmla="*/ 2147483647 h 95"/>
                <a:gd name="T10" fmla="*/ 2147483647 w 205"/>
                <a:gd name="T11" fmla="*/ 2147483647 h 95"/>
                <a:gd name="T12" fmla="*/ 2147483647 w 205"/>
                <a:gd name="T13" fmla="*/ 2147483647 h 95"/>
                <a:gd name="T14" fmla="*/ 2147483647 w 205"/>
                <a:gd name="T15" fmla="*/ 2147483647 h 95"/>
                <a:gd name="T16" fmla="*/ 2147483647 w 205"/>
                <a:gd name="T17" fmla="*/ 2147483647 h 95"/>
                <a:gd name="T18" fmla="*/ 2147483647 w 205"/>
                <a:gd name="T19" fmla="*/ 2147483647 h 95"/>
                <a:gd name="T20" fmla="*/ 2147483647 w 205"/>
                <a:gd name="T21" fmla="*/ 2147483647 h 95"/>
                <a:gd name="T22" fmla="*/ 2147483647 w 205"/>
                <a:gd name="T23" fmla="*/ 2147483647 h 95"/>
                <a:gd name="T24" fmla="*/ 2147483647 w 205"/>
                <a:gd name="T25" fmla="*/ 2147483647 h 95"/>
                <a:gd name="T26" fmla="*/ 2147483647 w 205"/>
                <a:gd name="T27" fmla="*/ 2147483647 h 95"/>
                <a:gd name="T28" fmla="*/ 2147483647 w 205"/>
                <a:gd name="T29" fmla="*/ 2147483647 h 95"/>
                <a:gd name="T30" fmla="*/ 2147483647 w 205"/>
                <a:gd name="T31" fmla="*/ 2147483647 h 95"/>
                <a:gd name="T32" fmla="*/ 2147483647 w 205"/>
                <a:gd name="T33" fmla="*/ 2147483647 h 95"/>
                <a:gd name="T34" fmla="*/ 2147483647 w 205"/>
                <a:gd name="T35" fmla="*/ 2147483647 h 95"/>
                <a:gd name="T36" fmla="*/ 2147483647 w 205"/>
                <a:gd name="T37" fmla="*/ 2147483647 h 95"/>
                <a:gd name="T38" fmla="*/ 2147483647 w 205"/>
                <a:gd name="T39" fmla="*/ 2147483647 h 95"/>
                <a:gd name="T40" fmla="*/ 2147483647 w 205"/>
                <a:gd name="T41" fmla="*/ 2147483647 h 95"/>
                <a:gd name="T42" fmla="*/ 2147483647 w 205"/>
                <a:gd name="T43" fmla="*/ 2147483647 h 95"/>
                <a:gd name="T44" fmla="*/ 2147483647 w 205"/>
                <a:gd name="T45" fmla="*/ 2147483647 h 95"/>
                <a:gd name="T46" fmla="*/ 2147483647 w 205"/>
                <a:gd name="T47" fmla="*/ 2147483647 h 95"/>
                <a:gd name="T48" fmla="*/ 2147483647 w 205"/>
                <a:gd name="T49" fmla="*/ 2147483647 h 95"/>
                <a:gd name="T50" fmla="*/ 2147483647 w 205"/>
                <a:gd name="T51" fmla="*/ 2147483647 h 95"/>
                <a:gd name="T52" fmla="*/ 2147483647 w 205"/>
                <a:gd name="T53" fmla="*/ 2147483647 h 95"/>
                <a:gd name="T54" fmla="*/ 2147483647 w 205"/>
                <a:gd name="T55" fmla="*/ 2147483647 h 95"/>
                <a:gd name="T56" fmla="*/ 2147483647 w 205"/>
                <a:gd name="T57" fmla="*/ 2147483647 h 95"/>
                <a:gd name="T58" fmla="*/ 2147483647 w 205"/>
                <a:gd name="T59" fmla="*/ 2147483647 h 95"/>
                <a:gd name="T60" fmla="*/ 0 w 205"/>
                <a:gd name="T61" fmla="*/ 2147483647 h 95"/>
                <a:gd name="T62" fmla="*/ 2147483647 w 205"/>
                <a:gd name="T63" fmla="*/ 2147483647 h 95"/>
                <a:gd name="T64" fmla="*/ 2147483647 w 205"/>
                <a:gd name="T65" fmla="*/ 2147483647 h 95"/>
                <a:gd name="T66" fmla="*/ 2147483647 w 205"/>
                <a:gd name="T67" fmla="*/ 2147483647 h 95"/>
                <a:gd name="T68" fmla="*/ 2147483647 w 205"/>
                <a:gd name="T69" fmla="*/ 2147483647 h 95"/>
                <a:gd name="T70" fmla="*/ 2147483647 w 205"/>
                <a:gd name="T71" fmla="*/ 2147483647 h 95"/>
                <a:gd name="T72" fmla="*/ 2147483647 w 205"/>
                <a:gd name="T73" fmla="*/ 2147483647 h 95"/>
                <a:gd name="T74" fmla="*/ 2147483647 w 205"/>
                <a:gd name="T75" fmla="*/ 2147483647 h 95"/>
                <a:gd name="T76" fmla="*/ 2147483647 w 205"/>
                <a:gd name="T77" fmla="*/ 2147483647 h 95"/>
                <a:gd name="T78" fmla="*/ 2147483647 w 205"/>
                <a:gd name="T79" fmla="*/ 2147483647 h 95"/>
                <a:gd name="T80" fmla="*/ 2147483647 w 205"/>
                <a:gd name="T81" fmla="*/ 2147483647 h 95"/>
                <a:gd name="T82" fmla="*/ 2147483647 w 205"/>
                <a:gd name="T83" fmla="*/ 2147483647 h 95"/>
                <a:gd name="T84" fmla="*/ 2147483647 w 205"/>
                <a:gd name="T85" fmla="*/ 2147483647 h 95"/>
                <a:gd name="T86" fmla="*/ 2147483647 w 205"/>
                <a:gd name="T87" fmla="*/ 2147483647 h 95"/>
                <a:gd name="T88" fmla="*/ 2147483647 w 205"/>
                <a:gd name="T89" fmla="*/ 2147483647 h 95"/>
                <a:gd name="T90" fmla="*/ 2147483647 w 205"/>
                <a:gd name="T91" fmla="*/ 2147483647 h 95"/>
                <a:gd name="T92" fmla="*/ 2147483647 w 205"/>
                <a:gd name="T93" fmla="*/ 2147483647 h 95"/>
                <a:gd name="T94" fmla="*/ 2147483647 w 205"/>
                <a:gd name="T95" fmla="*/ 2147483647 h 95"/>
                <a:gd name="T96" fmla="*/ 2147483647 w 205"/>
                <a:gd name="T97" fmla="*/ 2147483647 h 95"/>
                <a:gd name="T98" fmla="*/ 2147483647 w 205"/>
                <a:gd name="T99" fmla="*/ 0 h 9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5"/>
                <a:gd name="T151" fmla="*/ 0 h 95"/>
                <a:gd name="T152" fmla="*/ 205 w 205"/>
                <a:gd name="T153" fmla="*/ 95 h 9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5" h="95">
                  <a:moveTo>
                    <a:pt x="167" y="0"/>
                  </a:moveTo>
                  <a:lnTo>
                    <a:pt x="171" y="2"/>
                  </a:lnTo>
                  <a:lnTo>
                    <a:pt x="175" y="9"/>
                  </a:lnTo>
                  <a:lnTo>
                    <a:pt x="179" y="17"/>
                  </a:lnTo>
                  <a:lnTo>
                    <a:pt x="183" y="27"/>
                  </a:lnTo>
                  <a:lnTo>
                    <a:pt x="188" y="34"/>
                  </a:lnTo>
                  <a:lnTo>
                    <a:pt x="197" y="37"/>
                  </a:lnTo>
                  <a:lnTo>
                    <a:pt x="203" y="41"/>
                  </a:lnTo>
                  <a:lnTo>
                    <a:pt x="205" y="46"/>
                  </a:lnTo>
                  <a:lnTo>
                    <a:pt x="202" y="54"/>
                  </a:lnTo>
                  <a:lnTo>
                    <a:pt x="198" y="64"/>
                  </a:lnTo>
                  <a:lnTo>
                    <a:pt x="194" y="72"/>
                  </a:lnTo>
                  <a:lnTo>
                    <a:pt x="188" y="80"/>
                  </a:lnTo>
                  <a:lnTo>
                    <a:pt x="184" y="86"/>
                  </a:lnTo>
                  <a:lnTo>
                    <a:pt x="183" y="87"/>
                  </a:lnTo>
                  <a:lnTo>
                    <a:pt x="180" y="88"/>
                  </a:lnTo>
                  <a:lnTo>
                    <a:pt x="172" y="90"/>
                  </a:lnTo>
                  <a:lnTo>
                    <a:pt x="161" y="92"/>
                  </a:lnTo>
                  <a:lnTo>
                    <a:pt x="148" y="95"/>
                  </a:lnTo>
                  <a:lnTo>
                    <a:pt x="135" y="95"/>
                  </a:lnTo>
                  <a:lnTo>
                    <a:pt x="123" y="95"/>
                  </a:lnTo>
                  <a:lnTo>
                    <a:pt x="112" y="94"/>
                  </a:lnTo>
                  <a:lnTo>
                    <a:pt x="98" y="94"/>
                  </a:lnTo>
                  <a:lnTo>
                    <a:pt x="81" y="95"/>
                  </a:lnTo>
                  <a:lnTo>
                    <a:pt x="63" y="95"/>
                  </a:lnTo>
                  <a:lnTo>
                    <a:pt x="47" y="94"/>
                  </a:lnTo>
                  <a:lnTo>
                    <a:pt x="30" y="91"/>
                  </a:lnTo>
                  <a:lnTo>
                    <a:pt x="17" y="86"/>
                  </a:lnTo>
                  <a:lnTo>
                    <a:pt x="8" y="77"/>
                  </a:lnTo>
                  <a:lnTo>
                    <a:pt x="2" y="62"/>
                  </a:lnTo>
                  <a:lnTo>
                    <a:pt x="0" y="53"/>
                  </a:lnTo>
                  <a:lnTo>
                    <a:pt x="2" y="45"/>
                  </a:lnTo>
                  <a:lnTo>
                    <a:pt x="6" y="39"/>
                  </a:lnTo>
                  <a:lnTo>
                    <a:pt x="13" y="35"/>
                  </a:lnTo>
                  <a:lnTo>
                    <a:pt x="21" y="34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44" y="34"/>
                  </a:lnTo>
                  <a:lnTo>
                    <a:pt x="49" y="35"/>
                  </a:lnTo>
                  <a:lnTo>
                    <a:pt x="51" y="35"/>
                  </a:lnTo>
                  <a:lnTo>
                    <a:pt x="55" y="35"/>
                  </a:lnTo>
                  <a:lnTo>
                    <a:pt x="64" y="35"/>
                  </a:lnTo>
                  <a:lnTo>
                    <a:pt x="78" y="35"/>
                  </a:lnTo>
                  <a:lnTo>
                    <a:pt x="96" y="35"/>
                  </a:lnTo>
                  <a:lnTo>
                    <a:pt x="113" y="32"/>
                  </a:lnTo>
                  <a:lnTo>
                    <a:pt x="130" y="28"/>
                  </a:lnTo>
                  <a:lnTo>
                    <a:pt x="145" y="22"/>
                  </a:lnTo>
                  <a:lnTo>
                    <a:pt x="154" y="11"/>
                  </a:lnTo>
                  <a:lnTo>
                    <a:pt x="161" y="2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7" name="Freeform 2766"/>
            <p:cNvSpPr>
              <a:spLocks/>
            </p:cNvSpPr>
            <p:nvPr/>
          </p:nvSpPr>
          <p:spPr bwMode="auto">
            <a:xfrm rot="1114411" flipH="1">
              <a:off x="2284818" y="4242454"/>
              <a:ext cx="53969" cy="77893"/>
            </a:xfrm>
            <a:custGeom>
              <a:avLst/>
              <a:gdLst>
                <a:gd name="T0" fmla="*/ 2147483647 w 97"/>
                <a:gd name="T1" fmla="*/ 0 h 140"/>
                <a:gd name="T2" fmla="*/ 2147483647 w 97"/>
                <a:gd name="T3" fmla="*/ 2147483647 h 140"/>
                <a:gd name="T4" fmla="*/ 2147483647 w 97"/>
                <a:gd name="T5" fmla="*/ 2147483647 h 140"/>
                <a:gd name="T6" fmla="*/ 2147483647 w 97"/>
                <a:gd name="T7" fmla="*/ 2147483647 h 140"/>
                <a:gd name="T8" fmla="*/ 2147483647 w 97"/>
                <a:gd name="T9" fmla="*/ 2147483647 h 140"/>
                <a:gd name="T10" fmla="*/ 2147483647 w 97"/>
                <a:gd name="T11" fmla="*/ 2147483647 h 140"/>
                <a:gd name="T12" fmla="*/ 2147483647 w 97"/>
                <a:gd name="T13" fmla="*/ 2147483647 h 140"/>
                <a:gd name="T14" fmla="*/ 2147483647 w 97"/>
                <a:gd name="T15" fmla="*/ 2147483647 h 140"/>
                <a:gd name="T16" fmla="*/ 2147483647 w 97"/>
                <a:gd name="T17" fmla="*/ 2147483647 h 140"/>
                <a:gd name="T18" fmla="*/ 2147483647 w 97"/>
                <a:gd name="T19" fmla="*/ 2147483647 h 140"/>
                <a:gd name="T20" fmla="*/ 2147483647 w 97"/>
                <a:gd name="T21" fmla="*/ 2147483647 h 140"/>
                <a:gd name="T22" fmla="*/ 2147483647 w 97"/>
                <a:gd name="T23" fmla="*/ 2147483647 h 140"/>
                <a:gd name="T24" fmla="*/ 2147483647 w 97"/>
                <a:gd name="T25" fmla="*/ 2147483647 h 140"/>
                <a:gd name="T26" fmla="*/ 2147483647 w 97"/>
                <a:gd name="T27" fmla="*/ 2147483647 h 140"/>
                <a:gd name="T28" fmla="*/ 2147483647 w 97"/>
                <a:gd name="T29" fmla="*/ 2147483647 h 140"/>
                <a:gd name="T30" fmla="*/ 2147483647 w 97"/>
                <a:gd name="T31" fmla="*/ 2147483647 h 140"/>
                <a:gd name="T32" fmla="*/ 2147483647 w 97"/>
                <a:gd name="T33" fmla="*/ 2147483647 h 140"/>
                <a:gd name="T34" fmla="*/ 2147483647 w 97"/>
                <a:gd name="T35" fmla="*/ 2147483647 h 140"/>
                <a:gd name="T36" fmla="*/ 2147483647 w 97"/>
                <a:gd name="T37" fmla="*/ 2147483647 h 140"/>
                <a:gd name="T38" fmla="*/ 2147483647 w 97"/>
                <a:gd name="T39" fmla="*/ 2147483647 h 140"/>
                <a:gd name="T40" fmla="*/ 2147483647 w 97"/>
                <a:gd name="T41" fmla="*/ 2147483647 h 140"/>
                <a:gd name="T42" fmla="*/ 2147483647 w 97"/>
                <a:gd name="T43" fmla="*/ 2147483647 h 140"/>
                <a:gd name="T44" fmla="*/ 0 w 97"/>
                <a:gd name="T45" fmla="*/ 2147483647 h 140"/>
                <a:gd name="T46" fmla="*/ 2147483647 w 97"/>
                <a:gd name="T47" fmla="*/ 2147483647 h 140"/>
                <a:gd name="T48" fmla="*/ 2147483647 w 97"/>
                <a:gd name="T49" fmla="*/ 2147483647 h 140"/>
                <a:gd name="T50" fmla="*/ 2147483647 w 97"/>
                <a:gd name="T51" fmla="*/ 2147483647 h 140"/>
                <a:gd name="T52" fmla="*/ 2147483647 w 97"/>
                <a:gd name="T53" fmla="*/ 2147483647 h 140"/>
                <a:gd name="T54" fmla="*/ 2147483647 w 97"/>
                <a:gd name="T55" fmla="*/ 2147483647 h 140"/>
                <a:gd name="T56" fmla="*/ 2147483647 w 97"/>
                <a:gd name="T57" fmla="*/ 2147483647 h 140"/>
                <a:gd name="T58" fmla="*/ 2147483647 w 97"/>
                <a:gd name="T59" fmla="*/ 2147483647 h 140"/>
                <a:gd name="T60" fmla="*/ 2147483647 w 97"/>
                <a:gd name="T61" fmla="*/ 2147483647 h 140"/>
                <a:gd name="T62" fmla="*/ 2147483647 w 97"/>
                <a:gd name="T63" fmla="*/ 2147483647 h 140"/>
                <a:gd name="T64" fmla="*/ 2147483647 w 97"/>
                <a:gd name="T65" fmla="*/ 2147483647 h 140"/>
                <a:gd name="T66" fmla="*/ 2147483647 w 97"/>
                <a:gd name="T67" fmla="*/ 2147483647 h 140"/>
                <a:gd name="T68" fmla="*/ 2147483647 w 97"/>
                <a:gd name="T69" fmla="*/ 2147483647 h 140"/>
                <a:gd name="T70" fmla="*/ 2147483647 w 97"/>
                <a:gd name="T71" fmla="*/ 0 h 1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"/>
                <a:gd name="T109" fmla="*/ 0 h 140"/>
                <a:gd name="T110" fmla="*/ 97 w 97"/>
                <a:gd name="T111" fmla="*/ 140 h 1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" h="140">
                  <a:moveTo>
                    <a:pt x="68" y="0"/>
                  </a:moveTo>
                  <a:lnTo>
                    <a:pt x="75" y="2"/>
                  </a:lnTo>
                  <a:lnTo>
                    <a:pt x="84" y="11"/>
                  </a:lnTo>
                  <a:lnTo>
                    <a:pt x="93" y="27"/>
                  </a:lnTo>
                  <a:lnTo>
                    <a:pt x="97" y="46"/>
                  </a:lnTo>
                  <a:lnTo>
                    <a:pt x="95" y="62"/>
                  </a:lnTo>
                  <a:lnTo>
                    <a:pt x="89" y="76"/>
                  </a:lnTo>
                  <a:lnTo>
                    <a:pt x="80" y="90"/>
                  </a:lnTo>
                  <a:lnTo>
                    <a:pt x="71" y="99"/>
                  </a:lnTo>
                  <a:lnTo>
                    <a:pt x="61" y="107"/>
                  </a:lnTo>
                  <a:lnTo>
                    <a:pt x="54" y="112"/>
                  </a:lnTo>
                  <a:lnTo>
                    <a:pt x="53" y="113"/>
                  </a:lnTo>
                  <a:lnTo>
                    <a:pt x="52" y="114"/>
                  </a:lnTo>
                  <a:lnTo>
                    <a:pt x="48" y="118"/>
                  </a:lnTo>
                  <a:lnTo>
                    <a:pt x="44" y="124"/>
                  </a:lnTo>
                  <a:lnTo>
                    <a:pt x="37" y="129"/>
                  </a:lnTo>
                  <a:lnTo>
                    <a:pt x="30" y="135"/>
                  </a:lnTo>
                  <a:lnTo>
                    <a:pt x="23" y="139"/>
                  </a:lnTo>
                  <a:lnTo>
                    <a:pt x="16" y="140"/>
                  </a:lnTo>
                  <a:lnTo>
                    <a:pt x="9" y="137"/>
                  </a:lnTo>
                  <a:lnTo>
                    <a:pt x="5" y="131"/>
                  </a:lnTo>
                  <a:lnTo>
                    <a:pt x="1" y="118"/>
                  </a:lnTo>
                  <a:lnTo>
                    <a:pt x="0" y="99"/>
                  </a:lnTo>
                  <a:lnTo>
                    <a:pt x="3" y="75"/>
                  </a:lnTo>
                  <a:lnTo>
                    <a:pt x="7" y="56"/>
                  </a:lnTo>
                  <a:lnTo>
                    <a:pt x="14" y="41"/>
                  </a:lnTo>
                  <a:lnTo>
                    <a:pt x="22" y="28"/>
                  </a:lnTo>
                  <a:lnTo>
                    <a:pt x="30" y="22"/>
                  </a:lnTo>
                  <a:lnTo>
                    <a:pt x="38" y="16"/>
                  </a:lnTo>
                  <a:lnTo>
                    <a:pt x="45" y="13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2" y="9"/>
                  </a:lnTo>
                  <a:lnTo>
                    <a:pt x="56" y="5"/>
                  </a:lnTo>
                  <a:lnTo>
                    <a:pt x="61" y="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38" name="Freeform 2767"/>
            <p:cNvSpPr>
              <a:spLocks/>
            </p:cNvSpPr>
            <p:nvPr/>
          </p:nvSpPr>
          <p:spPr bwMode="auto">
            <a:xfrm rot="1114411" flipH="1">
              <a:off x="2262298" y="4188306"/>
              <a:ext cx="68991" cy="85126"/>
            </a:xfrm>
            <a:custGeom>
              <a:avLst/>
              <a:gdLst>
                <a:gd name="T0" fmla="*/ 2147483647 w 124"/>
                <a:gd name="T1" fmla="*/ 0 h 153"/>
                <a:gd name="T2" fmla="*/ 2147483647 w 124"/>
                <a:gd name="T3" fmla="*/ 2147483647 h 153"/>
                <a:gd name="T4" fmla="*/ 2147483647 w 124"/>
                <a:gd name="T5" fmla="*/ 2147483647 h 153"/>
                <a:gd name="T6" fmla="*/ 2147483647 w 124"/>
                <a:gd name="T7" fmla="*/ 2147483647 h 153"/>
                <a:gd name="T8" fmla="*/ 2147483647 w 124"/>
                <a:gd name="T9" fmla="*/ 2147483647 h 153"/>
                <a:gd name="T10" fmla="*/ 2147483647 w 124"/>
                <a:gd name="T11" fmla="*/ 2147483647 h 153"/>
                <a:gd name="T12" fmla="*/ 2147483647 w 124"/>
                <a:gd name="T13" fmla="*/ 2147483647 h 153"/>
                <a:gd name="T14" fmla="*/ 2147483647 w 124"/>
                <a:gd name="T15" fmla="*/ 2147483647 h 153"/>
                <a:gd name="T16" fmla="*/ 2147483647 w 124"/>
                <a:gd name="T17" fmla="*/ 2147483647 h 153"/>
                <a:gd name="T18" fmla="*/ 2147483647 w 124"/>
                <a:gd name="T19" fmla="*/ 2147483647 h 153"/>
                <a:gd name="T20" fmla="*/ 2147483647 w 124"/>
                <a:gd name="T21" fmla="*/ 2147483647 h 153"/>
                <a:gd name="T22" fmla="*/ 2147483647 w 124"/>
                <a:gd name="T23" fmla="*/ 2147483647 h 153"/>
                <a:gd name="T24" fmla="*/ 2147483647 w 124"/>
                <a:gd name="T25" fmla="*/ 2147483647 h 153"/>
                <a:gd name="T26" fmla="*/ 2147483647 w 124"/>
                <a:gd name="T27" fmla="*/ 2147483647 h 153"/>
                <a:gd name="T28" fmla="*/ 2147483647 w 124"/>
                <a:gd name="T29" fmla="*/ 2147483647 h 153"/>
                <a:gd name="T30" fmla="*/ 2147483647 w 124"/>
                <a:gd name="T31" fmla="*/ 2147483647 h 153"/>
                <a:gd name="T32" fmla="*/ 2147483647 w 124"/>
                <a:gd name="T33" fmla="*/ 2147483647 h 153"/>
                <a:gd name="T34" fmla="*/ 2147483647 w 124"/>
                <a:gd name="T35" fmla="*/ 2147483647 h 153"/>
                <a:gd name="T36" fmla="*/ 2147483647 w 124"/>
                <a:gd name="T37" fmla="*/ 2147483647 h 153"/>
                <a:gd name="T38" fmla="*/ 2147483647 w 124"/>
                <a:gd name="T39" fmla="*/ 2147483647 h 153"/>
                <a:gd name="T40" fmla="*/ 2147483647 w 124"/>
                <a:gd name="T41" fmla="*/ 2147483647 h 153"/>
                <a:gd name="T42" fmla="*/ 2147483647 w 124"/>
                <a:gd name="T43" fmla="*/ 2147483647 h 153"/>
                <a:gd name="T44" fmla="*/ 2147483647 w 124"/>
                <a:gd name="T45" fmla="*/ 2147483647 h 153"/>
                <a:gd name="T46" fmla="*/ 2147483647 w 124"/>
                <a:gd name="T47" fmla="*/ 2147483647 h 153"/>
                <a:gd name="T48" fmla="*/ 2147483647 w 124"/>
                <a:gd name="T49" fmla="*/ 2147483647 h 153"/>
                <a:gd name="T50" fmla="*/ 2147483647 w 124"/>
                <a:gd name="T51" fmla="*/ 2147483647 h 153"/>
                <a:gd name="T52" fmla="*/ 2147483647 w 124"/>
                <a:gd name="T53" fmla="*/ 2147483647 h 153"/>
                <a:gd name="T54" fmla="*/ 0 w 124"/>
                <a:gd name="T55" fmla="*/ 2147483647 h 153"/>
                <a:gd name="T56" fmla="*/ 2147483647 w 124"/>
                <a:gd name="T57" fmla="*/ 2147483647 h 153"/>
                <a:gd name="T58" fmla="*/ 2147483647 w 124"/>
                <a:gd name="T59" fmla="*/ 2147483647 h 153"/>
                <a:gd name="T60" fmla="*/ 2147483647 w 124"/>
                <a:gd name="T61" fmla="*/ 2147483647 h 153"/>
                <a:gd name="T62" fmla="*/ 2147483647 w 124"/>
                <a:gd name="T63" fmla="*/ 2147483647 h 153"/>
                <a:gd name="T64" fmla="*/ 2147483647 w 124"/>
                <a:gd name="T65" fmla="*/ 2147483647 h 153"/>
                <a:gd name="T66" fmla="*/ 2147483647 w 124"/>
                <a:gd name="T67" fmla="*/ 2147483647 h 153"/>
                <a:gd name="T68" fmla="*/ 2147483647 w 124"/>
                <a:gd name="T69" fmla="*/ 2147483647 h 153"/>
                <a:gd name="T70" fmla="*/ 2147483647 w 124"/>
                <a:gd name="T71" fmla="*/ 2147483647 h 153"/>
                <a:gd name="T72" fmla="*/ 2147483647 w 124"/>
                <a:gd name="T73" fmla="*/ 2147483647 h 153"/>
                <a:gd name="T74" fmla="*/ 2147483647 w 124"/>
                <a:gd name="T75" fmla="*/ 0 h 153"/>
                <a:gd name="T76" fmla="*/ 2147483647 w 124"/>
                <a:gd name="T77" fmla="*/ 0 h 1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4"/>
                <a:gd name="T118" fmla="*/ 0 h 153"/>
                <a:gd name="T119" fmla="*/ 124 w 124"/>
                <a:gd name="T120" fmla="*/ 153 h 15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4" h="153">
                  <a:moveTo>
                    <a:pt x="53" y="0"/>
                  </a:moveTo>
                  <a:lnTo>
                    <a:pt x="64" y="13"/>
                  </a:lnTo>
                  <a:lnTo>
                    <a:pt x="78" y="24"/>
                  </a:lnTo>
                  <a:lnTo>
                    <a:pt x="91" y="30"/>
                  </a:lnTo>
                  <a:lnTo>
                    <a:pt x="105" y="37"/>
                  </a:lnTo>
                  <a:lnTo>
                    <a:pt x="116" y="45"/>
                  </a:lnTo>
                  <a:lnTo>
                    <a:pt x="123" y="55"/>
                  </a:lnTo>
                  <a:lnTo>
                    <a:pt x="124" y="69"/>
                  </a:lnTo>
                  <a:lnTo>
                    <a:pt x="121" y="85"/>
                  </a:lnTo>
                  <a:lnTo>
                    <a:pt x="112" y="104"/>
                  </a:lnTo>
                  <a:lnTo>
                    <a:pt x="99" y="123"/>
                  </a:lnTo>
                  <a:lnTo>
                    <a:pt x="83" y="141"/>
                  </a:lnTo>
                  <a:lnTo>
                    <a:pt x="73" y="151"/>
                  </a:lnTo>
                  <a:lnTo>
                    <a:pt x="64" y="153"/>
                  </a:lnTo>
                  <a:lnTo>
                    <a:pt x="57" y="151"/>
                  </a:lnTo>
                  <a:lnTo>
                    <a:pt x="52" y="145"/>
                  </a:lnTo>
                  <a:lnTo>
                    <a:pt x="48" y="140"/>
                  </a:lnTo>
                  <a:lnTo>
                    <a:pt x="45" y="134"/>
                  </a:lnTo>
                  <a:lnTo>
                    <a:pt x="45" y="133"/>
                  </a:lnTo>
                  <a:lnTo>
                    <a:pt x="46" y="131"/>
                  </a:lnTo>
                  <a:lnTo>
                    <a:pt x="48" y="129"/>
                  </a:lnTo>
                  <a:lnTo>
                    <a:pt x="49" y="126"/>
                  </a:lnTo>
                  <a:lnTo>
                    <a:pt x="49" y="121"/>
                  </a:lnTo>
                  <a:lnTo>
                    <a:pt x="45" y="115"/>
                  </a:lnTo>
                  <a:lnTo>
                    <a:pt x="37" y="108"/>
                  </a:lnTo>
                  <a:lnTo>
                    <a:pt x="20" y="103"/>
                  </a:lnTo>
                  <a:lnTo>
                    <a:pt x="7" y="96"/>
                  </a:lnTo>
                  <a:lnTo>
                    <a:pt x="0" y="89"/>
                  </a:lnTo>
                  <a:lnTo>
                    <a:pt x="1" y="81"/>
                  </a:lnTo>
                  <a:lnTo>
                    <a:pt x="5" y="73"/>
                  </a:lnTo>
                  <a:lnTo>
                    <a:pt x="12" y="63"/>
                  </a:lnTo>
                  <a:lnTo>
                    <a:pt x="19" y="51"/>
                  </a:lnTo>
                  <a:lnTo>
                    <a:pt x="23" y="36"/>
                  </a:lnTo>
                  <a:lnTo>
                    <a:pt x="28" y="21"/>
                  </a:lnTo>
                  <a:lnTo>
                    <a:pt x="34" y="11"/>
                  </a:lnTo>
                  <a:lnTo>
                    <a:pt x="41" y="5"/>
                  </a:lnTo>
                  <a:lnTo>
                    <a:pt x="48" y="2"/>
                  </a:lnTo>
                  <a:lnTo>
                    <a:pt x="52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39" name="Freeform 2768"/>
            <p:cNvSpPr>
              <a:spLocks/>
            </p:cNvSpPr>
            <p:nvPr/>
          </p:nvSpPr>
          <p:spPr bwMode="auto">
            <a:xfrm rot="1114411" flipH="1">
              <a:off x="2294241" y="4307425"/>
              <a:ext cx="81231" cy="88464"/>
            </a:xfrm>
            <a:custGeom>
              <a:avLst/>
              <a:gdLst>
                <a:gd name="T0" fmla="*/ 2147483647 w 146"/>
                <a:gd name="T1" fmla="*/ 0 h 159"/>
                <a:gd name="T2" fmla="*/ 2147483647 w 146"/>
                <a:gd name="T3" fmla="*/ 2147483647 h 159"/>
                <a:gd name="T4" fmla="*/ 2147483647 w 146"/>
                <a:gd name="T5" fmla="*/ 2147483647 h 159"/>
                <a:gd name="T6" fmla="*/ 2147483647 w 146"/>
                <a:gd name="T7" fmla="*/ 2147483647 h 159"/>
                <a:gd name="T8" fmla="*/ 2147483647 w 146"/>
                <a:gd name="T9" fmla="*/ 2147483647 h 159"/>
                <a:gd name="T10" fmla="*/ 2147483647 w 146"/>
                <a:gd name="T11" fmla="*/ 2147483647 h 159"/>
                <a:gd name="T12" fmla="*/ 2147483647 w 146"/>
                <a:gd name="T13" fmla="*/ 2147483647 h 159"/>
                <a:gd name="T14" fmla="*/ 2147483647 w 146"/>
                <a:gd name="T15" fmla="*/ 2147483647 h 159"/>
                <a:gd name="T16" fmla="*/ 2147483647 w 146"/>
                <a:gd name="T17" fmla="*/ 2147483647 h 159"/>
                <a:gd name="T18" fmla="*/ 2147483647 w 146"/>
                <a:gd name="T19" fmla="*/ 2147483647 h 159"/>
                <a:gd name="T20" fmla="*/ 2147483647 w 146"/>
                <a:gd name="T21" fmla="*/ 2147483647 h 159"/>
                <a:gd name="T22" fmla="*/ 2147483647 w 146"/>
                <a:gd name="T23" fmla="*/ 2147483647 h 159"/>
                <a:gd name="T24" fmla="*/ 2147483647 w 146"/>
                <a:gd name="T25" fmla="*/ 2147483647 h 159"/>
                <a:gd name="T26" fmla="*/ 2147483647 w 146"/>
                <a:gd name="T27" fmla="*/ 2147483647 h 159"/>
                <a:gd name="T28" fmla="*/ 2147483647 w 146"/>
                <a:gd name="T29" fmla="*/ 2147483647 h 159"/>
                <a:gd name="T30" fmla="*/ 2147483647 w 146"/>
                <a:gd name="T31" fmla="*/ 2147483647 h 159"/>
                <a:gd name="T32" fmla="*/ 2147483647 w 146"/>
                <a:gd name="T33" fmla="*/ 2147483647 h 159"/>
                <a:gd name="T34" fmla="*/ 2147483647 w 146"/>
                <a:gd name="T35" fmla="*/ 2147483647 h 159"/>
                <a:gd name="T36" fmla="*/ 2147483647 w 146"/>
                <a:gd name="T37" fmla="*/ 2147483647 h 159"/>
                <a:gd name="T38" fmla="*/ 2147483647 w 146"/>
                <a:gd name="T39" fmla="*/ 2147483647 h 159"/>
                <a:gd name="T40" fmla="*/ 2147483647 w 146"/>
                <a:gd name="T41" fmla="*/ 2147483647 h 159"/>
                <a:gd name="T42" fmla="*/ 2147483647 w 146"/>
                <a:gd name="T43" fmla="*/ 2147483647 h 159"/>
                <a:gd name="T44" fmla="*/ 2147483647 w 146"/>
                <a:gd name="T45" fmla="*/ 2147483647 h 159"/>
                <a:gd name="T46" fmla="*/ 2147483647 w 146"/>
                <a:gd name="T47" fmla="*/ 2147483647 h 159"/>
                <a:gd name="T48" fmla="*/ 2147483647 w 146"/>
                <a:gd name="T49" fmla="*/ 2147483647 h 159"/>
                <a:gd name="T50" fmla="*/ 2147483647 w 146"/>
                <a:gd name="T51" fmla="*/ 2147483647 h 159"/>
                <a:gd name="T52" fmla="*/ 0 w 146"/>
                <a:gd name="T53" fmla="*/ 2147483647 h 159"/>
                <a:gd name="T54" fmla="*/ 2147483647 w 146"/>
                <a:gd name="T55" fmla="*/ 2147483647 h 159"/>
                <a:gd name="T56" fmla="*/ 2147483647 w 146"/>
                <a:gd name="T57" fmla="*/ 2147483647 h 159"/>
                <a:gd name="T58" fmla="*/ 2147483647 w 146"/>
                <a:gd name="T59" fmla="*/ 2147483647 h 159"/>
                <a:gd name="T60" fmla="*/ 2147483647 w 146"/>
                <a:gd name="T61" fmla="*/ 2147483647 h 159"/>
                <a:gd name="T62" fmla="*/ 2147483647 w 146"/>
                <a:gd name="T63" fmla="*/ 2147483647 h 159"/>
                <a:gd name="T64" fmla="*/ 2147483647 w 146"/>
                <a:gd name="T65" fmla="*/ 2147483647 h 159"/>
                <a:gd name="T66" fmla="*/ 2147483647 w 146"/>
                <a:gd name="T67" fmla="*/ 2147483647 h 159"/>
                <a:gd name="T68" fmla="*/ 2147483647 w 146"/>
                <a:gd name="T69" fmla="*/ 2147483647 h 159"/>
                <a:gd name="T70" fmla="*/ 2147483647 w 146"/>
                <a:gd name="T71" fmla="*/ 2147483647 h 159"/>
                <a:gd name="T72" fmla="*/ 2147483647 w 146"/>
                <a:gd name="T73" fmla="*/ 2147483647 h 159"/>
                <a:gd name="T74" fmla="*/ 2147483647 w 146"/>
                <a:gd name="T75" fmla="*/ 2147483647 h 159"/>
                <a:gd name="T76" fmla="*/ 2147483647 w 146"/>
                <a:gd name="T77" fmla="*/ 0 h 159"/>
                <a:gd name="T78" fmla="*/ 2147483647 w 146"/>
                <a:gd name="T79" fmla="*/ 0 h 15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46"/>
                <a:gd name="T121" fmla="*/ 0 h 159"/>
                <a:gd name="T122" fmla="*/ 146 w 146"/>
                <a:gd name="T123" fmla="*/ 159 h 15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46" h="159">
                  <a:moveTo>
                    <a:pt x="123" y="0"/>
                  </a:moveTo>
                  <a:lnTo>
                    <a:pt x="131" y="1"/>
                  </a:lnTo>
                  <a:lnTo>
                    <a:pt x="137" y="5"/>
                  </a:lnTo>
                  <a:lnTo>
                    <a:pt x="138" y="12"/>
                  </a:lnTo>
                  <a:lnTo>
                    <a:pt x="141" y="21"/>
                  </a:lnTo>
                  <a:lnTo>
                    <a:pt x="145" y="39"/>
                  </a:lnTo>
                  <a:lnTo>
                    <a:pt x="146" y="51"/>
                  </a:lnTo>
                  <a:lnTo>
                    <a:pt x="143" y="61"/>
                  </a:lnTo>
                  <a:lnTo>
                    <a:pt x="138" y="69"/>
                  </a:lnTo>
                  <a:lnTo>
                    <a:pt x="131" y="76"/>
                  </a:lnTo>
                  <a:lnTo>
                    <a:pt x="124" y="81"/>
                  </a:lnTo>
                  <a:lnTo>
                    <a:pt x="119" y="88"/>
                  </a:lnTo>
                  <a:lnTo>
                    <a:pt x="118" y="95"/>
                  </a:lnTo>
                  <a:lnTo>
                    <a:pt x="115" y="105"/>
                  </a:lnTo>
                  <a:lnTo>
                    <a:pt x="107" y="116"/>
                  </a:lnTo>
                  <a:lnTo>
                    <a:pt x="96" y="126"/>
                  </a:lnTo>
                  <a:lnTo>
                    <a:pt x="81" y="139"/>
                  </a:lnTo>
                  <a:lnTo>
                    <a:pt x="66" y="148"/>
                  </a:lnTo>
                  <a:lnTo>
                    <a:pt x="51" y="155"/>
                  </a:lnTo>
                  <a:lnTo>
                    <a:pt x="37" y="159"/>
                  </a:lnTo>
                  <a:lnTo>
                    <a:pt x="25" y="156"/>
                  </a:lnTo>
                  <a:lnTo>
                    <a:pt x="17" y="151"/>
                  </a:lnTo>
                  <a:lnTo>
                    <a:pt x="10" y="141"/>
                  </a:lnTo>
                  <a:lnTo>
                    <a:pt x="6" y="132"/>
                  </a:lnTo>
                  <a:lnTo>
                    <a:pt x="3" y="122"/>
                  </a:lnTo>
                  <a:lnTo>
                    <a:pt x="2" y="116"/>
                  </a:lnTo>
                  <a:lnTo>
                    <a:pt x="0" y="114"/>
                  </a:lnTo>
                  <a:lnTo>
                    <a:pt x="2" y="110"/>
                  </a:lnTo>
                  <a:lnTo>
                    <a:pt x="7" y="102"/>
                  </a:lnTo>
                  <a:lnTo>
                    <a:pt x="13" y="88"/>
                  </a:lnTo>
                  <a:lnTo>
                    <a:pt x="21" y="70"/>
                  </a:lnTo>
                  <a:lnTo>
                    <a:pt x="28" y="50"/>
                  </a:lnTo>
                  <a:lnTo>
                    <a:pt x="36" y="38"/>
                  </a:lnTo>
                  <a:lnTo>
                    <a:pt x="48" y="27"/>
                  </a:lnTo>
                  <a:lnTo>
                    <a:pt x="63" y="19"/>
                  </a:lnTo>
                  <a:lnTo>
                    <a:pt x="81" y="12"/>
                  </a:lnTo>
                  <a:lnTo>
                    <a:pt x="96" y="6"/>
                  </a:lnTo>
                  <a:lnTo>
                    <a:pt x="111" y="2"/>
                  </a:lnTo>
                  <a:lnTo>
                    <a:pt x="120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40" name="Freeform 2769"/>
            <p:cNvSpPr>
              <a:spLocks/>
            </p:cNvSpPr>
            <p:nvPr/>
          </p:nvSpPr>
          <p:spPr bwMode="auto">
            <a:xfrm rot="1114411" flipH="1">
              <a:off x="2544906" y="4411843"/>
              <a:ext cx="46736" cy="72885"/>
            </a:xfrm>
            <a:custGeom>
              <a:avLst/>
              <a:gdLst>
                <a:gd name="T0" fmla="*/ 2147483647 w 84"/>
                <a:gd name="T1" fmla="*/ 0 h 131"/>
                <a:gd name="T2" fmla="*/ 2147483647 w 84"/>
                <a:gd name="T3" fmla="*/ 2147483647 h 131"/>
                <a:gd name="T4" fmla="*/ 2147483647 w 84"/>
                <a:gd name="T5" fmla="*/ 2147483647 h 131"/>
                <a:gd name="T6" fmla="*/ 2147483647 w 84"/>
                <a:gd name="T7" fmla="*/ 2147483647 h 131"/>
                <a:gd name="T8" fmla="*/ 2147483647 w 84"/>
                <a:gd name="T9" fmla="*/ 2147483647 h 131"/>
                <a:gd name="T10" fmla="*/ 2147483647 w 84"/>
                <a:gd name="T11" fmla="*/ 2147483647 h 131"/>
                <a:gd name="T12" fmla="*/ 2147483647 w 84"/>
                <a:gd name="T13" fmla="*/ 2147483647 h 131"/>
                <a:gd name="T14" fmla="*/ 2147483647 w 84"/>
                <a:gd name="T15" fmla="*/ 2147483647 h 131"/>
                <a:gd name="T16" fmla="*/ 2147483647 w 84"/>
                <a:gd name="T17" fmla="*/ 2147483647 h 131"/>
                <a:gd name="T18" fmla="*/ 2147483647 w 84"/>
                <a:gd name="T19" fmla="*/ 2147483647 h 131"/>
                <a:gd name="T20" fmla="*/ 2147483647 w 84"/>
                <a:gd name="T21" fmla="*/ 2147483647 h 131"/>
                <a:gd name="T22" fmla="*/ 2147483647 w 84"/>
                <a:gd name="T23" fmla="*/ 2147483647 h 131"/>
                <a:gd name="T24" fmla="*/ 2147483647 w 84"/>
                <a:gd name="T25" fmla="*/ 2147483647 h 131"/>
                <a:gd name="T26" fmla="*/ 2147483647 w 84"/>
                <a:gd name="T27" fmla="*/ 2147483647 h 131"/>
                <a:gd name="T28" fmla="*/ 2147483647 w 84"/>
                <a:gd name="T29" fmla="*/ 2147483647 h 131"/>
                <a:gd name="T30" fmla="*/ 2147483647 w 84"/>
                <a:gd name="T31" fmla="*/ 2147483647 h 131"/>
                <a:gd name="T32" fmla="*/ 2147483647 w 84"/>
                <a:gd name="T33" fmla="*/ 2147483647 h 131"/>
                <a:gd name="T34" fmla="*/ 2147483647 w 84"/>
                <a:gd name="T35" fmla="*/ 2147483647 h 131"/>
                <a:gd name="T36" fmla="*/ 2147483647 w 84"/>
                <a:gd name="T37" fmla="*/ 2147483647 h 131"/>
                <a:gd name="T38" fmla="*/ 2147483647 w 84"/>
                <a:gd name="T39" fmla="*/ 2147483647 h 131"/>
                <a:gd name="T40" fmla="*/ 0 w 84"/>
                <a:gd name="T41" fmla="*/ 2147483647 h 131"/>
                <a:gd name="T42" fmla="*/ 2147483647 w 84"/>
                <a:gd name="T43" fmla="*/ 2147483647 h 131"/>
                <a:gd name="T44" fmla="*/ 2147483647 w 84"/>
                <a:gd name="T45" fmla="*/ 2147483647 h 131"/>
                <a:gd name="T46" fmla="*/ 2147483647 w 84"/>
                <a:gd name="T47" fmla="*/ 2147483647 h 131"/>
                <a:gd name="T48" fmla="*/ 2147483647 w 84"/>
                <a:gd name="T49" fmla="*/ 2147483647 h 131"/>
                <a:gd name="T50" fmla="*/ 2147483647 w 84"/>
                <a:gd name="T51" fmla="*/ 2147483647 h 131"/>
                <a:gd name="T52" fmla="*/ 2147483647 w 84"/>
                <a:gd name="T53" fmla="*/ 2147483647 h 131"/>
                <a:gd name="T54" fmla="*/ 2147483647 w 84"/>
                <a:gd name="T55" fmla="*/ 0 h 1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4"/>
                <a:gd name="T85" fmla="*/ 0 h 131"/>
                <a:gd name="T86" fmla="*/ 84 w 84"/>
                <a:gd name="T87" fmla="*/ 131 h 1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4" h="131">
                  <a:moveTo>
                    <a:pt x="68" y="0"/>
                  </a:moveTo>
                  <a:lnTo>
                    <a:pt x="76" y="1"/>
                  </a:lnTo>
                  <a:lnTo>
                    <a:pt x="83" y="9"/>
                  </a:lnTo>
                  <a:lnTo>
                    <a:pt x="84" y="21"/>
                  </a:lnTo>
                  <a:lnTo>
                    <a:pt x="83" y="35"/>
                  </a:lnTo>
                  <a:lnTo>
                    <a:pt x="80" y="50"/>
                  </a:lnTo>
                  <a:lnTo>
                    <a:pt x="76" y="65"/>
                  </a:lnTo>
                  <a:lnTo>
                    <a:pt x="72" y="77"/>
                  </a:lnTo>
                  <a:lnTo>
                    <a:pt x="68" y="87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5" y="98"/>
                  </a:lnTo>
                  <a:lnTo>
                    <a:pt x="61" y="106"/>
                  </a:lnTo>
                  <a:lnTo>
                    <a:pt x="57" y="114"/>
                  </a:lnTo>
                  <a:lnTo>
                    <a:pt x="51" y="122"/>
                  </a:lnTo>
                  <a:lnTo>
                    <a:pt x="43" y="128"/>
                  </a:lnTo>
                  <a:lnTo>
                    <a:pt x="35" y="131"/>
                  </a:lnTo>
                  <a:lnTo>
                    <a:pt x="24" y="126"/>
                  </a:lnTo>
                  <a:lnTo>
                    <a:pt x="10" y="117"/>
                  </a:lnTo>
                  <a:lnTo>
                    <a:pt x="2" y="105"/>
                  </a:lnTo>
                  <a:lnTo>
                    <a:pt x="0" y="88"/>
                  </a:lnTo>
                  <a:lnTo>
                    <a:pt x="2" y="72"/>
                  </a:lnTo>
                  <a:lnTo>
                    <a:pt x="9" y="55"/>
                  </a:lnTo>
                  <a:lnTo>
                    <a:pt x="20" y="39"/>
                  </a:lnTo>
                  <a:lnTo>
                    <a:pt x="32" y="24"/>
                  </a:lnTo>
                  <a:lnTo>
                    <a:pt x="45" y="13"/>
                  </a:lnTo>
                  <a:lnTo>
                    <a:pt x="57" y="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1" name="Freeform 2770"/>
            <p:cNvSpPr>
              <a:spLocks/>
            </p:cNvSpPr>
            <p:nvPr/>
          </p:nvSpPr>
          <p:spPr bwMode="auto">
            <a:xfrm rot="1114411" flipH="1">
              <a:off x="2326495" y="4461577"/>
              <a:ext cx="79562" cy="59532"/>
            </a:xfrm>
            <a:custGeom>
              <a:avLst/>
              <a:gdLst>
                <a:gd name="T0" fmla="*/ 2147483647 w 143"/>
                <a:gd name="T1" fmla="*/ 0 h 107"/>
                <a:gd name="T2" fmla="*/ 2147483647 w 143"/>
                <a:gd name="T3" fmla="*/ 2147483647 h 107"/>
                <a:gd name="T4" fmla="*/ 2147483647 w 143"/>
                <a:gd name="T5" fmla="*/ 2147483647 h 107"/>
                <a:gd name="T6" fmla="*/ 2147483647 w 143"/>
                <a:gd name="T7" fmla="*/ 2147483647 h 107"/>
                <a:gd name="T8" fmla="*/ 2147483647 w 143"/>
                <a:gd name="T9" fmla="*/ 2147483647 h 107"/>
                <a:gd name="T10" fmla="*/ 2147483647 w 143"/>
                <a:gd name="T11" fmla="*/ 2147483647 h 107"/>
                <a:gd name="T12" fmla="*/ 2147483647 w 143"/>
                <a:gd name="T13" fmla="*/ 2147483647 h 107"/>
                <a:gd name="T14" fmla="*/ 2147483647 w 143"/>
                <a:gd name="T15" fmla="*/ 2147483647 h 107"/>
                <a:gd name="T16" fmla="*/ 2147483647 w 143"/>
                <a:gd name="T17" fmla="*/ 2147483647 h 107"/>
                <a:gd name="T18" fmla="*/ 2147483647 w 143"/>
                <a:gd name="T19" fmla="*/ 2147483647 h 107"/>
                <a:gd name="T20" fmla="*/ 2147483647 w 143"/>
                <a:gd name="T21" fmla="*/ 2147483647 h 107"/>
                <a:gd name="T22" fmla="*/ 2147483647 w 143"/>
                <a:gd name="T23" fmla="*/ 2147483647 h 107"/>
                <a:gd name="T24" fmla="*/ 2147483647 w 143"/>
                <a:gd name="T25" fmla="*/ 2147483647 h 107"/>
                <a:gd name="T26" fmla="*/ 2147483647 w 143"/>
                <a:gd name="T27" fmla="*/ 2147483647 h 107"/>
                <a:gd name="T28" fmla="*/ 2147483647 w 143"/>
                <a:gd name="T29" fmla="*/ 2147483647 h 107"/>
                <a:gd name="T30" fmla="*/ 2147483647 w 143"/>
                <a:gd name="T31" fmla="*/ 2147483647 h 107"/>
                <a:gd name="T32" fmla="*/ 2147483647 w 143"/>
                <a:gd name="T33" fmla="*/ 2147483647 h 107"/>
                <a:gd name="T34" fmla="*/ 2147483647 w 143"/>
                <a:gd name="T35" fmla="*/ 2147483647 h 107"/>
                <a:gd name="T36" fmla="*/ 2147483647 w 143"/>
                <a:gd name="T37" fmla="*/ 2147483647 h 107"/>
                <a:gd name="T38" fmla="*/ 2147483647 w 143"/>
                <a:gd name="T39" fmla="*/ 2147483647 h 107"/>
                <a:gd name="T40" fmla="*/ 2147483647 w 143"/>
                <a:gd name="T41" fmla="*/ 2147483647 h 107"/>
                <a:gd name="T42" fmla="*/ 2147483647 w 143"/>
                <a:gd name="T43" fmla="*/ 2147483647 h 107"/>
                <a:gd name="T44" fmla="*/ 2147483647 w 143"/>
                <a:gd name="T45" fmla="*/ 2147483647 h 107"/>
                <a:gd name="T46" fmla="*/ 2147483647 w 143"/>
                <a:gd name="T47" fmla="*/ 2147483647 h 107"/>
                <a:gd name="T48" fmla="*/ 2147483647 w 143"/>
                <a:gd name="T49" fmla="*/ 2147483647 h 107"/>
                <a:gd name="T50" fmla="*/ 0 w 143"/>
                <a:gd name="T51" fmla="*/ 2147483647 h 107"/>
                <a:gd name="T52" fmla="*/ 0 w 143"/>
                <a:gd name="T53" fmla="*/ 2147483647 h 107"/>
                <a:gd name="T54" fmla="*/ 2147483647 w 143"/>
                <a:gd name="T55" fmla="*/ 2147483647 h 107"/>
                <a:gd name="T56" fmla="*/ 2147483647 w 143"/>
                <a:gd name="T57" fmla="*/ 2147483647 h 107"/>
                <a:gd name="T58" fmla="*/ 2147483647 w 143"/>
                <a:gd name="T59" fmla="*/ 2147483647 h 107"/>
                <a:gd name="T60" fmla="*/ 2147483647 w 143"/>
                <a:gd name="T61" fmla="*/ 2147483647 h 107"/>
                <a:gd name="T62" fmla="*/ 2147483647 w 143"/>
                <a:gd name="T63" fmla="*/ 2147483647 h 107"/>
                <a:gd name="T64" fmla="*/ 2147483647 w 143"/>
                <a:gd name="T65" fmla="*/ 2147483647 h 107"/>
                <a:gd name="T66" fmla="*/ 2147483647 w 143"/>
                <a:gd name="T67" fmla="*/ 2147483647 h 107"/>
                <a:gd name="T68" fmla="*/ 2147483647 w 143"/>
                <a:gd name="T69" fmla="*/ 2147483647 h 107"/>
                <a:gd name="T70" fmla="*/ 2147483647 w 143"/>
                <a:gd name="T71" fmla="*/ 0 h 10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3"/>
                <a:gd name="T109" fmla="*/ 0 h 107"/>
                <a:gd name="T110" fmla="*/ 143 w 143"/>
                <a:gd name="T111" fmla="*/ 107 h 10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3" h="107">
                  <a:moveTo>
                    <a:pt x="106" y="0"/>
                  </a:moveTo>
                  <a:lnTo>
                    <a:pt x="120" y="2"/>
                  </a:lnTo>
                  <a:lnTo>
                    <a:pt x="130" y="7"/>
                  </a:lnTo>
                  <a:lnTo>
                    <a:pt x="138" y="15"/>
                  </a:lnTo>
                  <a:lnTo>
                    <a:pt x="142" y="25"/>
                  </a:lnTo>
                  <a:lnTo>
                    <a:pt x="143" y="35"/>
                  </a:lnTo>
                  <a:lnTo>
                    <a:pt x="140" y="43"/>
                  </a:lnTo>
                  <a:lnTo>
                    <a:pt x="135" y="48"/>
                  </a:lnTo>
                  <a:lnTo>
                    <a:pt x="124" y="51"/>
                  </a:lnTo>
                  <a:lnTo>
                    <a:pt x="113" y="51"/>
                  </a:lnTo>
                  <a:lnTo>
                    <a:pt x="105" y="55"/>
                  </a:lnTo>
                  <a:lnTo>
                    <a:pt x="101" y="59"/>
                  </a:lnTo>
                  <a:lnTo>
                    <a:pt x="98" y="65"/>
                  </a:lnTo>
                  <a:lnTo>
                    <a:pt x="98" y="70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7" y="77"/>
                  </a:lnTo>
                  <a:lnTo>
                    <a:pt x="90" y="84"/>
                  </a:lnTo>
                  <a:lnTo>
                    <a:pt x="80" y="92"/>
                  </a:lnTo>
                  <a:lnTo>
                    <a:pt x="68" y="99"/>
                  </a:lnTo>
                  <a:lnTo>
                    <a:pt x="56" y="106"/>
                  </a:lnTo>
                  <a:lnTo>
                    <a:pt x="44" y="107"/>
                  </a:lnTo>
                  <a:lnTo>
                    <a:pt x="33" y="103"/>
                  </a:lnTo>
                  <a:lnTo>
                    <a:pt x="15" y="88"/>
                  </a:lnTo>
                  <a:lnTo>
                    <a:pt x="4" y="73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5" y="30"/>
                  </a:lnTo>
                  <a:lnTo>
                    <a:pt x="26" y="22"/>
                  </a:lnTo>
                  <a:lnTo>
                    <a:pt x="40" y="15"/>
                  </a:lnTo>
                  <a:lnTo>
                    <a:pt x="55" y="10"/>
                  </a:lnTo>
                  <a:lnTo>
                    <a:pt x="70" y="6"/>
                  </a:lnTo>
                  <a:lnTo>
                    <a:pt x="83" y="3"/>
                  </a:lnTo>
                  <a:lnTo>
                    <a:pt x="97" y="2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2" name="Freeform 2771"/>
            <p:cNvSpPr>
              <a:spLocks/>
            </p:cNvSpPr>
            <p:nvPr/>
          </p:nvSpPr>
          <p:spPr bwMode="auto">
            <a:xfrm rot="1114411" flipH="1">
              <a:off x="2130955" y="4526745"/>
              <a:ext cx="79562" cy="58976"/>
            </a:xfrm>
            <a:custGeom>
              <a:avLst/>
              <a:gdLst>
                <a:gd name="T0" fmla="*/ 2147483647 w 143"/>
                <a:gd name="T1" fmla="*/ 0 h 106"/>
                <a:gd name="T2" fmla="*/ 2147483647 w 143"/>
                <a:gd name="T3" fmla="*/ 2147483647 h 106"/>
                <a:gd name="T4" fmla="*/ 2147483647 w 143"/>
                <a:gd name="T5" fmla="*/ 2147483647 h 106"/>
                <a:gd name="T6" fmla="*/ 2147483647 w 143"/>
                <a:gd name="T7" fmla="*/ 2147483647 h 106"/>
                <a:gd name="T8" fmla="*/ 2147483647 w 143"/>
                <a:gd name="T9" fmla="*/ 2147483647 h 106"/>
                <a:gd name="T10" fmla="*/ 2147483647 w 143"/>
                <a:gd name="T11" fmla="*/ 2147483647 h 106"/>
                <a:gd name="T12" fmla="*/ 2147483647 w 143"/>
                <a:gd name="T13" fmla="*/ 2147483647 h 106"/>
                <a:gd name="T14" fmla="*/ 2147483647 w 143"/>
                <a:gd name="T15" fmla="*/ 2147483647 h 106"/>
                <a:gd name="T16" fmla="*/ 2147483647 w 143"/>
                <a:gd name="T17" fmla="*/ 2147483647 h 106"/>
                <a:gd name="T18" fmla="*/ 2147483647 w 143"/>
                <a:gd name="T19" fmla="*/ 2147483647 h 106"/>
                <a:gd name="T20" fmla="*/ 2147483647 w 143"/>
                <a:gd name="T21" fmla="*/ 2147483647 h 106"/>
                <a:gd name="T22" fmla="*/ 2147483647 w 143"/>
                <a:gd name="T23" fmla="*/ 2147483647 h 106"/>
                <a:gd name="T24" fmla="*/ 2147483647 w 143"/>
                <a:gd name="T25" fmla="*/ 2147483647 h 106"/>
                <a:gd name="T26" fmla="*/ 2147483647 w 143"/>
                <a:gd name="T27" fmla="*/ 2147483647 h 106"/>
                <a:gd name="T28" fmla="*/ 2147483647 w 143"/>
                <a:gd name="T29" fmla="*/ 2147483647 h 106"/>
                <a:gd name="T30" fmla="*/ 2147483647 w 143"/>
                <a:gd name="T31" fmla="*/ 2147483647 h 106"/>
                <a:gd name="T32" fmla="*/ 2147483647 w 143"/>
                <a:gd name="T33" fmla="*/ 2147483647 h 106"/>
                <a:gd name="T34" fmla="*/ 2147483647 w 143"/>
                <a:gd name="T35" fmla="*/ 2147483647 h 106"/>
                <a:gd name="T36" fmla="*/ 2147483647 w 143"/>
                <a:gd name="T37" fmla="*/ 2147483647 h 106"/>
                <a:gd name="T38" fmla="*/ 2147483647 w 143"/>
                <a:gd name="T39" fmla="*/ 2147483647 h 106"/>
                <a:gd name="T40" fmla="*/ 2147483647 w 143"/>
                <a:gd name="T41" fmla="*/ 2147483647 h 106"/>
                <a:gd name="T42" fmla="*/ 2147483647 w 143"/>
                <a:gd name="T43" fmla="*/ 2147483647 h 106"/>
                <a:gd name="T44" fmla="*/ 2147483647 w 143"/>
                <a:gd name="T45" fmla="*/ 2147483647 h 106"/>
                <a:gd name="T46" fmla="*/ 2147483647 w 143"/>
                <a:gd name="T47" fmla="*/ 2147483647 h 106"/>
                <a:gd name="T48" fmla="*/ 2147483647 w 143"/>
                <a:gd name="T49" fmla="*/ 2147483647 h 106"/>
                <a:gd name="T50" fmla="*/ 0 w 143"/>
                <a:gd name="T51" fmla="*/ 2147483647 h 106"/>
                <a:gd name="T52" fmla="*/ 0 w 143"/>
                <a:gd name="T53" fmla="*/ 2147483647 h 106"/>
                <a:gd name="T54" fmla="*/ 2147483647 w 143"/>
                <a:gd name="T55" fmla="*/ 2147483647 h 106"/>
                <a:gd name="T56" fmla="*/ 2147483647 w 143"/>
                <a:gd name="T57" fmla="*/ 2147483647 h 106"/>
                <a:gd name="T58" fmla="*/ 2147483647 w 143"/>
                <a:gd name="T59" fmla="*/ 2147483647 h 106"/>
                <a:gd name="T60" fmla="*/ 2147483647 w 143"/>
                <a:gd name="T61" fmla="*/ 2147483647 h 106"/>
                <a:gd name="T62" fmla="*/ 2147483647 w 143"/>
                <a:gd name="T63" fmla="*/ 2147483647 h 106"/>
                <a:gd name="T64" fmla="*/ 2147483647 w 143"/>
                <a:gd name="T65" fmla="*/ 2147483647 h 106"/>
                <a:gd name="T66" fmla="*/ 2147483647 w 143"/>
                <a:gd name="T67" fmla="*/ 2147483647 h 106"/>
                <a:gd name="T68" fmla="*/ 2147483647 w 143"/>
                <a:gd name="T69" fmla="*/ 2147483647 h 106"/>
                <a:gd name="T70" fmla="*/ 2147483647 w 143"/>
                <a:gd name="T71" fmla="*/ 0 h 10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3"/>
                <a:gd name="T109" fmla="*/ 0 h 106"/>
                <a:gd name="T110" fmla="*/ 143 w 143"/>
                <a:gd name="T111" fmla="*/ 106 h 10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3" h="106">
                  <a:moveTo>
                    <a:pt x="106" y="0"/>
                  </a:moveTo>
                  <a:lnTo>
                    <a:pt x="120" y="1"/>
                  </a:lnTo>
                  <a:lnTo>
                    <a:pt x="129" y="7"/>
                  </a:lnTo>
                  <a:lnTo>
                    <a:pt x="138" y="15"/>
                  </a:lnTo>
                  <a:lnTo>
                    <a:pt x="142" y="24"/>
                  </a:lnTo>
                  <a:lnTo>
                    <a:pt x="143" y="34"/>
                  </a:lnTo>
                  <a:lnTo>
                    <a:pt x="140" y="42"/>
                  </a:lnTo>
                  <a:lnTo>
                    <a:pt x="135" y="48"/>
                  </a:lnTo>
                  <a:lnTo>
                    <a:pt x="124" y="50"/>
                  </a:lnTo>
                  <a:lnTo>
                    <a:pt x="113" y="50"/>
                  </a:lnTo>
                  <a:lnTo>
                    <a:pt x="105" y="53"/>
                  </a:lnTo>
                  <a:lnTo>
                    <a:pt x="101" y="59"/>
                  </a:lnTo>
                  <a:lnTo>
                    <a:pt x="98" y="64"/>
                  </a:lnTo>
                  <a:lnTo>
                    <a:pt x="98" y="68"/>
                  </a:lnTo>
                  <a:lnTo>
                    <a:pt x="98" y="72"/>
                  </a:lnTo>
                  <a:lnTo>
                    <a:pt x="98" y="74"/>
                  </a:lnTo>
                  <a:lnTo>
                    <a:pt x="97" y="76"/>
                  </a:lnTo>
                  <a:lnTo>
                    <a:pt x="90" y="82"/>
                  </a:lnTo>
                  <a:lnTo>
                    <a:pt x="80" y="90"/>
                  </a:lnTo>
                  <a:lnTo>
                    <a:pt x="68" y="98"/>
                  </a:lnTo>
                  <a:lnTo>
                    <a:pt x="56" y="104"/>
                  </a:lnTo>
                  <a:lnTo>
                    <a:pt x="44" y="106"/>
                  </a:lnTo>
                  <a:lnTo>
                    <a:pt x="33" y="102"/>
                  </a:lnTo>
                  <a:lnTo>
                    <a:pt x="15" y="86"/>
                  </a:lnTo>
                  <a:lnTo>
                    <a:pt x="4" y="72"/>
                  </a:lnTo>
                  <a:lnTo>
                    <a:pt x="0" y="60"/>
                  </a:lnTo>
                  <a:lnTo>
                    <a:pt x="0" y="48"/>
                  </a:lnTo>
                  <a:lnTo>
                    <a:pt x="5" y="38"/>
                  </a:lnTo>
                  <a:lnTo>
                    <a:pt x="15" y="28"/>
                  </a:lnTo>
                  <a:lnTo>
                    <a:pt x="26" y="22"/>
                  </a:lnTo>
                  <a:lnTo>
                    <a:pt x="39" y="15"/>
                  </a:lnTo>
                  <a:lnTo>
                    <a:pt x="54" y="9"/>
                  </a:lnTo>
                  <a:lnTo>
                    <a:pt x="69" y="5"/>
                  </a:lnTo>
                  <a:lnTo>
                    <a:pt x="83" y="3"/>
                  </a:lnTo>
                  <a:lnTo>
                    <a:pt x="97" y="1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3" name="Freeform 2772"/>
            <p:cNvSpPr>
              <a:spLocks/>
            </p:cNvSpPr>
            <p:nvPr/>
          </p:nvSpPr>
          <p:spPr bwMode="auto">
            <a:xfrm rot="1114411" flipH="1">
              <a:off x="1858800" y="4646692"/>
              <a:ext cx="81231" cy="52299"/>
            </a:xfrm>
            <a:custGeom>
              <a:avLst/>
              <a:gdLst>
                <a:gd name="T0" fmla="*/ 2147483647 w 146"/>
                <a:gd name="T1" fmla="*/ 0 h 94"/>
                <a:gd name="T2" fmla="*/ 2147483647 w 146"/>
                <a:gd name="T3" fmla="*/ 0 h 94"/>
                <a:gd name="T4" fmla="*/ 2147483647 w 146"/>
                <a:gd name="T5" fmla="*/ 2147483647 h 94"/>
                <a:gd name="T6" fmla="*/ 2147483647 w 146"/>
                <a:gd name="T7" fmla="*/ 2147483647 h 94"/>
                <a:gd name="T8" fmla="*/ 2147483647 w 146"/>
                <a:gd name="T9" fmla="*/ 2147483647 h 94"/>
                <a:gd name="T10" fmla="*/ 2147483647 w 146"/>
                <a:gd name="T11" fmla="*/ 2147483647 h 94"/>
                <a:gd name="T12" fmla="*/ 2147483647 w 146"/>
                <a:gd name="T13" fmla="*/ 2147483647 h 94"/>
                <a:gd name="T14" fmla="*/ 2147483647 w 146"/>
                <a:gd name="T15" fmla="*/ 2147483647 h 94"/>
                <a:gd name="T16" fmla="*/ 2147483647 w 146"/>
                <a:gd name="T17" fmla="*/ 2147483647 h 94"/>
                <a:gd name="T18" fmla="*/ 2147483647 w 146"/>
                <a:gd name="T19" fmla="*/ 2147483647 h 94"/>
                <a:gd name="T20" fmla="*/ 2147483647 w 146"/>
                <a:gd name="T21" fmla="*/ 2147483647 h 94"/>
                <a:gd name="T22" fmla="*/ 2147483647 w 146"/>
                <a:gd name="T23" fmla="*/ 2147483647 h 94"/>
                <a:gd name="T24" fmla="*/ 2147483647 w 146"/>
                <a:gd name="T25" fmla="*/ 2147483647 h 94"/>
                <a:gd name="T26" fmla="*/ 2147483647 w 146"/>
                <a:gd name="T27" fmla="*/ 2147483647 h 94"/>
                <a:gd name="T28" fmla="*/ 2147483647 w 146"/>
                <a:gd name="T29" fmla="*/ 2147483647 h 94"/>
                <a:gd name="T30" fmla="*/ 2147483647 w 146"/>
                <a:gd name="T31" fmla="*/ 2147483647 h 94"/>
                <a:gd name="T32" fmla="*/ 2147483647 w 146"/>
                <a:gd name="T33" fmla="*/ 2147483647 h 94"/>
                <a:gd name="T34" fmla="*/ 2147483647 w 146"/>
                <a:gd name="T35" fmla="*/ 2147483647 h 94"/>
                <a:gd name="T36" fmla="*/ 2147483647 w 146"/>
                <a:gd name="T37" fmla="*/ 2147483647 h 94"/>
                <a:gd name="T38" fmla="*/ 2147483647 w 146"/>
                <a:gd name="T39" fmla="*/ 2147483647 h 94"/>
                <a:gd name="T40" fmla="*/ 2147483647 w 146"/>
                <a:gd name="T41" fmla="*/ 2147483647 h 94"/>
                <a:gd name="T42" fmla="*/ 2147483647 w 146"/>
                <a:gd name="T43" fmla="*/ 2147483647 h 94"/>
                <a:gd name="T44" fmla="*/ 2147483647 w 146"/>
                <a:gd name="T45" fmla="*/ 2147483647 h 94"/>
                <a:gd name="T46" fmla="*/ 2147483647 w 146"/>
                <a:gd name="T47" fmla="*/ 2147483647 h 94"/>
                <a:gd name="T48" fmla="*/ 2147483647 w 146"/>
                <a:gd name="T49" fmla="*/ 2147483647 h 94"/>
                <a:gd name="T50" fmla="*/ 2147483647 w 146"/>
                <a:gd name="T51" fmla="*/ 2147483647 h 94"/>
                <a:gd name="T52" fmla="*/ 2147483647 w 146"/>
                <a:gd name="T53" fmla="*/ 2147483647 h 94"/>
                <a:gd name="T54" fmla="*/ 2147483647 w 146"/>
                <a:gd name="T55" fmla="*/ 2147483647 h 94"/>
                <a:gd name="T56" fmla="*/ 2147483647 w 146"/>
                <a:gd name="T57" fmla="*/ 2147483647 h 94"/>
                <a:gd name="T58" fmla="*/ 0 w 146"/>
                <a:gd name="T59" fmla="*/ 2147483647 h 94"/>
                <a:gd name="T60" fmla="*/ 2147483647 w 146"/>
                <a:gd name="T61" fmla="*/ 2147483647 h 94"/>
                <a:gd name="T62" fmla="*/ 2147483647 w 146"/>
                <a:gd name="T63" fmla="*/ 2147483647 h 94"/>
                <a:gd name="T64" fmla="*/ 2147483647 w 146"/>
                <a:gd name="T65" fmla="*/ 2147483647 h 94"/>
                <a:gd name="T66" fmla="*/ 2147483647 w 146"/>
                <a:gd name="T67" fmla="*/ 2147483647 h 94"/>
                <a:gd name="T68" fmla="*/ 2147483647 w 146"/>
                <a:gd name="T69" fmla="*/ 2147483647 h 94"/>
                <a:gd name="T70" fmla="*/ 2147483647 w 146"/>
                <a:gd name="T71" fmla="*/ 2147483647 h 94"/>
                <a:gd name="T72" fmla="*/ 2147483647 w 146"/>
                <a:gd name="T73" fmla="*/ 0 h 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6"/>
                <a:gd name="T112" fmla="*/ 0 h 94"/>
                <a:gd name="T113" fmla="*/ 146 w 146"/>
                <a:gd name="T114" fmla="*/ 94 h 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6" h="94">
                  <a:moveTo>
                    <a:pt x="80" y="0"/>
                  </a:moveTo>
                  <a:lnTo>
                    <a:pt x="94" y="0"/>
                  </a:lnTo>
                  <a:lnTo>
                    <a:pt x="108" y="1"/>
                  </a:lnTo>
                  <a:lnTo>
                    <a:pt x="117" y="3"/>
                  </a:lnTo>
                  <a:lnTo>
                    <a:pt x="130" y="7"/>
                  </a:lnTo>
                  <a:lnTo>
                    <a:pt x="139" y="15"/>
                  </a:lnTo>
                  <a:lnTo>
                    <a:pt x="145" y="25"/>
                  </a:lnTo>
                  <a:lnTo>
                    <a:pt x="146" y="35"/>
                  </a:lnTo>
                  <a:lnTo>
                    <a:pt x="146" y="45"/>
                  </a:lnTo>
                  <a:lnTo>
                    <a:pt x="142" y="52"/>
                  </a:lnTo>
                  <a:lnTo>
                    <a:pt x="134" y="56"/>
                  </a:lnTo>
                  <a:lnTo>
                    <a:pt x="124" y="56"/>
                  </a:lnTo>
                  <a:lnTo>
                    <a:pt x="113" y="53"/>
                  </a:lnTo>
                  <a:lnTo>
                    <a:pt x="105" y="55"/>
                  </a:lnTo>
                  <a:lnTo>
                    <a:pt x="100" y="59"/>
                  </a:lnTo>
                  <a:lnTo>
                    <a:pt x="95" y="64"/>
                  </a:lnTo>
                  <a:lnTo>
                    <a:pt x="94" y="68"/>
                  </a:lnTo>
                  <a:lnTo>
                    <a:pt x="94" y="72"/>
                  </a:lnTo>
                  <a:lnTo>
                    <a:pt x="93" y="74"/>
                  </a:lnTo>
                  <a:lnTo>
                    <a:pt x="91" y="75"/>
                  </a:lnTo>
                  <a:lnTo>
                    <a:pt x="85" y="79"/>
                  </a:lnTo>
                  <a:lnTo>
                    <a:pt x="76" y="83"/>
                  </a:lnTo>
                  <a:lnTo>
                    <a:pt x="65" y="89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3"/>
                  </a:lnTo>
                  <a:lnTo>
                    <a:pt x="23" y="86"/>
                  </a:lnTo>
                  <a:lnTo>
                    <a:pt x="10" y="67"/>
                  </a:lnTo>
                  <a:lnTo>
                    <a:pt x="1" y="52"/>
                  </a:lnTo>
                  <a:lnTo>
                    <a:pt x="0" y="38"/>
                  </a:lnTo>
                  <a:lnTo>
                    <a:pt x="3" y="27"/>
                  </a:lnTo>
                  <a:lnTo>
                    <a:pt x="11" y="18"/>
                  </a:lnTo>
                  <a:lnTo>
                    <a:pt x="22" y="11"/>
                  </a:lnTo>
                  <a:lnTo>
                    <a:pt x="34" y="7"/>
                  </a:lnTo>
                  <a:lnTo>
                    <a:pt x="49" y="3"/>
                  </a:lnTo>
                  <a:lnTo>
                    <a:pt x="64" y="1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4" name="Freeform 2773"/>
            <p:cNvSpPr>
              <a:spLocks/>
            </p:cNvSpPr>
            <p:nvPr/>
          </p:nvSpPr>
          <p:spPr bwMode="auto">
            <a:xfrm rot="1114411" flipH="1">
              <a:off x="1287930" y="4670521"/>
              <a:ext cx="66765" cy="42841"/>
            </a:xfrm>
            <a:custGeom>
              <a:avLst/>
              <a:gdLst>
                <a:gd name="T0" fmla="*/ 2147483647 w 120"/>
                <a:gd name="T1" fmla="*/ 0 h 77"/>
                <a:gd name="T2" fmla="*/ 2147483647 w 120"/>
                <a:gd name="T3" fmla="*/ 2147483647 h 77"/>
                <a:gd name="T4" fmla="*/ 2147483647 w 120"/>
                <a:gd name="T5" fmla="*/ 2147483647 h 77"/>
                <a:gd name="T6" fmla="*/ 2147483647 w 120"/>
                <a:gd name="T7" fmla="*/ 2147483647 h 77"/>
                <a:gd name="T8" fmla="*/ 2147483647 w 120"/>
                <a:gd name="T9" fmla="*/ 2147483647 h 77"/>
                <a:gd name="T10" fmla="*/ 2147483647 w 120"/>
                <a:gd name="T11" fmla="*/ 2147483647 h 77"/>
                <a:gd name="T12" fmla="*/ 2147483647 w 120"/>
                <a:gd name="T13" fmla="*/ 2147483647 h 77"/>
                <a:gd name="T14" fmla="*/ 2147483647 w 120"/>
                <a:gd name="T15" fmla="*/ 2147483647 h 77"/>
                <a:gd name="T16" fmla="*/ 2147483647 w 120"/>
                <a:gd name="T17" fmla="*/ 2147483647 h 77"/>
                <a:gd name="T18" fmla="*/ 2147483647 w 120"/>
                <a:gd name="T19" fmla="*/ 2147483647 h 77"/>
                <a:gd name="T20" fmla="*/ 2147483647 w 120"/>
                <a:gd name="T21" fmla="*/ 2147483647 h 77"/>
                <a:gd name="T22" fmla="*/ 2147483647 w 120"/>
                <a:gd name="T23" fmla="*/ 2147483647 h 77"/>
                <a:gd name="T24" fmla="*/ 2147483647 w 120"/>
                <a:gd name="T25" fmla="*/ 2147483647 h 77"/>
                <a:gd name="T26" fmla="*/ 2147483647 w 120"/>
                <a:gd name="T27" fmla="*/ 2147483647 h 77"/>
                <a:gd name="T28" fmla="*/ 2147483647 w 120"/>
                <a:gd name="T29" fmla="*/ 2147483647 h 77"/>
                <a:gd name="T30" fmla="*/ 2147483647 w 120"/>
                <a:gd name="T31" fmla="*/ 2147483647 h 77"/>
                <a:gd name="T32" fmla="*/ 2147483647 w 120"/>
                <a:gd name="T33" fmla="*/ 2147483647 h 77"/>
                <a:gd name="T34" fmla="*/ 2147483647 w 120"/>
                <a:gd name="T35" fmla="*/ 2147483647 h 77"/>
                <a:gd name="T36" fmla="*/ 2147483647 w 120"/>
                <a:gd name="T37" fmla="*/ 2147483647 h 77"/>
                <a:gd name="T38" fmla="*/ 2147483647 w 120"/>
                <a:gd name="T39" fmla="*/ 2147483647 h 77"/>
                <a:gd name="T40" fmla="*/ 2147483647 w 120"/>
                <a:gd name="T41" fmla="*/ 2147483647 h 77"/>
                <a:gd name="T42" fmla="*/ 2147483647 w 120"/>
                <a:gd name="T43" fmla="*/ 2147483647 h 77"/>
                <a:gd name="T44" fmla="*/ 2147483647 w 120"/>
                <a:gd name="T45" fmla="*/ 2147483647 h 77"/>
                <a:gd name="T46" fmla="*/ 2147483647 w 120"/>
                <a:gd name="T47" fmla="*/ 2147483647 h 77"/>
                <a:gd name="T48" fmla="*/ 0 w 120"/>
                <a:gd name="T49" fmla="*/ 2147483647 h 77"/>
                <a:gd name="T50" fmla="*/ 0 w 120"/>
                <a:gd name="T51" fmla="*/ 2147483647 h 77"/>
                <a:gd name="T52" fmla="*/ 2147483647 w 120"/>
                <a:gd name="T53" fmla="*/ 2147483647 h 77"/>
                <a:gd name="T54" fmla="*/ 2147483647 w 120"/>
                <a:gd name="T55" fmla="*/ 2147483647 h 77"/>
                <a:gd name="T56" fmla="*/ 2147483647 w 120"/>
                <a:gd name="T57" fmla="*/ 2147483647 h 77"/>
                <a:gd name="T58" fmla="*/ 2147483647 w 120"/>
                <a:gd name="T59" fmla="*/ 2147483647 h 77"/>
                <a:gd name="T60" fmla="*/ 2147483647 w 120"/>
                <a:gd name="T61" fmla="*/ 2147483647 h 77"/>
                <a:gd name="T62" fmla="*/ 2147483647 w 120"/>
                <a:gd name="T63" fmla="*/ 0 h 77"/>
                <a:gd name="T64" fmla="*/ 2147483647 w 120"/>
                <a:gd name="T65" fmla="*/ 0 h 7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77"/>
                <a:gd name="T101" fmla="*/ 120 w 120"/>
                <a:gd name="T102" fmla="*/ 77 h 7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77">
                  <a:moveTo>
                    <a:pt x="75" y="0"/>
                  </a:moveTo>
                  <a:lnTo>
                    <a:pt x="86" y="2"/>
                  </a:lnTo>
                  <a:lnTo>
                    <a:pt x="96" y="3"/>
                  </a:lnTo>
                  <a:lnTo>
                    <a:pt x="108" y="7"/>
                  </a:lnTo>
                  <a:lnTo>
                    <a:pt x="115" y="15"/>
                  </a:lnTo>
                  <a:lnTo>
                    <a:pt x="119" y="25"/>
                  </a:lnTo>
                  <a:lnTo>
                    <a:pt x="120" y="33"/>
                  </a:lnTo>
                  <a:lnTo>
                    <a:pt x="118" y="41"/>
                  </a:lnTo>
                  <a:lnTo>
                    <a:pt x="111" y="47"/>
                  </a:lnTo>
                  <a:lnTo>
                    <a:pt x="101" y="45"/>
                  </a:lnTo>
                  <a:lnTo>
                    <a:pt x="90" y="44"/>
                  </a:lnTo>
                  <a:lnTo>
                    <a:pt x="83" y="47"/>
                  </a:lnTo>
                  <a:lnTo>
                    <a:pt x="79" y="51"/>
                  </a:lnTo>
                  <a:lnTo>
                    <a:pt x="78" y="55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4" y="62"/>
                  </a:lnTo>
                  <a:lnTo>
                    <a:pt x="67" y="66"/>
                  </a:lnTo>
                  <a:lnTo>
                    <a:pt x="59" y="71"/>
                  </a:lnTo>
                  <a:lnTo>
                    <a:pt x="48" y="75"/>
                  </a:lnTo>
                  <a:lnTo>
                    <a:pt x="37" y="77"/>
                  </a:lnTo>
                  <a:lnTo>
                    <a:pt x="26" y="77"/>
                  </a:lnTo>
                  <a:lnTo>
                    <a:pt x="18" y="71"/>
                  </a:lnTo>
                  <a:lnTo>
                    <a:pt x="6" y="55"/>
                  </a:lnTo>
                  <a:lnTo>
                    <a:pt x="0" y="40"/>
                  </a:lnTo>
                  <a:lnTo>
                    <a:pt x="0" y="29"/>
                  </a:lnTo>
                  <a:lnTo>
                    <a:pt x="4" y="20"/>
                  </a:lnTo>
                  <a:lnTo>
                    <a:pt x="11" y="13"/>
                  </a:lnTo>
                  <a:lnTo>
                    <a:pt x="22" y="7"/>
                  </a:lnTo>
                  <a:lnTo>
                    <a:pt x="34" y="5"/>
                  </a:lnTo>
                  <a:lnTo>
                    <a:pt x="48" y="2"/>
                  </a:lnTo>
                  <a:lnTo>
                    <a:pt x="62" y="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5" name="Freeform 2774"/>
            <p:cNvSpPr>
              <a:spLocks/>
            </p:cNvSpPr>
            <p:nvPr/>
          </p:nvSpPr>
          <p:spPr bwMode="auto">
            <a:xfrm rot="1114411" flipH="1">
              <a:off x="2329177" y="4505784"/>
              <a:ext cx="90133" cy="75667"/>
            </a:xfrm>
            <a:custGeom>
              <a:avLst/>
              <a:gdLst>
                <a:gd name="T0" fmla="*/ 2147483647 w 162"/>
                <a:gd name="T1" fmla="*/ 0 h 136"/>
                <a:gd name="T2" fmla="*/ 2147483647 w 162"/>
                <a:gd name="T3" fmla="*/ 2147483647 h 136"/>
                <a:gd name="T4" fmla="*/ 2147483647 w 162"/>
                <a:gd name="T5" fmla="*/ 2147483647 h 136"/>
                <a:gd name="T6" fmla="*/ 2147483647 w 162"/>
                <a:gd name="T7" fmla="*/ 2147483647 h 136"/>
                <a:gd name="T8" fmla="*/ 2147483647 w 162"/>
                <a:gd name="T9" fmla="*/ 2147483647 h 136"/>
                <a:gd name="T10" fmla="*/ 2147483647 w 162"/>
                <a:gd name="T11" fmla="*/ 2147483647 h 136"/>
                <a:gd name="T12" fmla="*/ 2147483647 w 162"/>
                <a:gd name="T13" fmla="*/ 2147483647 h 136"/>
                <a:gd name="T14" fmla="*/ 2147483647 w 162"/>
                <a:gd name="T15" fmla="*/ 2147483647 h 136"/>
                <a:gd name="T16" fmla="*/ 2147483647 w 162"/>
                <a:gd name="T17" fmla="*/ 2147483647 h 136"/>
                <a:gd name="T18" fmla="*/ 2147483647 w 162"/>
                <a:gd name="T19" fmla="*/ 2147483647 h 136"/>
                <a:gd name="T20" fmla="*/ 2147483647 w 162"/>
                <a:gd name="T21" fmla="*/ 2147483647 h 136"/>
                <a:gd name="T22" fmla="*/ 2147483647 w 162"/>
                <a:gd name="T23" fmla="*/ 2147483647 h 136"/>
                <a:gd name="T24" fmla="*/ 2147483647 w 162"/>
                <a:gd name="T25" fmla="*/ 2147483647 h 136"/>
                <a:gd name="T26" fmla="*/ 2147483647 w 162"/>
                <a:gd name="T27" fmla="*/ 2147483647 h 136"/>
                <a:gd name="T28" fmla="*/ 2147483647 w 162"/>
                <a:gd name="T29" fmla="*/ 2147483647 h 136"/>
                <a:gd name="T30" fmla="*/ 2147483647 w 162"/>
                <a:gd name="T31" fmla="*/ 2147483647 h 136"/>
                <a:gd name="T32" fmla="*/ 2147483647 w 162"/>
                <a:gd name="T33" fmla="*/ 2147483647 h 136"/>
                <a:gd name="T34" fmla="*/ 2147483647 w 162"/>
                <a:gd name="T35" fmla="*/ 2147483647 h 136"/>
                <a:gd name="T36" fmla="*/ 2147483647 w 162"/>
                <a:gd name="T37" fmla="*/ 2147483647 h 136"/>
                <a:gd name="T38" fmla="*/ 2147483647 w 162"/>
                <a:gd name="T39" fmla="*/ 2147483647 h 136"/>
                <a:gd name="T40" fmla="*/ 2147483647 w 162"/>
                <a:gd name="T41" fmla="*/ 2147483647 h 136"/>
                <a:gd name="T42" fmla="*/ 2147483647 w 162"/>
                <a:gd name="T43" fmla="*/ 2147483647 h 136"/>
                <a:gd name="T44" fmla="*/ 2147483647 w 162"/>
                <a:gd name="T45" fmla="*/ 2147483647 h 136"/>
                <a:gd name="T46" fmla="*/ 2147483647 w 162"/>
                <a:gd name="T47" fmla="*/ 2147483647 h 136"/>
                <a:gd name="T48" fmla="*/ 2147483647 w 162"/>
                <a:gd name="T49" fmla="*/ 2147483647 h 136"/>
                <a:gd name="T50" fmla="*/ 2147483647 w 162"/>
                <a:gd name="T51" fmla="*/ 2147483647 h 136"/>
                <a:gd name="T52" fmla="*/ 2147483647 w 162"/>
                <a:gd name="T53" fmla="*/ 2147483647 h 136"/>
                <a:gd name="T54" fmla="*/ 2147483647 w 162"/>
                <a:gd name="T55" fmla="*/ 2147483647 h 136"/>
                <a:gd name="T56" fmla="*/ 2147483647 w 162"/>
                <a:gd name="T57" fmla="*/ 2147483647 h 136"/>
                <a:gd name="T58" fmla="*/ 2147483647 w 162"/>
                <a:gd name="T59" fmla="*/ 2147483647 h 136"/>
                <a:gd name="T60" fmla="*/ 0 w 162"/>
                <a:gd name="T61" fmla="*/ 2147483647 h 136"/>
                <a:gd name="T62" fmla="*/ 0 w 162"/>
                <a:gd name="T63" fmla="*/ 2147483647 h 136"/>
                <a:gd name="T64" fmla="*/ 2147483647 w 162"/>
                <a:gd name="T65" fmla="*/ 2147483647 h 136"/>
                <a:gd name="T66" fmla="*/ 2147483647 w 162"/>
                <a:gd name="T67" fmla="*/ 2147483647 h 136"/>
                <a:gd name="T68" fmla="*/ 2147483647 w 162"/>
                <a:gd name="T69" fmla="*/ 2147483647 h 136"/>
                <a:gd name="T70" fmla="*/ 2147483647 w 162"/>
                <a:gd name="T71" fmla="*/ 2147483647 h 136"/>
                <a:gd name="T72" fmla="*/ 2147483647 w 162"/>
                <a:gd name="T73" fmla="*/ 2147483647 h 136"/>
                <a:gd name="T74" fmla="*/ 2147483647 w 162"/>
                <a:gd name="T75" fmla="*/ 2147483647 h 136"/>
                <a:gd name="T76" fmla="*/ 2147483647 w 162"/>
                <a:gd name="T77" fmla="*/ 2147483647 h 136"/>
                <a:gd name="T78" fmla="*/ 0 w 162"/>
                <a:gd name="T79" fmla="*/ 2147483647 h 136"/>
                <a:gd name="T80" fmla="*/ 2147483647 w 162"/>
                <a:gd name="T81" fmla="*/ 2147483647 h 136"/>
                <a:gd name="T82" fmla="*/ 2147483647 w 162"/>
                <a:gd name="T83" fmla="*/ 2147483647 h 136"/>
                <a:gd name="T84" fmla="*/ 2147483647 w 162"/>
                <a:gd name="T85" fmla="*/ 2147483647 h 136"/>
                <a:gd name="T86" fmla="*/ 2147483647 w 162"/>
                <a:gd name="T87" fmla="*/ 2147483647 h 136"/>
                <a:gd name="T88" fmla="*/ 2147483647 w 162"/>
                <a:gd name="T89" fmla="*/ 2147483647 h 136"/>
                <a:gd name="T90" fmla="*/ 2147483647 w 162"/>
                <a:gd name="T91" fmla="*/ 2147483647 h 136"/>
                <a:gd name="T92" fmla="*/ 2147483647 w 162"/>
                <a:gd name="T93" fmla="*/ 2147483647 h 136"/>
                <a:gd name="T94" fmla="*/ 2147483647 w 162"/>
                <a:gd name="T95" fmla="*/ 2147483647 h 136"/>
                <a:gd name="T96" fmla="*/ 2147483647 w 162"/>
                <a:gd name="T97" fmla="*/ 2147483647 h 136"/>
                <a:gd name="T98" fmla="*/ 2147483647 w 162"/>
                <a:gd name="T99" fmla="*/ 2147483647 h 136"/>
                <a:gd name="T100" fmla="*/ 2147483647 w 162"/>
                <a:gd name="T101" fmla="*/ 2147483647 h 136"/>
                <a:gd name="T102" fmla="*/ 2147483647 w 162"/>
                <a:gd name="T103" fmla="*/ 2147483647 h 136"/>
                <a:gd name="T104" fmla="*/ 2147483647 w 162"/>
                <a:gd name="T105" fmla="*/ 2147483647 h 136"/>
                <a:gd name="T106" fmla="*/ 2147483647 w 162"/>
                <a:gd name="T107" fmla="*/ 2147483647 h 136"/>
                <a:gd name="T108" fmla="*/ 2147483647 w 162"/>
                <a:gd name="T109" fmla="*/ 2147483647 h 136"/>
                <a:gd name="T110" fmla="*/ 2147483647 w 162"/>
                <a:gd name="T111" fmla="*/ 0 h 1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2"/>
                <a:gd name="T169" fmla="*/ 0 h 136"/>
                <a:gd name="T170" fmla="*/ 162 w 162"/>
                <a:gd name="T171" fmla="*/ 136 h 1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2" h="136">
                  <a:moveTo>
                    <a:pt x="150" y="0"/>
                  </a:moveTo>
                  <a:lnTo>
                    <a:pt x="157" y="3"/>
                  </a:lnTo>
                  <a:lnTo>
                    <a:pt x="161" y="7"/>
                  </a:lnTo>
                  <a:lnTo>
                    <a:pt x="162" y="11"/>
                  </a:lnTo>
                  <a:lnTo>
                    <a:pt x="162" y="15"/>
                  </a:lnTo>
                  <a:lnTo>
                    <a:pt x="162" y="18"/>
                  </a:lnTo>
                  <a:lnTo>
                    <a:pt x="162" y="19"/>
                  </a:lnTo>
                  <a:lnTo>
                    <a:pt x="161" y="23"/>
                  </a:lnTo>
                  <a:lnTo>
                    <a:pt x="158" y="31"/>
                  </a:lnTo>
                  <a:lnTo>
                    <a:pt x="155" y="42"/>
                  </a:lnTo>
                  <a:lnTo>
                    <a:pt x="150" y="55"/>
                  </a:lnTo>
                  <a:lnTo>
                    <a:pt x="142" y="67"/>
                  </a:lnTo>
                  <a:lnTo>
                    <a:pt x="133" y="78"/>
                  </a:lnTo>
                  <a:lnTo>
                    <a:pt x="123" y="83"/>
                  </a:lnTo>
                  <a:lnTo>
                    <a:pt x="109" y="87"/>
                  </a:lnTo>
                  <a:lnTo>
                    <a:pt x="101" y="94"/>
                  </a:lnTo>
                  <a:lnTo>
                    <a:pt x="97" y="102"/>
                  </a:lnTo>
                  <a:lnTo>
                    <a:pt x="95" y="108"/>
                  </a:lnTo>
                  <a:lnTo>
                    <a:pt x="95" y="109"/>
                  </a:lnTo>
                  <a:lnTo>
                    <a:pt x="97" y="111"/>
                  </a:lnTo>
                  <a:lnTo>
                    <a:pt x="97" y="112"/>
                  </a:lnTo>
                  <a:lnTo>
                    <a:pt x="95" y="115"/>
                  </a:lnTo>
                  <a:lnTo>
                    <a:pt x="91" y="119"/>
                  </a:lnTo>
                  <a:lnTo>
                    <a:pt x="82" y="124"/>
                  </a:lnTo>
                  <a:lnTo>
                    <a:pt x="67" y="128"/>
                  </a:lnTo>
                  <a:lnTo>
                    <a:pt x="45" y="134"/>
                  </a:lnTo>
                  <a:lnTo>
                    <a:pt x="27" y="136"/>
                  </a:lnTo>
                  <a:lnTo>
                    <a:pt x="13" y="136"/>
                  </a:lnTo>
                  <a:lnTo>
                    <a:pt x="5" y="134"/>
                  </a:lnTo>
                  <a:lnTo>
                    <a:pt x="1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1" y="119"/>
                  </a:lnTo>
                  <a:lnTo>
                    <a:pt x="3" y="116"/>
                  </a:lnTo>
                  <a:lnTo>
                    <a:pt x="3" y="113"/>
                  </a:lnTo>
                  <a:lnTo>
                    <a:pt x="3" y="109"/>
                  </a:lnTo>
                  <a:lnTo>
                    <a:pt x="1" y="102"/>
                  </a:lnTo>
                  <a:lnTo>
                    <a:pt x="0" y="89"/>
                  </a:lnTo>
                  <a:lnTo>
                    <a:pt x="1" y="75"/>
                  </a:lnTo>
                  <a:lnTo>
                    <a:pt x="7" y="60"/>
                  </a:lnTo>
                  <a:lnTo>
                    <a:pt x="15" y="48"/>
                  </a:lnTo>
                  <a:lnTo>
                    <a:pt x="26" y="38"/>
                  </a:lnTo>
                  <a:lnTo>
                    <a:pt x="37" y="34"/>
                  </a:lnTo>
                  <a:lnTo>
                    <a:pt x="48" y="34"/>
                  </a:lnTo>
                  <a:lnTo>
                    <a:pt x="57" y="37"/>
                  </a:lnTo>
                  <a:lnTo>
                    <a:pt x="69" y="34"/>
                  </a:lnTo>
                  <a:lnTo>
                    <a:pt x="82" y="30"/>
                  </a:lnTo>
                  <a:lnTo>
                    <a:pt x="93" y="25"/>
                  </a:lnTo>
                  <a:lnTo>
                    <a:pt x="102" y="19"/>
                  </a:lnTo>
                  <a:lnTo>
                    <a:pt x="108" y="15"/>
                  </a:lnTo>
                  <a:lnTo>
                    <a:pt x="110" y="14"/>
                  </a:lnTo>
                  <a:lnTo>
                    <a:pt x="128" y="6"/>
                  </a:lnTo>
                  <a:lnTo>
                    <a:pt x="142" y="1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rgbClr val="2438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46" name="Freeform 2775"/>
            <p:cNvSpPr>
              <a:spLocks/>
            </p:cNvSpPr>
            <p:nvPr/>
          </p:nvSpPr>
          <p:spPr bwMode="auto">
            <a:xfrm rot="1114411" flipH="1">
              <a:off x="1589179" y="4664342"/>
              <a:ext cx="72329" cy="51743"/>
            </a:xfrm>
            <a:custGeom>
              <a:avLst/>
              <a:gdLst>
                <a:gd name="T0" fmla="*/ 2147483647 w 130"/>
                <a:gd name="T1" fmla="*/ 0 h 93"/>
                <a:gd name="T2" fmla="*/ 2147483647 w 130"/>
                <a:gd name="T3" fmla="*/ 2147483647 h 93"/>
                <a:gd name="T4" fmla="*/ 2147483647 w 130"/>
                <a:gd name="T5" fmla="*/ 2147483647 h 93"/>
                <a:gd name="T6" fmla="*/ 2147483647 w 130"/>
                <a:gd name="T7" fmla="*/ 2147483647 h 93"/>
                <a:gd name="T8" fmla="*/ 2147483647 w 130"/>
                <a:gd name="T9" fmla="*/ 2147483647 h 93"/>
                <a:gd name="T10" fmla="*/ 2147483647 w 130"/>
                <a:gd name="T11" fmla="*/ 2147483647 h 93"/>
                <a:gd name="T12" fmla="*/ 2147483647 w 130"/>
                <a:gd name="T13" fmla="*/ 2147483647 h 93"/>
                <a:gd name="T14" fmla="*/ 2147483647 w 130"/>
                <a:gd name="T15" fmla="*/ 2147483647 h 93"/>
                <a:gd name="T16" fmla="*/ 2147483647 w 130"/>
                <a:gd name="T17" fmla="*/ 2147483647 h 93"/>
                <a:gd name="T18" fmla="*/ 2147483647 w 130"/>
                <a:gd name="T19" fmla="*/ 2147483647 h 93"/>
                <a:gd name="T20" fmla="*/ 2147483647 w 130"/>
                <a:gd name="T21" fmla="*/ 2147483647 h 93"/>
                <a:gd name="T22" fmla="*/ 2147483647 w 130"/>
                <a:gd name="T23" fmla="*/ 2147483647 h 93"/>
                <a:gd name="T24" fmla="*/ 2147483647 w 130"/>
                <a:gd name="T25" fmla="*/ 2147483647 h 93"/>
                <a:gd name="T26" fmla="*/ 2147483647 w 130"/>
                <a:gd name="T27" fmla="*/ 2147483647 h 93"/>
                <a:gd name="T28" fmla="*/ 2147483647 w 130"/>
                <a:gd name="T29" fmla="*/ 2147483647 h 93"/>
                <a:gd name="T30" fmla="*/ 2147483647 w 130"/>
                <a:gd name="T31" fmla="*/ 2147483647 h 93"/>
                <a:gd name="T32" fmla="*/ 2147483647 w 130"/>
                <a:gd name="T33" fmla="*/ 2147483647 h 93"/>
                <a:gd name="T34" fmla="*/ 2147483647 w 130"/>
                <a:gd name="T35" fmla="*/ 2147483647 h 93"/>
                <a:gd name="T36" fmla="*/ 2147483647 w 130"/>
                <a:gd name="T37" fmla="*/ 2147483647 h 93"/>
                <a:gd name="T38" fmla="*/ 0 w 130"/>
                <a:gd name="T39" fmla="*/ 2147483647 h 93"/>
                <a:gd name="T40" fmla="*/ 2147483647 w 130"/>
                <a:gd name="T41" fmla="*/ 2147483647 h 93"/>
                <a:gd name="T42" fmla="*/ 2147483647 w 130"/>
                <a:gd name="T43" fmla="*/ 2147483647 h 93"/>
                <a:gd name="T44" fmla="*/ 2147483647 w 130"/>
                <a:gd name="T45" fmla="*/ 2147483647 h 93"/>
                <a:gd name="T46" fmla="*/ 2147483647 w 130"/>
                <a:gd name="T47" fmla="*/ 2147483647 h 93"/>
                <a:gd name="T48" fmla="*/ 2147483647 w 130"/>
                <a:gd name="T49" fmla="*/ 2147483647 h 93"/>
                <a:gd name="T50" fmla="*/ 2147483647 w 130"/>
                <a:gd name="T51" fmla="*/ 2147483647 h 93"/>
                <a:gd name="T52" fmla="*/ 2147483647 w 130"/>
                <a:gd name="T53" fmla="*/ 2147483647 h 93"/>
                <a:gd name="T54" fmla="*/ 2147483647 w 130"/>
                <a:gd name="T55" fmla="*/ 2147483647 h 93"/>
                <a:gd name="T56" fmla="*/ 2147483647 w 130"/>
                <a:gd name="T57" fmla="*/ 0 h 9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0"/>
                <a:gd name="T88" fmla="*/ 0 h 93"/>
                <a:gd name="T89" fmla="*/ 130 w 130"/>
                <a:gd name="T90" fmla="*/ 93 h 9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0" h="93">
                  <a:moveTo>
                    <a:pt x="108" y="0"/>
                  </a:moveTo>
                  <a:lnTo>
                    <a:pt x="113" y="5"/>
                  </a:lnTo>
                  <a:lnTo>
                    <a:pt x="119" y="12"/>
                  </a:lnTo>
                  <a:lnTo>
                    <a:pt x="123" y="22"/>
                  </a:lnTo>
                  <a:lnTo>
                    <a:pt x="127" y="33"/>
                  </a:lnTo>
                  <a:lnTo>
                    <a:pt x="130" y="42"/>
                  </a:lnTo>
                  <a:lnTo>
                    <a:pt x="128" y="53"/>
                  </a:lnTo>
                  <a:lnTo>
                    <a:pt x="123" y="61"/>
                  </a:lnTo>
                  <a:lnTo>
                    <a:pt x="112" y="69"/>
                  </a:lnTo>
                  <a:lnTo>
                    <a:pt x="109" y="71"/>
                  </a:lnTo>
                  <a:lnTo>
                    <a:pt x="102" y="75"/>
                  </a:lnTo>
                  <a:lnTo>
                    <a:pt x="91" y="79"/>
                  </a:lnTo>
                  <a:lnTo>
                    <a:pt x="79" y="84"/>
                  </a:lnTo>
                  <a:lnTo>
                    <a:pt x="65" y="90"/>
                  </a:lnTo>
                  <a:lnTo>
                    <a:pt x="50" y="93"/>
                  </a:lnTo>
                  <a:lnTo>
                    <a:pt x="35" y="93"/>
                  </a:lnTo>
                  <a:lnTo>
                    <a:pt x="22" y="90"/>
                  </a:lnTo>
                  <a:lnTo>
                    <a:pt x="11" y="80"/>
                  </a:lnTo>
                  <a:lnTo>
                    <a:pt x="1" y="64"/>
                  </a:lnTo>
                  <a:lnTo>
                    <a:pt x="0" y="50"/>
                  </a:lnTo>
                  <a:lnTo>
                    <a:pt x="5" y="37"/>
                  </a:lnTo>
                  <a:lnTo>
                    <a:pt x="15" y="27"/>
                  </a:lnTo>
                  <a:lnTo>
                    <a:pt x="30" y="22"/>
                  </a:lnTo>
                  <a:lnTo>
                    <a:pt x="48" y="19"/>
                  </a:lnTo>
                  <a:lnTo>
                    <a:pt x="65" y="16"/>
                  </a:lnTo>
                  <a:lnTo>
                    <a:pt x="79" y="12"/>
                  </a:lnTo>
                  <a:lnTo>
                    <a:pt x="91" y="5"/>
                  </a:lnTo>
                  <a:lnTo>
                    <a:pt x="101" y="1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7" name="Freeform 2776"/>
            <p:cNvSpPr>
              <a:spLocks/>
            </p:cNvSpPr>
            <p:nvPr/>
          </p:nvSpPr>
          <p:spPr bwMode="auto">
            <a:xfrm rot="1114411" flipH="1">
              <a:off x="1035793" y="4679727"/>
              <a:ext cx="69547" cy="47848"/>
            </a:xfrm>
            <a:custGeom>
              <a:avLst/>
              <a:gdLst>
                <a:gd name="T0" fmla="*/ 2147483647 w 125"/>
                <a:gd name="T1" fmla="*/ 0 h 86"/>
                <a:gd name="T2" fmla="*/ 2147483647 w 125"/>
                <a:gd name="T3" fmla="*/ 0 h 86"/>
                <a:gd name="T4" fmla="*/ 2147483647 w 125"/>
                <a:gd name="T5" fmla="*/ 2147483647 h 86"/>
                <a:gd name="T6" fmla="*/ 2147483647 w 125"/>
                <a:gd name="T7" fmla="*/ 2147483647 h 86"/>
                <a:gd name="T8" fmla="*/ 2147483647 w 125"/>
                <a:gd name="T9" fmla="*/ 2147483647 h 86"/>
                <a:gd name="T10" fmla="*/ 2147483647 w 125"/>
                <a:gd name="T11" fmla="*/ 2147483647 h 86"/>
                <a:gd name="T12" fmla="*/ 2147483647 w 125"/>
                <a:gd name="T13" fmla="*/ 2147483647 h 86"/>
                <a:gd name="T14" fmla="*/ 2147483647 w 125"/>
                <a:gd name="T15" fmla="*/ 2147483647 h 86"/>
                <a:gd name="T16" fmla="*/ 2147483647 w 125"/>
                <a:gd name="T17" fmla="*/ 2147483647 h 86"/>
                <a:gd name="T18" fmla="*/ 2147483647 w 125"/>
                <a:gd name="T19" fmla="*/ 2147483647 h 86"/>
                <a:gd name="T20" fmla="*/ 2147483647 w 125"/>
                <a:gd name="T21" fmla="*/ 2147483647 h 86"/>
                <a:gd name="T22" fmla="*/ 2147483647 w 125"/>
                <a:gd name="T23" fmla="*/ 2147483647 h 86"/>
                <a:gd name="T24" fmla="*/ 2147483647 w 125"/>
                <a:gd name="T25" fmla="*/ 2147483647 h 86"/>
                <a:gd name="T26" fmla="*/ 2147483647 w 125"/>
                <a:gd name="T27" fmla="*/ 2147483647 h 86"/>
                <a:gd name="T28" fmla="*/ 2147483647 w 125"/>
                <a:gd name="T29" fmla="*/ 2147483647 h 86"/>
                <a:gd name="T30" fmla="*/ 2147483647 w 125"/>
                <a:gd name="T31" fmla="*/ 2147483647 h 86"/>
                <a:gd name="T32" fmla="*/ 2147483647 w 125"/>
                <a:gd name="T33" fmla="*/ 2147483647 h 86"/>
                <a:gd name="T34" fmla="*/ 2147483647 w 125"/>
                <a:gd name="T35" fmla="*/ 2147483647 h 86"/>
                <a:gd name="T36" fmla="*/ 2147483647 w 125"/>
                <a:gd name="T37" fmla="*/ 2147483647 h 86"/>
                <a:gd name="T38" fmla="*/ 2147483647 w 125"/>
                <a:gd name="T39" fmla="*/ 2147483647 h 86"/>
                <a:gd name="T40" fmla="*/ 2147483647 w 125"/>
                <a:gd name="T41" fmla="*/ 2147483647 h 86"/>
                <a:gd name="T42" fmla="*/ 0 w 125"/>
                <a:gd name="T43" fmla="*/ 2147483647 h 86"/>
                <a:gd name="T44" fmla="*/ 2147483647 w 125"/>
                <a:gd name="T45" fmla="*/ 2147483647 h 86"/>
                <a:gd name="T46" fmla="*/ 2147483647 w 125"/>
                <a:gd name="T47" fmla="*/ 2147483647 h 86"/>
                <a:gd name="T48" fmla="*/ 2147483647 w 125"/>
                <a:gd name="T49" fmla="*/ 2147483647 h 86"/>
                <a:gd name="T50" fmla="*/ 2147483647 w 125"/>
                <a:gd name="T51" fmla="*/ 2147483647 h 86"/>
                <a:gd name="T52" fmla="*/ 2147483647 w 125"/>
                <a:gd name="T53" fmla="*/ 2147483647 h 86"/>
                <a:gd name="T54" fmla="*/ 2147483647 w 125"/>
                <a:gd name="T55" fmla="*/ 2147483647 h 86"/>
                <a:gd name="T56" fmla="*/ 2147483647 w 125"/>
                <a:gd name="T57" fmla="*/ 2147483647 h 86"/>
                <a:gd name="T58" fmla="*/ 2147483647 w 125"/>
                <a:gd name="T59" fmla="*/ 0 h 8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5"/>
                <a:gd name="T91" fmla="*/ 0 h 86"/>
                <a:gd name="T92" fmla="*/ 125 w 125"/>
                <a:gd name="T93" fmla="*/ 86 h 8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5" h="86">
                  <a:moveTo>
                    <a:pt x="110" y="0"/>
                  </a:moveTo>
                  <a:lnTo>
                    <a:pt x="118" y="0"/>
                  </a:lnTo>
                  <a:lnTo>
                    <a:pt x="124" y="4"/>
                  </a:lnTo>
                  <a:lnTo>
                    <a:pt x="125" y="11"/>
                  </a:lnTo>
                  <a:lnTo>
                    <a:pt x="125" y="20"/>
                  </a:lnTo>
                  <a:lnTo>
                    <a:pt x="122" y="30"/>
                  </a:lnTo>
                  <a:lnTo>
                    <a:pt x="120" y="38"/>
                  </a:lnTo>
                  <a:lnTo>
                    <a:pt x="117" y="46"/>
                  </a:lnTo>
                  <a:lnTo>
                    <a:pt x="114" y="52"/>
                  </a:lnTo>
                  <a:lnTo>
                    <a:pt x="114" y="53"/>
                  </a:lnTo>
                  <a:lnTo>
                    <a:pt x="111" y="64"/>
                  </a:lnTo>
                  <a:lnTo>
                    <a:pt x="103" y="72"/>
                  </a:lnTo>
                  <a:lnTo>
                    <a:pt x="92" y="79"/>
                  </a:lnTo>
                  <a:lnTo>
                    <a:pt x="79" y="83"/>
                  </a:lnTo>
                  <a:lnTo>
                    <a:pt x="64" y="86"/>
                  </a:lnTo>
                  <a:lnTo>
                    <a:pt x="49" y="86"/>
                  </a:lnTo>
                  <a:lnTo>
                    <a:pt x="35" y="86"/>
                  </a:lnTo>
                  <a:lnTo>
                    <a:pt x="23" y="84"/>
                  </a:lnTo>
                  <a:lnTo>
                    <a:pt x="16" y="82"/>
                  </a:lnTo>
                  <a:lnTo>
                    <a:pt x="8" y="76"/>
                  </a:lnTo>
                  <a:lnTo>
                    <a:pt x="2" y="69"/>
                  </a:lnTo>
                  <a:lnTo>
                    <a:pt x="0" y="62"/>
                  </a:lnTo>
                  <a:lnTo>
                    <a:pt x="2" y="54"/>
                  </a:lnTo>
                  <a:lnTo>
                    <a:pt x="9" y="45"/>
                  </a:lnTo>
                  <a:lnTo>
                    <a:pt x="24" y="32"/>
                  </a:lnTo>
                  <a:lnTo>
                    <a:pt x="43" y="20"/>
                  </a:lnTo>
                  <a:lnTo>
                    <a:pt x="60" y="12"/>
                  </a:lnTo>
                  <a:lnTo>
                    <a:pt x="76" y="5"/>
                  </a:lnTo>
                  <a:lnTo>
                    <a:pt x="92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8" name="Freeform 2777"/>
            <p:cNvSpPr>
              <a:spLocks/>
            </p:cNvSpPr>
            <p:nvPr/>
          </p:nvSpPr>
          <p:spPr bwMode="auto">
            <a:xfrm rot="1114411" flipH="1">
              <a:off x="801651" y="4668143"/>
              <a:ext cx="58420" cy="58420"/>
            </a:xfrm>
            <a:custGeom>
              <a:avLst/>
              <a:gdLst>
                <a:gd name="T0" fmla="*/ 2147483647 w 105"/>
                <a:gd name="T1" fmla="*/ 0 h 105"/>
                <a:gd name="T2" fmla="*/ 2147483647 w 105"/>
                <a:gd name="T3" fmla="*/ 0 h 105"/>
                <a:gd name="T4" fmla="*/ 2147483647 w 105"/>
                <a:gd name="T5" fmla="*/ 2147483647 h 105"/>
                <a:gd name="T6" fmla="*/ 2147483647 w 105"/>
                <a:gd name="T7" fmla="*/ 2147483647 h 105"/>
                <a:gd name="T8" fmla="*/ 2147483647 w 105"/>
                <a:gd name="T9" fmla="*/ 2147483647 h 105"/>
                <a:gd name="T10" fmla="*/ 2147483647 w 105"/>
                <a:gd name="T11" fmla="*/ 2147483647 h 105"/>
                <a:gd name="T12" fmla="*/ 2147483647 w 105"/>
                <a:gd name="T13" fmla="*/ 2147483647 h 105"/>
                <a:gd name="T14" fmla="*/ 2147483647 w 105"/>
                <a:gd name="T15" fmla="*/ 2147483647 h 105"/>
                <a:gd name="T16" fmla="*/ 2147483647 w 105"/>
                <a:gd name="T17" fmla="*/ 2147483647 h 105"/>
                <a:gd name="T18" fmla="*/ 2147483647 w 105"/>
                <a:gd name="T19" fmla="*/ 2147483647 h 105"/>
                <a:gd name="T20" fmla="*/ 2147483647 w 105"/>
                <a:gd name="T21" fmla="*/ 2147483647 h 105"/>
                <a:gd name="T22" fmla="*/ 2147483647 w 105"/>
                <a:gd name="T23" fmla="*/ 2147483647 h 105"/>
                <a:gd name="T24" fmla="*/ 2147483647 w 105"/>
                <a:gd name="T25" fmla="*/ 2147483647 h 105"/>
                <a:gd name="T26" fmla="*/ 2147483647 w 105"/>
                <a:gd name="T27" fmla="*/ 2147483647 h 105"/>
                <a:gd name="T28" fmla="*/ 2147483647 w 105"/>
                <a:gd name="T29" fmla="*/ 2147483647 h 105"/>
                <a:gd name="T30" fmla="*/ 2147483647 w 105"/>
                <a:gd name="T31" fmla="*/ 2147483647 h 105"/>
                <a:gd name="T32" fmla="*/ 2147483647 w 105"/>
                <a:gd name="T33" fmla="*/ 2147483647 h 105"/>
                <a:gd name="T34" fmla="*/ 2147483647 w 105"/>
                <a:gd name="T35" fmla="*/ 2147483647 h 105"/>
                <a:gd name="T36" fmla="*/ 2147483647 w 105"/>
                <a:gd name="T37" fmla="*/ 2147483647 h 105"/>
                <a:gd name="T38" fmla="*/ 2147483647 w 105"/>
                <a:gd name="T39" fmla="*/ 2147483647 h 105"/>
                <a:gd name="T40" fmla="*/ 2147483647 w 105"/>
                <a:gd name="T41" fmla="*/ 2147483647 h 105"/>
                <a:gd name="T42" fmla="*/ 0 w 105"/>
                <a:gd name="T43" fmla="*/ 2147483647 h 105"/>
                <a:gd name="T44" fmla="*/ 0 w 105"/>
                <a:gd name="T45" fmla="*/ 2147483647 h 105"/>
                <a:gd name="T46" fmla="*/ 2147483647 w 105"/>
                <a:gd name="T47" fmla="*/ 2147483647 h 105"/>
                <a:gd name="T48" fmla="*/ 2147483647 w 105"/>
                <a:gd name="T49" fmla="*/ 2147483647 h 105"/>
                <a:gd name="T50" fmla="*/ 2147483647 w 105"/>
                <a:gd name="T51" fmla="*/ 2147483647 h 105"/>
                <a:gd name="T52" fmla="*/ 2147483647 w 105"/>
                <a:gd name="T53" fmla="*/ 2147483647 h 105"/>
                <a:gd name="T54" fmla="*/ 2147483647 w 105"/>
                <a:gd name="T55" fmla="*/ 2147483647 h 105"/>
                <a:gd name="T56" fmla="*/ 2147483647 w 105"/>
                <a:gd name="T57" fmla="*/ 2147483647 h 105"/>
                <a:gd name="T58" fmla="*/ 2147483647 w 105"/>
                <a:gd name="T59" fmla="*/ 2147483647 h 105"/>
                <a:gd name="T60" fmla="*/ 2147483647 w 105"/>
                <a:gd name="T61" fmla="*/ 2147483647 h 105"/>
                <a:gd name="T62" fmla="*/ 2147483647 w 105"/>
                <a:gd name="T63" fmla="*/ 2147483647 h 105"/>
                <a:gd name="T64" fmla="*/ 2147483647 w 105"/>
                <a:gd name="T65" fmla="*/ 0 h 10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105"/>
                <a:gd name="T101" fmla="*/ 105 w 105"/>
                <a:gd name="T102" fmla="*/ 105 h 10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105">
                  <a:moveTo>
                    <a:pt x="96" y="0"/>
                  </a:moveTo>
                  <a:lnTo>
                    <a:pt x="98" y="0"/>
                  </a:lnTo>
                  <a:lnTo>
                    <a:pt x="101" y="7"/>
                  </a:lnTo>
                  <a:lnTo>
                    <a:pt x="104" y="18"/>
                  </a:lnTo>
                  <a:lnTo>
                    <a:pt x="105" y="31"/>
                  </a:lnTo>
                  <a:lnTo>
                    <a:pt x="105" y="45"/>
                  </a:lnTo>
                  <a:lnTo>
                    <a:pt x="105" y="59"/>
                  </a:lnTo>
                  <a:lnTo>
                    <a:pt x="101" y="71"/>
                  </a:lnTo>
                  <a:lnTo>
                    <a:pt x="96" y="78"/>
                  </a:lnTo>
                  <a:lnTo>
                    <a:pt x="89" y="83"/>
                  </a:lnTo>
                  <a:lnTo>
                    <a:pt x="83" y="90"/>
                  </a:lnTo>
                  <a:lnTo>
                    <a:pt x="77" y="96"/>
                  </a:lnTo>
                  <a:lnTo>
                    <a:pt x="70" y="101"/>
                  </a:lnTo>
                  <a:lnTo>
                    <a:pt x="62" y="104"/>
                  </a:lnTo>
                  <a:lnTo>
                    <a:pt x="51" y="105"/>
                  </a:lnTo>
                  <a:lnTo>
                    <a:pt x="36" y="104"/>
                  </a:lnTo>
                  <a:lnTo>
                    <a:pt x="18" y="98"/>
                  </a:lnTo>
                  <a:lnTo>
                    <a:pt x="17" y="96"/>
                  </a:lnTo>
                  <a:lnTo>
                    <a:pt x="13" y="90"/>
                  </a:lnTo>
                  <a:lnTo>
                    <a:pt x="8" y="82"/>
                  </a:lnTo>
                  <a:lnTo>
                    <a:pt x="3" y="72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4" y="38"/>
                  </a:lnTo>
                  <a:lnTo>
                    <a:pt x="14" y="29"/>
                  </a:lnTo>
                  <a:lnTo>
                    <a:pt x="29" y="20"/>
                  </a:lnTo>
                  <a:lnTo>
                    <a:pt x="51" y="14"/>
                  </a:lnTo>
                  <a:lnTo>
                    <a:pt x="67" y="8"/>
                  </a:lnTo>
                  <a:lnTo>
                    <a:pt x="78" y="7"/>
                  </a:lnTo>
                  <a:lnTo>
                    <a:pt x="85" y="5"/>
                  </a:lnTo>
                  <a:lnTo>
                    <a:pt x="90" y="4"/>
                  </a:lnTo>
                  <a:lnTo>
                    <a:pt x="93" y="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9" name="Freeform 2778"/>
            <p:cNvSpPr>
              <a:spLocks/>
            </p:cNvSpPr>
            <p:nvPr/>
          </p:nvSpPr>
          <p:spPr bwMode="auto">
            <a:xfrm rot="1114411" flipH="1">
              <a:off x="590354" y="4716129"/>
              <a:ext cx="68434" cy="33939"/>
            </a:xfrm>
            <a:custGeom>
              <a:avLst/>
              <a:gdLst>
                <a:gd name="T0" fmla="*/ 2147483647 w 123"/>
                <a:gd name="T1" fmla="*/ 0 h 61"/>
                <a:gd name="T2" fmla="*/ 2147483647 w 123"/>
                <a:gd name="T3" fmla="*/ 2147483647 h 61"/>
                <a:gd name="T4" fmla="*/ 2147483647 w 123"/>
                <a:gd name="T5" fmla="*/ 2147483647 h 61"/>
                <a:gd name="T6" fmla="*/ 2147483647 w 123"/>
                <a:gd name="T7" fmla="*/ 2147483647 h 61"/>
                <a:gd name="T8" fmla="*/ 2147483647 w 123"/>
                <a:gd name="T9" fmla="*/ 2147483647 h 61"/>
                <a:gd name="T10" fmla="*/ 2147483647 w 123"/>
                <a:gd name="T11" fmla="*/ 2147483647 h 61"/>
                <a:gd name="T12" fmla="*/ 2147483647 w 123"/>
                <a:gd name="T13" fmla="*/ 2147483647 h 61"/>
                <a:gd name="T14" fmla="*/ 2147483647 w 123"/>
                <a:gd name="T15" fmla="*/ 2147483647 h 61"/>
                <a:gd name="T16" fmla="*/ 2147483647 w 123"/>
                <a:gd name="T17" fmla="*/ 2147483647 h 61"/>
                <a:gd name="T18" fmla="*/ 2147483647 w 123"/>
                <a:gd name="T19" fmla="*/ 2147483647 h 61"/>
                <a:gd name="T20" fmla="*/ 2147483647 w 123"/>
                <a:gd name="T21" fmla="*/ 2147483647 h 61"/>
                <a:gd name="T22" fmla="*/ 2147483647 w 123"/>
                <a:gd name="T23" fmla="*/ 2147483647 h 61"/>
                <a:gd name="T24" fmla="*/ 2147483647 w 123"/>
                <a:gd name="T25" fmla="*/ 2147483647 h 61"/>
                <a:gd name="T26" fmla="*/ 2147483647 w 123"/>
                <a:gd name="T27" fmla="*/ 2147483647 h 61"/>
                <a:gd name="T28" fmla="*/ 2147483647 w 123"/>
                <a:gd name="T29" fmla="*/ 2147483647 h 61"/>
                <a:gd name="T30" fmla="*/ 2147483647 w 123"/>
                <a:gd name="T31" fmla="*/ 2147483647 h 61"/>
                <a:gd name="T32" fmla="*/ 2147483647 w 123"/>
                <a:gd name="T33" fmla="*/ 2147483647 h 61"/>
                <a:gd name="T34" fmla="*/ 2147483647 w 123"/>
                <a:gd name="T35" fmla="*/ 2147483647 h 61"/>
                <a:gd name="T36" fmla="*/ 2147483647 w 123"/>
                <a:gd name="T37" fmla="*/ 2147483647 h 61"/>
                <a:gd name="T38" fmla="*/ 2147483647 w 123"/>
                <a:gd name="T39" fmla="*/ 2147483647 h 61"/>
                <a:gd name="T40" fmla="*/ 0 w 123"/>
                <a:gd name="T41" fmla="*/ 2147483647 h 61"/>
                <a:gd name="T42" fmla="*/ 2147483647 w 123"/>
                <a:gd name="T43" fmla="*/ 2147483647 h 61"/>
                <a:gd name="T44" fmla="*/ 2147483647 w 123"/>
                <a:gd name="T45" fmla="*/ 2147483647 h 61"/>
                <a:gd name="T46" fmla="*/ 2147483647 w 123"/>
                <a:gd name="T47" fmla="*/ 2147483647 h 61"/>
                <a:gd name="T48" fmla="*/ 2147483647 w 123"/>
                <a:gd name="T49" fmla="*/ 2147483647 h 61"/>
                <a:gd name="T50" fmla="*/ 2147483647 w 123"/>
                <a:gd name="T51" fmla="*/ 2147483647 h 61"/>
                <a:gd name="T52" fmla="*/ 2147483647 w 123"/>
                <a:gd name="T53" fmla="*/ 2147483647 h 61"/>
                <a:gd name="T54" fmla="*/ 2147483647 w 123"/>
                <a:gd name="T55" fmla="*/ 2147483647 h 61"/>
                <a:gd name="T56" fmla="*/ 2147483647 w 123"/>
                <a:gd name="T57" fmla="*/ 2147483647 h 61"/>
                <a:gd name="T58" fmla="*/ 2147483647 w 123"/>
                <a:gd name="T59" fmla="*/ 2147483647 h 61"/>
                <a:gd name="T60" fmla="*/ 2147483647 w 123"/>
                <a:gd name="T61" fmla="*/ 0 h 6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23"/>
                <a:gd name="T94" fmla="*/ 0 h 61"/>
                <a:gd name="T95" fmla="*/ 123 w 123"/>
                <a:gd name="T96" fmla="*/ 61 h 6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23" h="61">
                  <a:moveTo>
                    <a:pt x="96" y="0"/>
                  </a:moveTo>
                  <a:lnTo>
                    <a:pt x="104" y="1"/>
                  </a:lnTo>
                  <a:lnTo>
                    <a:pt x="112" y="6"/>
                  </a:lnTo>
                  <a:lnTo>
                    <a:pt x="117" y="15"/>
                  </a:lnTo>
                  <a:lnTo>
                    <a:pt x="121" y="25"/>
                  </a:lnTo>
                  <a:lnTo>
                    <a:pt x="123" y="35"/>
                  </a:lnTo>
                  <a:lnTo>
                    <a:pt x="121" y="46"/>
                  </a:lnTo>
                  <a:lnTo>
                    <a:pt x="116" y="53"/>
                  </a:lnTo>
                  <a:lnTo>
                    <a:pt x="108" y="57"/>
                  </a:lnTo>
                  <a:lnTo>
                    <a:pt x="93" y="60"/>
                  </a:lnTo>
                  <a:lnTo>
                    <a:pt x="76" y="61"/>
                  </a:lnTo>
                  <a:lnTo>
                    <a:pt x="57" y="61"/>
                  </a:lnTo>
                  <a:lnTo>
                    <a:pt x="38" y="61"/>
                  </a:lnTo>
                  <a:lnTo>
                    <a:pt x="23" y="58"/>
                  </a:lnTo>
                  <a:lnTo>
                    <a:pt x="12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4" y="46"/>
                  </a:lnTo>
                  <a:lnTo>
                    <a:pt x="3" y="39"/>
                  </a:lnTo>
                  <a:lnTo>
                    <a:pt x="1" y="32"/>
                  </a:lnTo>
                  <a:lnTo>
                    <a:pt x="0" y="25"/>
                  </a:lnTo>
                  <a:lnTo>
                    <a:pt x="3" y="19"/>
                  </a:lnTo>
                  <a:lnTo>
                    <a:pt x="7" y="13"/>
                  </a:lnTo>
                  <a:lnTo>
                    <a:pt x="16" y="9"/>
                  </a:lnTo>
                  <a:lnTo>
                    <a:pt x="30" y="8"/>
                  </a:lnTo>
                  <a:lnTo>
                    <a:pt x="49" y="6"/>
                  </a:lnTo>
                  <a:lnTo>
                    <a:pt x="63" y="5"/>
                  </a:lnTo>
                  <a:lnTo>
                    <a:pt x="71" y="4"/>
                  </a:lnTo>
                  <a:lnTo>
                    <a:pt x="78" y="2"/>
                  </a:lnTo>
                  <a:lnTo>
                    <a:pt x="86" y="1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0" name="Freeform 2779"/>
            <p:cNvSpPr>
              <a:spLocks/>
            </p:cNvSpPr>
            <p:nvPr/>
          </p:nvSpPr>
          <p:spPr bwMode="auto">
            <a:xfrm rot="1114411" flipH="1">
              <a:off x="548182" y="4564590"/>
              <a:ext cx="32270" cy="40616"/>
            </a:xfrm>
            <a:custGeom>
              <a:avLst/>
              <a:gdLst>
                <a:gd name="T0" fmla="*/ 2147483647 w 58"/>
                <a:gd name="T1" fmla="*/ 0 h 73"/>
                <a:gd name="T2" fmla="*/ 2147483647 w 58"/>
                <a:gd name="T3" fmla="*/ 0 h 73"/>
                <a:gd name="T4" fmla="*/ 2147483647 w 58"/>
                <a:gd name="T5" fmla="*/ 2147483647 h 73"/>
                <a:gd name="T6" fmla="*/ 2147483647 w 58"/>
                <a:gd name="T7" fmla="*/ 2147483647 h 73"/>
                <a:gd name="T8" fmla="*/ 2147483647 w 58"/>
                <a:gd name="T9" fmla="*/ 2147483647 h 73"/>
                <a:gd name="T10" fmla="*/ 2147483647 w 58"/>
                <a:gd name="T11" fmla="*/ 2147483647 h 73"/>
                <a:gd name="T12" fmla="*/ 2147483647 w 58"/>
                <a:gd name="T13" fmla="*/ 2147483647 h 73"/>
                <a:gd name="T14" fmla="*/ 2147483647 w 58"/>
                <a:gd name="T15" fmla="*/ 2147483647 h 73"/>
                <a:gd name="T16" fmla="*/ 2147483647 w 58"/>
                <a:gd name="T17" fmla="*/ 2147483647 h 73"/>
                <a:gd name="T18" fmla="*/ 2147483647 w 58"/>
                <a:gd name="T19" fmla="*/ 2147483647 h 73"/>
                <a:gd name="T20" fmla="*/ 2147483647 w 58"/>
                <a:gd name="T21" fmla="*/ 2147483647 h 73"/>
                <a:gd name="T22" fmla="*/ 2147483647 w 58"/>
                <a:gd name="T23" fmla="*/ 2147483647 h 73"/>
                <a:gd name="T24" fmla="*/ 2147483647 w 58"/>
                <a:gd name="T25" fmla="*/ 2147483647 h 73"/>
                <a:gd name="T26" fmla="*/ 2147483647 w 58"/>
                <a:gd name="T27" fmla="*/ 2147483647 h 73"/>
                <a:gd name="T28" fmla="*/ 2147483647 w 58"/>
                <a:gd name="T29" fmla="*/ 2147483647 h 73"/>
                <a:gd name="T30" fmla="*/ 2147483647 w 58"/>
                <a:gd name="T31" fmla="*/ 2147483647 h 73"/>
                <a:gd name="T32" fmla="*/ 2147483647 w 58"/>
                <a:gd name="T33" fmla="*/ 2147483647 h 73"/>
                <a:gd name="T34" fmla="*/ 2147483647 w 58"/>
                <a:gd name="T35" fmla="*/ 2147483647 h 73"/>
                <a:gd name="T36" fmla="*/ 2147483647 w 58"/>
                <a:gd name="T37" fmla="*/ 2147483647 h 73"/>
                <a:gd name="T38" fmla="*/ 2147483647 w 58"/>
                <a:gd name="T39" fmla="*/ 2147483647 h 73"/>
                <a:gd name="T40" fmla="*/ 2147483647 w 58"/>
                <a:gd name="T41" fmla="*/ 2147483647 h 73"/>
                <a:gd name="T42" fmla="*/ 0 w 58"/>
                <a:gd name="T43" fmla="*/ 2147483647 h 73"/>
                <a:gd name="T44" fmla="*/ 0 w 58"/>
                <a:gd name="T45" fmla="*/ 2147483647 h 73"/>
                <a:gd name="T46" fmla="*/ 2147483647 w 58"/>
                <a:gd name="T47" fmla="*/ 2147483647 h 73"/>
                <a:gd name="T48" fmla="*/ 2147483647 w 58"/>
                <a:gd name="T49" fmla="*/ 2147483647 h 73"/>
                <a:gd name="T50" fmla="*/ 2147483647 w 58"/>
                <a:gd name="T51" fmla="*/ 2147483647 h 73"/>
                <a:gd name="T52" fmla="*/ 2147483647 w 58"/>
                <a:gd name="T53" fmla="*/ 2147483647 h 73"/>
                <a:gd name="T54" fmla="*/ 2147483647 w 58"/>
                <a:gd name="T55" fmla="*/ 2147483647 h 73"/>
                <a:gd name="T56" fmla="*/ 2147483647 w 58"/>
                <a:gd name="T57" fmla="*/ 0 h 73"/>
                <a:gd name="T58" fmla="*/ 2147483647 w 58"/>
                <a:gd name="T59" fmla="*/ 0 h 7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73"/>
                <a:gd name="T92" fmla="*/ 58 w 58"/>
                <a:gd name="T93" fmla="*/ 73 h 7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73">
                  <a:moveTo>
                    <a:pt x="8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3" y="3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23" y="8"/>
                  </a:lnTo>
                  <a:lnTo>
                    <a:pt x="32" y="15"/>
                  </a:lnTo>
                  <a:lnTo>
                    <a:pt x="43" y="23"/>
                  </a:lnTo>
                  <a:lnTo>
                    <a:pt x="51" y="34"/>
                  </a:lnTo>
                  <a:lnTo>
                    <a:pt x="56" y="43"/>
                  </a:lnTo>
                  <a:lnTo>
                    <a:pt x="58" y="54"/>
                  </a:lnTo>
                  <a:lnTo>
                    <a:pt x="56" y="64"/>
                  </a:lnTo>
                  <a:lnTo>
                    <a:pt x="51" y="71"/>
                  </a:lnTo>
                  <a:lnTo>
                    <a:pt x="46" y="73"/>
                  </a:lnTo>
                  <a:lnTo>
                    <a:pt x="36" y="72"/>
                  </a:lnTo>
                  <a:lnTo>
                    <a:pt x="24" y="69"/>
                  </a:lnTo>
                  <a:lnTo>
                    <a:pt x="12" y="65"/>
                  </a:lnTo>
                  <a:lnTo>
                    <a:pt x="5" y="61"/>
                  </a:lnTo>
                  <a:lnTo>
                    <a:pt x="1" y="56"/>
                  </a:lnTo>
                  <a:lnTo>
                    <a:pt x="0" y="46"/>
                  </a:lnTo>
                  <a:lnTo>
                    <a:pt x="0" y="37"/>
                  </a:lnTo>
                  <a:lnTo>
                    <a:pt x="1" y="24"/>
                  </a:lnTo>
                  <a:lnTo>
                    <a:pt x="1" y="13"/>
                  </a:lnTo>
                  <a:lnTo>
                    <a:pt x="2" y="8"/>
                  </a:lnTo>
                  <a:lnTo>
                    <a:pt x="2" y="4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1" name="Freeform 2780"/>
            <p:cNvSpPr>
              <a:spLocks/>
            </p:cNvSpPr>
            <p:nvPr/>
          </p:nvSpPr>
          <p:spPr bwMode="auto">
            <a:xfrm rot="1114411" flipH="1">
              <a:off x="771214" y="4484157"/>
              <a:ext cx="41728" cy="52856"/>
            </a:xfrm>
            <a:custGeom>
              <a:avLst/>
              <a:gdLst>
                <a:gd name="T0" fmla="*/ 2147483647 w 75"/>
                <a:gd name="T1" fmla="*/ 0 h 95"/>
                <a:gd name="T2" fmla="*/ 2147483647 w 75"/>
                <a:gd name="T3" fmla="*/ 2147483647 h 95"/>
                <a:gd name="T4" fmla="*/ 2147483647 w 75"/>
                <a:gd name="T5" fmla="*/ 2147483647 h 95"/>
                <a:gd name="T6" fmla="*/ 2147483647 w 75"/>
                <a:gd name="T7" fmla="*/ 2147483647 h 95"/>
                <a:gd name="T8" fmla="*/ 2147483647 w 75"/>
                <a:gd name="T9" fmla="*/ 2147483647 h 95"/>
                <a:gd name="T10" fmla="*/ 2147483647 w 75"/>
                <a:gd name="T11" fmla="*/ 2147483647 h 95"/>
                <a:gd name="T12" fmla="*/ 2147483647 w 75"/>
                <a:gd name="T13" fmla="*/ 2147483647 h 95"/>
                <a:gd name="T14" fmla="*/ 2147483647 w 75"/>
                <a:gd name="T15" fmla="*/ 2147483647 h 95"/>
                <a:gd name="T16" fmla="*/ 2147483647 w 75"/>
                <a:gd name="T17" fmla="*/ 2147483647 h 95"/>
                <a:gd name="T18" fmla="*/ 2147483647 w 75"/>
                <a:gd name="T19" fmla="*/ 2147483647 h 95"/>
                <a:gd name="T20" fmla="*/ 2147483647 w 75"/>
                <a:gd name="T21" fmla="*/ 2147483647 h 95"/>
                <a:gd name="T22" fmla="*/ 2147483647 w 75"/>
                <a:gd name="T23" fmla="*/ 2147483647 h 95"/>
                <a:gd name="T24" fmla="*/ 2147483647 w 75"/>
                <a:gd name="T25" fmla="*/ 2147483647 h 95"/>
                <a:gd name="T26" fmla="*/ 2147483647 w 75"/>
                <a:gd name="T27" fmla="*/ 2147483647 h 95"/>
                <a:gd name="T28" fmla="*/ 2147483647 w 75"/>
                <a:gd name="T29" fmla="*/ 2147483647 h 95"/>
                <a:gd name="T30" fmla="*/ 2147483647 w 75"/>
                <a:gd name="T31" fmla="*/ 2147483647 h 95"/>
                <a:gd name="T32" fmla="*/ 2147483647 w 75"/>
                <a:gd name="T33" fmla="*/ 2147483647 h 95"/>
                <a:gd name="T34" fmla="*/ 2147483647 w 75"/>
                <a:gd name="T35" fmla="*/ 2147483647 h 95"/>
                <a:gd name="T36" fmla="*/ 2147483647 w 75"/>
                <a:gd name="T37" fmla="*/ 2147483647 h 95"/>
                <a:gd name="T38" fmla="*/ 2147483647 w 75"/>
                <a:gd name="T39" fmla="*/ 2147483647 h 95"/>
                <a:gd name="T40" fmla="*/ 2147483647 w 75"/>
                <a:gd name="T41" fmla="*/ 2147483647 h 95"/>
                <a:gd name="T42" fmla="*/ 2147483647 w 75"/>
                <a:gd name="T43" fmla="*/ 2147483647 h 95"/>
                <a:gd name="T44" fmla="*/ 2147483647 w 75"/>
                <a:gd name="T45" fmla="*/ 2147483647 h 95"/>
                <a:gd name="T46" fmla="*/ 0 w 75"/>
                <a:gd name="T47" fmla="*/ 2147483647 h 95"/>
                <a:gd name="T48" fmla="*/ 0 w 75"/>
                <a:gd name="T49" fmla="*/ 2147483647 h 95"/>
                <a:gd name="T50" fmla="*/ 2147483647 w 75"/>
                <a:gd name="T51" fmla="*/ 2147483647 h 95"/>
                <a:gd name="T52" fmla="*/ 2147483647 w 75"/>
                <a:gd name="T53" fmla="*/ 2147483647 h 95"/>
                <a:gd name="T54" fmla="*/ 2147483647 w 75"/>
                <a:gd name="T55" fmla="*/ 2147483647 h 95"/>
                <a:gd name="T56" fmla="*/ 2147483647 w 75"/>
                <a:gd name="T57" fmla="*/ 2147483647 h 95"/>
                <a:gd name="T58" fmla="*/ 2147483647 w 75"/>
                <a:gd name="T59" fmla="*/ 0 h 9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5"/>
                <a:gd name="T91" fmla="*/ 0 h 95"/>
                <a:gd name="T92" fmla="*/ 75 w 75"/>
                <a:gd name="T93" fmla="*/ 95 h 9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5" h="95">
                  <a:moveTo>
                    <a:pt x="24" y="0"/>
                  </a:moveTo>
                  <a:lnTo>
                    <a:pt x="36" y="7"/>
                  </a:lnTo>
                  <a:lnTo>
                    <a:pt x="50" y="14"/>
                  </a:lnTo>
                  <a:lnTo>
                    <a:pt x="62" y="24"/>
                  </a:lnTo>
                  <a:lnTo>
                    <a:pt x="71" y="36"/>
                  </a:lnTo>
                  <a:lnTo>
                    <a:pt x="75" y="50"/>
                  </a:lnTo>
                  <a:lnTo>
                    <a:pt x="74" y="51"/>
                  </a:lnTo>
                  <a:lnTo>
                    <a:pt x="71" y="56"/>
                  </a:lnTo>
                  <a:lnTo>
                    <a:pt x="69" y="65"/>
                  </a:lnTo>
                  <a:lnTo>
                    <a:pt x="70" y="75"/>
                  </a:lnTo>
                  <a:lnTo>
                    <a:pt x="71" y="81"/>
                  </a:lnTo>
                  <a:lnTo>
                    <a:pt x="73" y="86"/>
                  </a:lnTo>
                  <a:lnTo>
                    <a:pt x="73" y="90"/>
                  </a:lnTo>
                  <a:lnTo>
                    <a:pt x="73" y="93"/>
                  </a:lnTo>
                  <a:lnTo>
                    <a:pt x="71" y="95"/>
                  </a:lnTo>
                  <a:lnTo>
                    <a:pt x="70" y="95"/>
                  </a:lnTo>
                  <a:lnTo>
                    <a:pt x="65" y="92"/>
                  </a:lnTo>
                  <a:lnTo>
                    <a:pt x="55" y="86"/>
                  </a:lnTo>
                  <a:lnTo>
                    <a:pt x="43" y="80"/>
                  </a:lnTo>
                  <a:lnTo>
                    <a:pt x="29" y="74"/>
                  </a:lnTo>
                  <a:lnTo>
                    <a:pt x="14" y="73"/>
                  </a:lnTo>
                  <a:lnTo>
                    <a:pt x="6" y="71"/>
                  </a:lnTo>
                  <a:lnTo>
                    <a:pt x="2" y="65"/>
                  </a:lnTo>
                  <a:lnTo>
                    <a:pt x="0" y="54"/>
                  </a:lnTo>
                  <a:lnTo>
                    <a:pt x="0" y="41"/>
                  </a:lnTo>
                  <a:lnTo>
                    <a:pt x="3" y="29"/>
                  </a:lnTo>
                  <a:lnTo>
                    <a:pt x="7" y="17"/>
                  </a:lnTo>
                  <a:lnTo>
                    <a:pt x="13" y="7"/>
                  </a:lnTo>
                  <a:lnTo>
                    <a:pt x="18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2" name="Freeform 2781"/>
            <p:cNvSpPr>
              <a:spLocks/>
            </p:cNvSpPr>
            <p:nvPr/>
          </p:nvSpPr>
          <p:spPr bwMode="auto">
            <a:xfrm rot="1114411" flipH="1">
              <a:off x="1010655" y="4363566"/>
              <a:ext cx="55081" cy="23924"/>
            </a:xfrm>
            <a:custGeom>
              <a:avLst/>
              <a:gdLst>
                <a:gd name="T0" fmla="*/ 2147483647 w 99"/>
                <a:gd name="T1" fmla="*/ 0 h 43"/>
                <a:gd name="T2" fmla="*/ 2147483647 w 99"/>
                <a:gd name="T3" fmla="*/ 2147483647 h 43"/>
                <a:gd name="T4" fmla="*/ 2147483647 w 99"/>
                <a:gd name="T5" fmla="*/ 2147483647 h 43"/>
                <a:gd name="T6" fmla="*/ 2147483647 w 99"/>
                <a:gd name="T7" fmla="*/ 2147483647 h 43"/>
                <a:gd name="T8" fmla="*/ 2147483647 w 99"/>
                <a:gd name="T9" fmla="*/ 2147483647 h 43"/>
                <a:gd name="T10" fmla="*/ 2147483647 w 99"/>
                <a:gd name="T11" fmla="*/ 2147483647 h 43"/>
                <a:gd name="T12" fmla="*/ 2147483647 w 99"/>
                <a:gd name="T13" fmla="*/ 2147483647 h 43"/>
                <a:gd name="T14" fmla="*/ 2147483647 w 99"/>
                <a:gd name="T15" fmla="*/ 2147483647 h 43"/>
                <a:gd name="T16" fmla="*/ 2147483647 w 99"/>
                <a:gd name="T17" fmla="*/ 2147483647 h 43"/>
                <a:gd name="T18" fmla="*/ 2147483647 w 99"/>
                <a:gd name="T19" fmla="*/ 2147483647 h 43"/>
                <a:gd name="T20" fmla="*/ 2147483647 w 99"/>
                <a:gd name="T21" fmla="*/ 2147483647 h 43"/>
                <a:gd name="T22" fmla="*/ 2147483647 w 99"/>
                <a:gd name="T23" fmla="*/ 2147483647 h 43"/>
                <a:gd name="T24" fmla="*/ 2147483647 w 99"/>
                <a:gd name="T25" fmla="*/ 2147483647 h 43"/>
                <a:gd name="T26" fmla="*/ 2147483647 w 99"/>
                <a:gd name="T27" fmla="*/ 2147483647 h 43"/>
                <a:gd name="T28" fmla="*/ 2147483647 w 99"/>
                <a:gd name="T29" fmla="*/ 2147483647 h 43"/>
                <a:gd name="T30" fmla="*/ 2147483647 w 99"/>
                <a:gd name="T31" fmla="*/ 2147483647 h 43"/>
                <a:gd name="T32" fmla="*/ 2147483647 w 99"/>
                <a:gd name="T33" fmla="*/ 2147483647 h 43"/>
                <a:gd name="T34" fmla="*/ 2147483647 w 99"/>
                <a:gd name="T35" fmla="*/ 2147483647 h 43"/>
                <a:gd name="T36" fmla="*/ 0 w 99"/>
                <a:gd name="T37" fmla="*/ 2147483647 h 43"/>
                <a:gd name="T38" fmla="*/ 2147483647 w 99"/>
                <a:gd name="T39" fmla="*/ 2147483647 h 43"/>
                <a:gd name="T40" fmla="*/ 2147483647 w 99"/>
                <a:gd name="T41" fmla="*/ 0 h 43"/>
                <a:gd name="T42" fmla="*/ 2147483647 w 99"/>
                <a:gd name="T43" fmla="*/ 0 h 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9"/>
                <a:gd name="T67" fmla="*/ 0 h 43"/>
                <a:gd name="T68" fmla="*/ 99 w 99"/>
                <a:gd name="T69" fmla="*/ 43 h 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9" h="43">
                  <a:moveTo>
                    <a:pt x="18" y="0"/>
                  </a:moveTo>
                  <a:lnTo>
                    <a:pt x="35" y="2"/>
                  </a:lnTo>
                  <a:lnTo>
                    <a:pt x="54" y="4"/>
                  </a:lnTo>
                  <a:lnTo>
                    <a:pt x="71" y="8"/>
                  </a:lnTo>
                  <a:lnTo>
                    <a:pt x="86" y="13"/>
                  </a:lnTo>
                  <a:lnTo>
                    <a:pt x="95" y="19"/>
                  </a:lnTo>
                  <a:lnTo>
                    <a:pt x="99" y="26"/>
                  </a:lnTo>
                  <a:lnTo>
                    <a:pt x="97" y="33"/>
                  </a:lnTo>
                  <a:lnTo>
                    <a:pt x="89" y="38"/>
                  </a:lnTo>
                  <a:lnTo>
                    <a:pt x="76" y="41"/>
                  </a:lnTo>
                  <a:lnTo>
                    <a:pt x="60" y="43"/>
                  </a:lnTo>
                  <a:lnTo>
                    <a:pt x="44" y="43"/>
                  </a:lnTo>
                  <a:lnTo>
                    <a:pt x="27" y="40"/>
                  </a:lnTo>
                  <a:lnTo>
                    <a:pt x="12" y="36"/>
                  </a:lnTo>
                  <a:lnTo>
                    <a:pt x="11" y="34"/>
                  </a:lnTo>
                  <a:lnTo>
                    <a:pt x="8" y="30"/>
                  </a:lnTo>
                  <a:lnTo>
                    <a:pt x="4" y="23"/>
                  </a:lnTo>
                  <a:lnTo>
                    <a:pt x="1" y="17"/>
                  </a:lnTo>
                  <a:lnTo>
                    <a:pt x="0" y="10"/>
                  </a:lnTo>
                  <a:lnTo>
                    <a:pt x="1" y="4"/>
                  </a:lnTo>
                  <a:lnTo>
                    <a:pt x="7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3" name="Freeform 2782"/>
            <p:cNvSpPr>
              <a:spLocks/>
            </p:cNvSpPr>
            <p:nvPr/>
          </p:nvSpPr>
          <p:spPr bwMode="auto">
            <a:xfrm rot="1114411" flipH="1">
              <a:off x="1268438" y="4345805"/>
              <a:ext cx="55638" cy="23924"/>
            </a:xfrm>
            <a:custGeom>
              <a:avLst/>
              <a:gdLst>
                <a:gd name="T0" fmla="*/ 2147483647 w 100"/>
                <a:gd name="T1" fmla="*/ 0 h 43"/>
                <a:gd name="T2" fmla="*/ 2147483647 w 100"/>
                <a:gd name="T3" fmla="*/ 2147483647 h 43"/>
                <a:gd name="T4" fmla="*/ 2147483647 w 100"/>
                <a:gd name="T5" fmla="*/ 2147483647 h 43"/>
                <a:gd name="T6" fmla="*/ 2147483647 w 100"/>
                <a:gd name="T7" fmla="*/ 2147483647 h 43"/>
                <a:gd name="T8" fmla="*/ 2147483647 w 100"/>
                <a:gd name="T9" fmla="*/ 2147483647 h 43"/>
                <a:gd name="T10" fmla="*/ 2147483647 w 100"/>
                <a:gd name="T11" fmla="*/ 2147483647 h 43"/>
                <a:gd name="T12" fmla="*/ 2147483647 w 100"/>
                <a:gd name="T13" fmla="*/ 2147483647 h 43"/>
                <a:gd name="T14" fmla="*/ 2147483647 w 100"/>
                <a:gd name="T15" fmla="*/ 2147483647 h 43"/>
                <a:gd name="T16" fmla="*/ 2147483647 w 100"/>
                <a:gd name="T17" fmla="*/ 2147483647 h 43"/>
                <a:gd name="T18" fmla="*/ 2147483647 w 100"/>
                <a:gd name="T19" fmla="*/ 2147483647 h 43"/>
                <a:gd name="T20" fmla="*/ 2147483647 w 100"/>
                <a:gd name="T21" fmla="*/ 2147483647 h 43"/>
                <a:gd name="T22" fmla="*/ 2147483647 w 100"/>
                <a:gd name="T23" fmla="*/ 2147483647 h 43"/>
                <a:gd name="T24" fmla="*/ 2147483647 w 100"/>
                <a:gd name="T25" fmla="*/ 2147483647 h 43"/>
                <a:gd name="T26" fmla="*/ 2147483647 w 100"/>
                <a:gd name="T27" fmla="*/ 2147483647 h 43"/>
                <a:gd name="T28" fmla="*/ 2147483647 w 100"/>
                <a:gd name="T29" fmla="*/ 2147483647 h 43"/>
                <a:gd name="T30" fmla="*/ 2147483647 w 100"/>
                <a:gd name="T31" fmla="*/ 2147483647 h 43"/>
                <a:gd name="T32" fmla="*/ 2147483647 w 100"/>
                <a:gd name="T33" fmla="*/ 2147483647 h 43"/>
                <a:gd name="T34" fmla="*/ 2147483647 w 100"/>
                <a:gd name="T35" fmla="*/ 2147483647 h 43"/>
                <a:gd name="T36" fmla="*/ 0 w 100"/>
                <a:gd name="T37" fmla="*/ 2147483647 h 43"/>
                <a:gd name="T38" fmla="*/ 2147483647 w 100"/>
                <a:gd name="T39" fmla="*/ 2147483647 h 43"/>
                <a:gd name="T40" fmla="*/ 2147483647 w 100"/>
                <a:gd name="T41" fmla="*/ 0 h 43"/>
                <a:gd name="T42" fmla="*/ 2147483647 w 100"/>
                <a:gd name="T43" fmla="*/ 0 h 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0"/>
                <a:gd name="T67" fmla="*/ 0 h 43"/>
                <a:gd name="T68" fmla="*/ 100 w 100"/>
                <a:gd name="T69" fmla="*/ 43 h 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0" h="43">
                  <a:moveTo>
                    <a:pt x="18" y="0"/>
                  </a:moveTo>
                  <a:lnTo>
                    <a:pt x="36" y="2"/>
                  </a:lnTo>
                  <a:lnTo>
                    <a:pt x="55" y="5"/>
                  </a:lnTo>
                  <a:lnTo>
                    <a:pt x="71" y="8"/>
                  </a:lnTo>
                  <a:lnTo>
                    <a:pt x="85" y="13"/>
                  </a:lnTo>
                  <a:lnTo>
                    <a:pt x="96" y="19"/>
                  </a:lnTo>
                  <a:lnTo>
                    <a:pt x="100" y="27"/>
                  </a:lnTo>
                  <a:lnTo>
                    <a:pt x="97" y="34"/>
                  </a:lnTo>
                  <a:lnTo>
                    <a:pt x="89" y="38"/>
                  </a:lnTo>
                  <a:lnTo>
                    <a:pt x="75" y="40"/>
                  </a:lnTo>
                  <a:lnTo>
                    <a:pt x="60" y="43"/>
                  </a:lnTo>
                  <a:lnTo>
                    <a:pt x="44" y="42"/>
                  </a:lnTo>
                  <a:lnTo>
                    <a:pt x="26" y="40"/>
                  </a:lnTo>
                  <a:lnTo>
                    <a:pt x="11" y="36"/>
                  </a:lnTo>
                  <a:lnTo>
                    <a:pt x="10" y="34"/>
                  </a:lnTo>
                  <a:lnTo>
                    <a:pt x="7" y="30"/>
                  </a:lnTo>
                  <a:lnTo>
                    <a:pt x="4" y="23"/>
                  </a:lnTo>
                  <a:lnTo>
                    <a:pt x="2" y="16"/>
                  </a:lnTo>
                  <a:lnTo>
                    <a:pt x="0" y="9"/>
                  </a:lnTo>
                  <a:lnTo>
                    <a:pt x="2" y="4"/>
                  </a:lnTo>
                  <a:lnTo>
                    <a:pt x="7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4" name="Freeform 2783"/>
            <p:cNvSpPr>
              <a:spLocks/>
            </p:cNvSpPr>
            <p:nvPr/>
          </p:nvSpPr>
          <p:spPr bwMode="auto">
            <a:xfrm rot="1114411" flipH="1">
              <a:off x="1279938" y="4446311"/>
              <a:ext cx="48961" cy="57307"/>
            </a:xfrm>
            <a:custGeom>
              <a:avLst/>
              <a:gdLst>
                <a:gd name="T0" fmla="*/ 2147483647 w 88"/>
                <a:gd name="T1" fmla="*/ 0 h 103"/>
                <a:gd name="T2" fmla="*/ 2147483647 w 88"/>
                <a:gd name="T3" fmla="*/ 2147483647 h 103"/>
                <a:gd name="T4" fmla="*/ 2147483647 w 88"/>
                <a:gd name="T5" fmla="*/ 2147483647 h 103"/>
                <a:gd name="T6" fmla="*/ 2147483647 w 88"/>
                <a:gd name="T7" fmla="*/ 2147483647 h 103"/>
                <a:gd name="T8" fmla="*/ 2147483647 w 88"/>
                <a:gd name="T9" fmla="*/ 2147483647 h 103"/>
                <a:gd name="T10" fmla="*/ 2147483647 w 88"/>
                <a:gd name="T11" fmla="*/ 2147483647 h 103"/>
                <a:gd name="T12" fmla="*/ 2147483647 w 88"/>
                <a:gd name="T13" fmla="*/ 2147483647 h 103"/>
                <a:gd name="T14" fmla="*/ 2147483647 w 88"/>
                <a:gd name="T15" fmla="*/ 2147483647 h 103"/>
                <a:gd name="T16" fmla="*/ 2147483647 w 88"/>
                <a:gd name="T17" fmla="*/ 2147483647 h 103"/>
                <a:gd name="T18" fmla="*/ 2147483647 w 88"/>
                <a:gd name="T19" fmla="*/ 2147483647 h 103"/>
                <a:gd name="T20" fmla="*/ 2147483647 w 88"/>
                <a:gd name="T21" fmla="*/ 2147483647 h 103"/>
                <a:gd name="T22" fmla="*/ 2147483647 w 88"/>
                <a:gd name="T23" fmla="*/ 2147483647 h 103"/>
                <a:gd name="T24" fmla="*/ 2147483647 w 88"/>
                <a:gd name="T25" fmla="*/ 2147483647 h 103"/>
                <a:gd name="T26" fmla="*/ 2147483647 w 88"/>
                <a:gd name="T27" fmla="*/ 2147483647 h 103"/>
                <a:gd name="T28" fmla="*/ 2147483647 w 88"/>
                <a:gd name="T29" fmla="*/ 2147483647 h 103"/>
                <a:gd name="T30" fmla="*/ 2147483647 w 88"/>
                <a:gd name="T31" fmla="*/ 2147483647 h 103"/>
                <a:gd name="T32" fmla="*/ 2147483647 w 88"/>
                <a:gd name="T33" fmla="*/ 2147483647 h 103"/>
                <a:gd name="T34" fmla="*/ 2147483647 w 88"/>
                <a:gd name="T35" fmla="*/ 2147483647 h 103"/>
                <a:gd name="T36" fmla="*/ 2147483647 w 88"/>
                <a:gd name="T37" fmla="*/ 2147483647 h 103"/>
                <a:gd name="T38" fmla="*/ 2147483647 w 88"/>
                <a:gd name="T39" fmla="*/ 2147483647 h 103"/>
                <a:gd name="T40" fmla="*/ 2147483647 w 88"/>
                <a:gd name="T41" fmla="*/ 2147483647 h 103"/>
                <a:gd name="T42" fmla="*/ 2147483647 w 88"/>
                <a:gd name="T43" fmla="*/ 2147483647 h 103"/>
                <a:gd name="T44" fmla="*/ 2147483647 w 88"/>
                <a:gd name="T45" fmla="*/ 2147483647 h 103"/>
                <a:gd name="T46" fmla="*/ 2147483647 w 88"/>
                <a:gd name="T47" fmla="*/ 2147483647 h 103"/>
                <a:gd name="T48" fmla="*/ 2147483647 w 88"/>
                <a:gd name="T49" fmla="*/ 2147483647 h 103"/>
                <a:gd name="T50" fmla="*/ 2147483647 w 88"/>
                <a:gd name="T51" fmla="*/ 2147483647 h 103"/>
                <a:gd name="T52" fmla="*/ 2147483647 w 88"/>
                <a:gd name="T53" fmla="*/ 2147483647 h 103"/>
                <a:gd name="T54" fmla="*/ 2147483647 w 88"/>
                <a:gd name="T55" fmla="*/ 2147483647 h 103"/>
                <a:gd name="T56" fmla="*/ 2147483647 w 88"/>
                <a:gd name="T57" fmla="*/ 2147483647 h 103"/>
                <a:gd name="T58" fmla="*/ 2147483647 w 88"/>
                <a:gd name="T59" fmla="*/ 2147483647 h 103"/>
                <a:gd name="T60" fmla="*/ 0 w 88"/>
                <a:gd name="T61" fmla="*/ 2147483647 h 103"/>
                <a:gd name="T62" fmla="*/ 2147483647 w 88"/>
                <a:gd name="T63" fmla="*/ 2147483647 h 103"/>
                <a:gd name="T64" fmla="*/ 2147483647 w 88"/>
                <a:gd name="T65" fmla="*/ 2147483647 h 103"/>
                <a:gd name="T66" fmla="*/ 2147483647 w 88"/>
                <a:gd name="T67" fmla="*/ 2147483647 h 103"/>
                <a:gd name="T68" fmla="*/ 2147483647 w 88"/>
                <a:gd name="T69" fmla="*/ 2147483647 h 103"/>
                <a:gd name="T70" fmla="*/ 2147483647 w 88"/>
                <a:gd name="T71" fmla="*/ 2147483647 h 103"/>
                <a:gd name="T72" fmla="*/ 2147483647 w 88"/>
                <a:gd name="T73" fmla="*/ 0 h 10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8"/>
                <a:gd name="T112" fmla="*/ 0 h 103"/>
                <a:gd name="T113" fmla="*/ 88 w 88"/>
                <a:gd name="T114" fmla="*/ 103 h 10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8" h="103">
                  <a:moveTo>
                    <a:pt x="37" y="0"/>
                  </a:moveTo>
                  <a:lnTo>
                    <a:pt x="48" y="4"/>
                  </a:lnTo>
                  <a:lnTo>
                    <a:pt x="59" y="9"/>
                  </a:lnTo>
                  <a:lnTo>
                    <a:pt x="69" y="17"/>
                  </a:lnTo>
                  <a:lnTo>
                    <a:pt x="77" y="26"/>
                  </a:lnTo>
                  <a:lnTo>
                    <a:pt x="84" y="35"/>
                  </a:lnTo>
                  <a:lnTo>
                    <a:pt x="85" y="42"/>
                  </a:lnTo>
                  <a:lnTo>
                    <a:pt x="86" y="50"/>
                  </a:lnTo>
                  <a:lnTo>
                    <a:pt x="88" y="60"/>
                  </a:lnTo>
                  <a:lnTo>
                    <a:pt x="86" y="69"/>
                  </a:lnTo>
                  <a:lnTo>
                    <a:pt x="84" y="76"/>
                  </a:lnTo>
                  <a:lnTo>
                    <a:pt x="75" y="84"/>
                  </a:lnTo>
                  <a:lnTo>
                    <a:pt x="64" y="91"/>
                  </a:lnTo>
                  <a:lnTo>
                    <a:pt x="54" y="98"/>
                  </a:lnTo>
                  <a:lnTo>
                    <a:pt x="43" y="102"/>
                  </a:lnTo>
                  <a:lnTo>
                    <a:pt x="36" y="103"/>
                  </a:lnTo>
                  <a:lnTo>
                    <a:pt x="30" y="99"/>
                  </a:lnTo>
                  <a:lnTo>
                    <a:pt x="26" y="92"/>
                  </a:lnTo>
                  <a:lnTo>
                    <a:pt x="25" y="81"/>
                  </a:lnTo>
                  <a:lnTo>
                    <a:pt x="22" y="71"/>
                  </a:lnTo>
                  <a:lnTo>
                    <a:pt x="22" y="61"/>
                  </a:lnTo>
                  <a:lnTo>
                    <a:pt x="21" y="57"/>
                  </a:lnTo>
                  <a:lnTo>
                    <a:pt x="19" y="54"/>
                  </a:lnTo>
                  <a:lnTo>
                    <a:pt x="17" y="53"/>
                  </a:lnTo>
                  <a:lnTo>
                    <a:pt x="15" y="51"/>
                  </a:lnTo>
                  <a:lnTo>
                    <a:pt x="13" y="50"/>
                  </a:lnTo>
                  <a:lnTo>
                    <a:pt x="10" y="50"/>
                  </a:lnTo>
                  <a:lnTo>
                    <a:pt x="7" y="49"/>
                  </a:lnTo>
                  <a:lnTo>
                    <a:pt x="4" y="47"/>
                  </a:lnTo>
                  <a:lnTo>
                    <a:pt x="2" y="43"/>
                  </a:lnTo>
                  <a:lnTo>
                    <a:pt x="0" y="39"/>
                  </a:lnTo>
                  <a:lnTo>
                    <a:pt x="2" y="31"/>
                  </a:lnTo>
                  <a:lnTo>
                    <a:pt x="7" y="21"/>
                  </a:lnTo>
                  <a:lnTo>
                    <a:pt x="17" y="13"/>
                  </a:lnTo>
                  <a:lnTo>
                    <a:pt x="26" y="6"/>
                  </a:lnTo>
                  <a:lnTo>
                    <a:pt x="34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5" name="Freeform 2784"/>
            <p:cNvSpPr>
              <a:spLocks/>
            </p:cNvSpPr>
            <p:nvPr/>
          </p:nvSpPr>
          <p:spPr bwMode="auto">
            <a:xfrm rot="1114411" flipH="1">
              <a:off x="1559101" y="4445415"/>
              <a:ext cx="47848" cy="56750"/>
            </a:xfrm>
            <a:custGeom>
              <a:avLst/>
              <a:gdLst>
                <a:gd name="T0" fmla="*/ 2147483647 w 86"/>
                <a:gd name="T1" fmla="*/ 0 h 102"/>
                <a:gd name="T2" fmla="*/ 2147483647 w 86"/>
                <a:gd name="T3" fmla="*/ 2147483647 h 102"/>
                <a:gd name="T4" fmla="*/ 2147483647 w 86"/>
                <a:gd name="T5" fmla="*/ 2147483647 h 102"/>
                <a:gd name="T6" fmla="*/ 2147483647 w 86"/>
                <a:gd name="T7" fmla="*/ 2147483647 h 102"/>
                <a:gd name="T8" fmla="*/ 2147483647 w 86"/>
                <a:gd name="T9" fmla="*/ 2147483647 h 102"/>
                <a:gd name="T10" fmla="*/ 2147483647 w 86"/>
                <a:gd name="T11" fmla="*/ 2147483647 h 102"/>
                <a:gd name="T12" fmla="*/ 2147483647 w 86"/>
                <a:gd name="T13" fmla="*/ 2147483647 h 102"/>
                <a:gd name="T14" fmla="*/ 2147483647 w 86"/>
                <a:gd name="T15" fmla="*/ 2147483647 h 102"/>
                <a:gd name="T16" fmla="*/ 2147483647 w 86"/>
                <a:gd name="T17" fmla="*/ 2147483647 h 102"/>
                <a:gd name="T18" fmla="*/ 2147483647 w 86"/>
                <a:gd name="T19" fmla="*/ 2147483647 h 102"/>
                <a:gd name="T20" fmla="*/ 2147483647 w 86"/>
                <a:gd name="T21" fmla="*/ 2147483647 h 102"/>
                <a:gd name="T22" fmla="*/ 2147483647 w 86"/>
                <a:gd name="T23" fmla="*/ 2147483647 h 102"/>
                <a:gd name="T24" fmla="*/ 2147483647 w 86"/>
                <a:gd name="T25" fmla="*/ 2147483647 h 102"/>
                <a:gd name="T26" fmla="*/ 2147483647 w 86"/>
                <a:gd name="T27" fmla="*/ 2147483647 h 102"/>
                <a:gd name="T28" fmla="*/ 2147483647 w 86"/>
                <a:gd name="T29" fmla="*/ 2147483647 h 102"/>
                <a:gd name="T30" fmla="*/ 2147483647 w 86"/>
                <a:gd name="T31" fmla="*/ 2147483647 h 102"/>
                <a:gd name="T32" fmla="*/ 2147483647 w 86"/>
                <a:gd name="T33" fmla="*/ 2147483647 h 102"/>
                <a:gd name="T34" fmla="*/ 2147483647 w 86"/>
                <a:gd name="T35" fmla="*/ 2147483647 h 102"/>
                <a:gd name="T36" fmla="*/ 2147483647 w 86"/>
                <a:gd name="T37" fmla="*/ 2147483647 h 102"/>
                <a:gd name="T38" fmla="*/ 2147483647 w 86"/>
                <a:gd name="T39" fmla="*/ 2147483647 h 102"/>
                <a:gd name="T40" fmla="*/ 2147483647 w 86"/>
                <a:gd name="T41" fmla="*/ 2147483647 h 102"/>
                <a:gd name="T42" fmla="*/ 2147483647 w 86"/>
                <a:gd name="T43" fmla="*/ 2147483647 h 102"/>
                <a:gd name="T44" fmla="*/ 2147483647 w 86"/>
                <a:gd name="T45" fmla="*/ 2147483647 h 102"/>
                <a:gd name="T46" fmla="*/ 2147483647 w 86"/>
                <a:gd name="T47" fmla="*/ 2147483647 h 102"/>
                <a:gd name="T48" fmla="*/ 2147483647 w 86"/>
                <a:gd name="T49" fmla="*/ 2147483647 h 102"/>
                <a:gd name="T50" fmla="*/ 2147483647 w 86"/>
                <a:gd name="T51" fmla="*/ 2147483647 h 102"/>
                <a:gd name="T52" fmla="*/ 2147483647 w 86"/>
                <a:gd name="T53" fmla="*/ 2147483647 h 102"/>
                <a:gd name="T54" fmla="*/ 2147483647 w 86"/>
                <a:gd name="T55" fmla="*/ 2147483647 h 102"/>
                <a:gd name="T56" fmla="*/ 2147483647 w 86"/>
                <a:gd name="T57" fmla="*/ 2147483647 h 102"/>
                <a:gd name="T58" fmla="*/ 2147483647 w 86"/>
                <a:gd name="T59" fmla="*/ 2147483647 h 102"/>
                <a:gd name="T60" fmla="*/ 0 w 86"/>
                <a:gd name="T61" fmla="*/ 2147483647 h 102"/>
                <a:gd name="T62" fmla="*/ 0 w 86"/>
                <a:gd name="T63" fmla="*/ 2147483647 h 102"/>
                <a:gd name="T64" fmla="*/ 2147483647 w 86"/>
                <a:gd name="T65" fmla="*/ 2147483647 h 102"/>
                <a:gd name="T66" fmla="*/ 2147483647 w 86"/>
                <a:gd name="T67" fmla="*/ 2147483647 h 102"/>
                <a:gd name="T68" fmla="*/ 2147483647 w 86"/>
                <a:gd name="T69" fmla="*/ 2147483647 h 102"/>
                <a:gd name="T70" fmla="*/ 2147483647 w 86"/>
                <a:gd name="T71" fmla="*/ 2147483647 h 102"/>
                <a:gd name="T72" fmla="*/ 2147483647 w 86"/>
                <a:gd name="T73" fmla="*/ 0 h 10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102"/>
                <a:gd name="T113" fmla="*/ 86 w 86"/>
                <a:gd name="T114" fmla="*/ 102 h 10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102">
                  <a:moveTo>
                    <a:pt x="37" y="0"/>
                  </a:moveTo>
                  <a:lnTo>
                    <a:pt x="48" y="2"/>
                  </a:lnTo>
                  <a:lnTo>
                    <a:pt x="59" y="8"/>
                  </a:lnTo>
                  <a:lnTo>
                    <a:pt x="68" y="16"/>
                  </a:lnTo>
                  <a:lnTo>
                    <a:pt x="77" y="26"/>
                  </a:lnTo>
                  <a:lnTo>
                    <a:pt x="82" y="34"/>
                  </a:lnTo>
                  <a:lnTo>
                    <a:pt x="83" y="41"/>
                  </a:lnTo>
                  <a:lnTo>
                    <a:pt x="85" y="49"/>
                  </a:lnTo>
                  <a:lnTo>
                    <a:pt x="86" y="58"/>
                  </a:lnTo>
                  <a:lnTo>
                    <a:pt x="86" y="68"/>
                  </a:lnTo>
                  <a:lnTo>
                    <a:pt x="82" y="75"/>
                  </a:lnTo>
                  <a:lnTo>
                    <a:pt x="74" y="83"/>
                  </a:lnTo>
                  <a:lnTo>
                    <a:pt x="63" y="90"/>
                  </a:lnTo>
                  <a:lnTo>
                    <a:pt x="52" y="97"/>
                  </a:lnTo>
                  <a:lnTo>
                    <a:pt x="42" y="101"/>
                  </a:lnTo>
                  <a:lnTo>
                    <a:pt x="34" y="102"/>
                  </a:lnTo>
                  <a:lnTo>
                    <a:pt x="29" y="98"/>
                  </a:lnTo>
                  <a:lnTo>
                    <a:pt x="26" y="91"/>
                  </a:lnTo>
                  <a:lnTo>
                    <a:pt x="23" y="80"/>
                  </a:lnTo>
                  <a:lnTo>
                    <a:pt x="22" y="69"/>
                  </a:lnTo>
                  <a:lnTo>
                    <a:pt x="21" y="60"/>
                  </a:lnTo>
                  <a:lnTo>
                    <a:pt x="19" y="56"/>
                  </a:lnTo>
                  <a:lnTo>
                    <a:pt x="18" y="53"/>
                  </a:lnTo>
                  <a:lnTo>
                    <a:pt x="17" y="51"/>
                  </a:lnTo>
                  <a:lnTo>
                    <a:pt x="14" y="50"/>
                  </a:lnTo>
                  <a:lnTo>
                    <a:pt x="11" y="50"/>
                  </a:lnTo>
                  <a:lnTo>
                    <a:pt x="8" y="49"/>
                  </a:lnTo>
                  <a:lnTo>
                    <a:pt x="6" y="47"/>
                  </a:lnTo>
                  <a:lnTo>
                    <a:pt x="3" y="46"/>
                  </a:lnTo>
                  <a:lnTo>
                    <a:pt x="2" y="43"/>
                  </a:lnTo>
                  <a:lnTo>
                    <a:pt x="0" y="38"/>
                  </a:lnTo>
                  <a:lnTo>
                    <a:pt x="0" y="30"/>
                  </a:lnTo>
                  <a:lnTo>
                    <a:pt x="7" y="20"/>
                  </a:lnTo>
                  <a:lnTo>
                    <a:pt x="17" y="12"/>
                  </a:lnTo>
                  <a:lnTo>
                    <a:pt x="26" y="6"/>
                  </a:lnTo>
                  <a:lnTo>
                    <a:pt x="33" y="1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6" name="Freeform 2785"/>
            <p:cNvSpPr>
              <a:spLocks/>
            </p:cNvSpPr>
            <p:nvPr/>
          </p:nvSpPr>
          <p:spPr bwMode="auto">
            <a:xfrm rot="1114411" flipH="1">
              <a:off x="1828106" y="4413706"/>
              <a:ext cx="47848" cy="56194"/>
            </a:xfrm>
            <a:custGeom>
              <a:avLst/>
              <a:gdLst>
                <a:gd name="T0" fmla="*/ 2147483647 w 86"/>
                <a:gd name="T1" fmla="*/ 0 h 101"/>
                <a:gd name="T2" fmla="*/ 2147483647 w 86"/>
                <a:gd name="T3" fmla="*/ 2147483647 h 101"/>
                <a:gd name="T4" fmla="*/ 2147483647 w 86"/>
                <a:gd name="T5" fmla="*/ 2147483647 h 101"/>
                <a:gd name="T6" fmla="*/ 2147483647 w 86"/>
                <a:gd name="T7" fmla="*/ 2147483647 h 101"/>
                <a:gd name="T8" fmla="*/ 2147483647 w 86"/>
                <a:gd name="T9" fmla="*/ 2147483647 h 101"/>
                <a:gd name="T10" fmla="*/ 2147483647 w 86"/>
                <a:gd name="T11" fmla="*/ 2147483647 h 101"/>
                <a:gd name="T12" fmla="*/ 2147483647 w 86"/>
                <a:gd name="T13" fmla="*/ 2147483647 h 101"/>
                <a:gd name="T14" fmla="*/ 2147483647 w 86"/>
                <a:gd name="T15" fmla="*/ 2147483647 h 101"/>
                <a:gd name="T16" fmla="*/ 2147483647 w 86"/>
                <a:gd name="T17" fmla="*/ 2147483647 h 101"/>
                <a:gd name="T18" fmla="*/ 2147483647 w 86"/>
                <a:gd name="T19" fmla="*/ 2147483647 h 101"/>
                <a:gd name="T20" fmla="*/ 2147483647 w 86"/>
                <a:gd name="T21" fmla="*/ 2147483647 h 101"/>
                <a:gd name="T22" fmla="*/ 2147483647 w 86"/>
                <a:gd name="T23" fmla="*/ 2147483647 h 101"/>
                <a:gd name="T24" fmla="*/ 2147483647 w 86"/>
                <a:gd name="T25" fmla="*/ 2147483647 h 101"/>
                <a:gd name="T26" fmla="*/ 2147483647 w 86"/>
                <a:gd name="T27" fmla="*/ 2147483647 h 101"/>
                <a:gd name="T28" fmla="*/ 2147483647 w 86"/>
                <a:gd name="T29" fmla="*/ 2147483647 h 101"/>
                <a:gd name="T30" fmla="*/ 2147483647 w 86"/>
                <a:gd name="T31" fmla="*/ 2147483647 h 101"/>
                <a:gd name="T32" fmla="*/ 2147483647 w 86"/>
                <a:gd name="T33" fmla="*/ 2147483647 h 101"/>
                <a:gd name="T34" fmla="*/ 2147483647 w 86"/>
                <a:gd name="T35" fmla="*/ 2147483647 h 101"/>
                <a:gd name="T36" fmla="*/ 2147483647 w 86"/>
                <a:gd name="T37" fmla="*/ 2147483647 h 101"/>
                <a:gd name="T38" fmla="*/ 2147483647 w 86"/>
                <a:gd name="T39" fmla="*/ 2147483647 h 101"/>
                <a:gd name="T40" fmla="*/ 2147483647 w 86"/>
                <a:gd name="T41" fmla="*/ 2147483647 h 101"/>
                <a:gd name="T42" fmla="*/ 2147483647 w 86"/>
                <a:gd name="T43" fmla="*/ 2147483647 h 101"/>
                <a:gd name="T44" fmla="*/ 2147483647 w 86"/>
                <a:gd name="T45" fmla="*/ 2147483647 h 101"/>
                <a:gd name="T46" fmla="*/ 2147483647 w 86"/>
                <a:gd name="T47" fmla="*/ 2147483647 h 101"/>
                <a:gd name="T48" fmla="*/ 2147483647 w 86"/>
                <a:gd name="T49" fmla="*/ 2147483647 h 101"/>
                <a:gd name="T50" fmla="*/ 2147483647 w 86"/>
                <a:gd name="T51" fmla="*/ 2147483647 h 101"/>
                <a:gd name="T52" fmla="*/ 2147483647 w 86"/>
                <a:gd name="T53" fmla="*/ 2147483647 h 101"/>
                <a:gd name="T54" fmla="*/ 2147483647 w 86"/>
                <a:gd name="T55" fmla="*/ 2147483647 h 101"/>
                <a:gd name="T56" fmla="*/ 2147483647 w 86"/>
                <a:gd name="T57" fmla="*/ 2147483647 h 101"/>
                <a:gd name="T58" fmla="*/ 2147483647 w 86"/>
                <a:gd name="T59" fmla="*/ 2147483647 h 101"/>
                <a:gd name="T60" fmla="*/ 0 w 86"/>
                <a:gd name="T61" fmla="*/ 2147483647 h 101"/>
                <a:gd name="T62" fmla="*/ 2147483647 w 86"/>
                <a:gd name="T63" fmla="*/ 2147483647 h 101"/>
                <a:gd name="T64" fmla="*/ 2147483647 w 86"/>
                <a:gd name="T65" fmla="*/ 2147483647 h 101"/>
                <a:gd name="T66" fmla="*/ 2147483647 w 86"/>
                <a:gd name="T67" fmla="*/ 2147483647 h 101"/>
                <a:gd name="T68" fmla="*/ 2147483647 w 86"/>
                <a:gd name="T69" fmla="*/ 2147483647 h 101"/>
                <a:gd name="T70" fmla="*/ 2147483647 w 86"/>
                <a:gd name="T71" fmla="*/ 2147483647 h 101"/>
                <a:gd name="T72" fmla="*/ 2147483647 w 86"/>
                <a:gd name="T73" fmla="*/ 0 h 10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101"/>
                <a:gd name="T113" fmla="*/ 86 w 86"/>
                <a:gd name="T114" fmla="*/ 101 h 10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101">
                  <a:moveTo>
                    <a:pt x="37" y="0"/>
                  </a:moveTo>
                  <a:lnTo>
                    <a:pt x="47" y="2"/>
                  </a:lnTo>
                  <a:lnTo>
                    <a:pt x="58" y="7"/>
                  </a:lnTo>
                  <a:lnTo>
                    <a:pt x="68" y="15"/>
                  </a:lnTo>
                  <a:lnTo>
                    <a:pt x="76" y="25"/>
                  </a:lnTo>
                  <a:lnTo>
                    <a:pt x="82" y="33"/>
                  </a:lnTo>
                  <a:lnTo>
                    <a:pt x="84" y="40"/>
                  </a:lnTo>
                  <a:lnTo>
                    <a:pt x="84" y="49"/>
                  </a:lnTo>
                  <a:lnTo>
                    <a:pt x="86" y="58"/>
                  </a:lnTo>
                  <a:lnTo>
                    <a:pt x="86" y="69"/>
                  </a:lnTo>
                  <a:lnTo>
                    <a:pt x="82" y="75"/>
                  </a:lnTo>
                  <a:lnTo>
                    <a:pt x="73" y="82"/>
                  </a:lnTo>
                  <a:lnTo>
                    <a:pt x="64" y="90"/>
                  </a:lnTo>
                  <a:lnTo>
                    <a:pt x="52" y="97"/>
                  </a:lnTo>
                  <a:lnTo>
                    <a:pt x="42" y="101"/>
                  </a:lnTo>
                  <a:lnTo>
                    <a:pt x="35" y="101"/>
                  </a:lnTo>
                  <a:lnTo>
                    <a:pt x="30" y="99"/>
                  </a:lnTo>
                  <a:lnTo>
                    <a:pt x="26" y="90"/>
                  </a:lnTo>
                  <a:lnTo>
                    <a:pt x="23" y="81"/>
                  </a:lnTo>
                  <a:lnTo>
                    <a:pt x="22" y="70"/>
                  </a:lnTo>
                  <a:lnTo>
                    <a:pt x="20" y="59"/>
                  </a:lnTo>
                  <a:lnTo>
                    <a:pt x="20" y="55"/>
                  </a:lnTo>
                  <a:lnTo>
                    <a:pt x="19" y="53"/>
                  </a:lnTo>
                  <a:lnTo>
                    <a:pt x="16" y="51"/>
                  </a:lnTo>
                  <a:lnTo>
                    <a:pt x="13" y="51"/>
                  </a:lnTo>
                  <a:lnTo>
                    <a:pt x="12" y="49"/>
                  </a:lnTo>
                  <a:lnTo>
                    <a:pt x="9" y="49"/>
                  </a:lnTo>
                  <a:lnTo>
                    <a:pt x="7" y="48"/>
                  </a:lnTo>
                  <a:lnTo>
                    <a:pt x="4" y="45"/>
                  </a:lnTo>
                  <a:lnTo>
                    <a:pt x="1" y="43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7" y="21"/>
                  </a:lnTo>
                  <a:lnTo>
                    <a:pt x="16" y="13"/>
                  </a:lnTo>
                  <a:lnTo>
                    <a:pt x="26" y="6"/>
                  </a:lnTo>
                  <a:lnTo>
                    <a:pt x="34" y="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7" name="Freeform 2786"/>
            <p:cNvSpPr>
              <a:spLocks/>
            </p:cNvSpPr>
            <p:nvPr/>
          </p:nvSpPr>
          <p:spPr bwMode="auto">
            <a:xfrm rot="1114411" flipH="1">
              <a:off x="2069395" y="4346890"/>
              <a:ext cx="47848" cy="56750"/>
            </a:xfrm>
            <a:custGeom>
              <a:avLst/>
              <a:gdLst>
                <a:gd name="T0" fmla="*/ 2147483647 w 86"/>
                <a:gd name="T1" fmla="*/ 0 h 102"/>
                <a:gd name="T2" fmla="*/ 2147483647 w 86"/>
                <a:gd name="T3" fmla="*/ 2147483647 h 102"/>
                <a:gd name="T4" fmla="*/ 2147483647 w 86"/>
                <a:gd name="T5" fmla="*/ 2147483647 h 102"/>
                <a:gd name="T6" fmla="*/ 2147483647 w 86"/>
                <a:gd name="T7" fmla="*/ 2147483647 h 102"/>
                <a:gd name="T8" fmla="*/ 2147483647 w 86"/>
                <a:gd name="T9" fmla="*/ 2147483647 h 102"/>
                <a:gd name="T10" fmla="*/ 2147483647 w 86"/>
                <a:gd name="T11" fmla="*/ 2147483647 h 102"/>
                <a:gd name="T12" fmla="*/ 2147483647 w 86"/>
                <a:gd name="T13" fmla="*/ 2147483647 h 102"/>
                <a:gd name="T14" fmla="*/ 2147483647 w 86"/>
                <a:gd name="T15" fmla="*/ 2147483647 h 102"/>
                <a:gd name="T16" fmla="*/ 2147483647 w 86"/>
                <a:gd name="T17" fmla="*/ 2147483647 h 102"/>
                <a:gd name="T18" fmla="*/ 2147483647 w 86"/>
                <a:gd name="T19" fmla="*/ 2147483647 h 102"/>
                <a:gd name="T20" fmla="*/ 2147483647 w 86"/>
                <a:gd name="T21" fmla="*/ 2147483647 h 102"/>
                <a:gd name="T22" fmla="*/ 2147483647 w 86"/>
                <a:gd name="T23" fmla="*/ 2147483647 h 102"/>
                <a:gd name="T24" fmla="*/ 2147483647 w 86"/>
                <a:gd name="T25" fmla="*/ 2147483647 h 102"/>
                <a:gd name="T26" fmla="*/ 2147483647 w 86"/>
                <a:gd name="T27" fmla="*/ 2147483647 h 102"/>
                <a:gd name="T28" fmla="*/ 2147483647 w 86"/>
                <a:gd name="T29" fmla="*/ 2147483647 h 102"/>
                <a:gd name="T30" fmla="*/ 2147483647 w 86"/>
                <a:gd name="T31" fmla="*/ 2147483647 h 102"/>
                <a:gd name="T32" fmla="*/ 2147483647 w 86"/>
                <a:gd name="T33" fmla="*/ 2147483647 h 102"/>
                <a:gd name="T34" fmla="*/ 2147483647 w 86"/>
                <a:gd name="T35" fmla="*/ 2147483647 h 102"/>
                <a:gd name="T36" fmla="*/ 2147483647 w 86"/>
                <a:gd name="T37" fmla="*/ 2147483647 h 102"/>
                <a:gd name="T38" fmla="*/ 2147483647 w 86"/>
                <a:gd name="T39" fmla="*/ 2147483647 h 102"/>
                <a:gd name="T40" fmla="*/ 2147483647 w 86"/>
                <a:gd name="T41" fmla="*/ 2147483647 h 102"/>
                <a:gd name="T42" fmla="*/ 2147483647 w 86"/>
                <a:gd name="T43" fmla="*/ 2147483647 h 102"/>
                <a:gd name="T44" fmla="*/ 2147483647 w 86"/>
                <a:gd name="T45" fmla="*/ 2147483647 h 102"/>
                <a:gd name="T46" fmla="*/ 2147483647 w 86"/>
                <a:gd name="T47" fmla="*/ 2147483647 h 102"/>
                <a:gd name="T48" fmla="*/ 2147483647 w 86"/>
                <a:gd name="T49" fmla="*/ 2147483647 h 102"/>
                <a:gd name="T50" fmla="*/ 2147483647 w 86"/>
                <a:gd name="T51" fmla="*/ 2147483647 h 102"/>
                <a:gd name="T52" fmla="*/ 2147483647 w 86"/>
                <a:gd name="T53" fmla="*/ 2147483647 h 102"/>
                <a:gd name="T54" fmla="*/ 2147483647 w 86"/>
                <a:gd name="T55" fmla="*/ 2147483647 h 102"/>
                <a:gd name="T56" fmla="*/ 2147483647 w 86"/>
                <a:gd name="T57" fmla="*/ 2147483647 h 102"/>
                <a:gd name="T58" fmla="*/ 2147483647 w 86"/>
                <a:gd name="T59" fmla="*/ 2147483647 h 102"/>
                <a:gd name="T60" fmla="*/ 0 w 86"/>
                <a:gd name="T61" fmla="*/ 2147483647 h 102"/>
                <a:gd name="T62" fmla="*/ 2147483647 w 86"/>
                <a:gd name="T63" fmla="*/ 2147483647 h 102"/>
                <a:gd name="T64" fmla="*/ 2147483647 w 86"/>
                <a:gd name="T65" fmla="*/ 2147483647 h 102"/>
                <a:gd name="T66" fmla="*/ 2147483647 w 86"/>
                <a:gd name="T67" fmla="*/ 2147483647 h 102"/>
                <a:gd name="T68" fmla="*/ 2147483647 w 86"/>
                <a:gd name="T69" fmla="*/ 2147483647 h 102"/>
                <a:gd name="T70" fmla="*/ 2147483647 w 86"/>
                <a:gd name="T71" fmla="*/ 2147483647 h 102"/>
                <a:gd name="T72" fmla="*/ 2147483647 w 86"/>
                <a:gd name="T73" fmla="*/ 0 h 10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102"/>
                <a:gd name="T113" fmla="*/ 86 w 86"/>
                <a:gd name="T114" fmla="*/ 102 h 10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102">
                  <a:moveTo>
                    <a:pt x="37" y="0"/>
                  </a:moveTo>
                  <a:lnTo>
                    <a:pt x="48" y="1"/>
                  </a:lnTo>
                  <a:lnTo>
                    <a:pt x="59" y="8"/>
                  </a:lnTo>
                  <a:lnTo>
                    <a:pt x="69" y="16"/>
                  </a:lnTo>
                  <a:lnTo>
                    <a:pt x="77" y="24"/>
                  </a:lnTo>
                  <a:lnTo>
                    <a:pt x="82" y="33"/>
                  </a:lnTo>
                  <a:lnTo>
                    <a:pt x="85" y="39"/>
                  </a:lnTo>
                  <a:lnTo>
                    <a:pt x="86" y="49"/>
                  </a:lnTo>
                  <a:lnTo>
                    <a:pt x="86" y="57"/>
                  </a:lnTo>
                  <a:lnTo>
                    <a:pt x="86" y="68"/>
                  </a:lnTo>
                  <a:lnTo>
                    <a:pt x="84" y="75"/>
                  </a:lnTo>
                  <a:lnTo>
                    <a:pt x="75" y="83"/>
                  </a:lnTo>
                  <a:lnTo>
                    <a:pt x="65" y="90"/>
                  </a:lnTo>
                  <a:lnTo>
                    <a:pt x="54" y="97"/>
                  </a:lnTo>
                  <a:lnTo>
                    <a:pt x="43" y="101"/>
                  </a:lnTo>
                  <a:lnTo>
                    <a:pt x="36" y="102"/>
                  </a:lnTo>
                  <a:lnTo>
                    <a:pt x="30" y="98"/>
                  </a:lnTo>
                  <a:lnTo>
                    <a:pt x="26" y="90"/>
                  </a:lnTo>
                  <a:lnTo>
                    <a:pt x="24" y="80"/>
                  </a:lnTo>
                  <a:lnTo>
                    <a:pt x="22" y="69"/>
                  </a:lnTo>
                  <a:lnTo>
                    <a:pt x="22" y="60"/>
                  </a:lnTo>
                  <a:lnTo>
                    <a:pt x="21" y="56"/>
                  </a:lnTo>
                  <a:lnTo>
                    <a:pt x="20" y="53"/>
                  </a:lnTo>
                  <a:lnTo>
                    <a:pt x="17" y="52"/>
                  </a:lnTo>
                  <a:lnTo>
                    <a:pt x="15" y="50"/>
                  </a:lnTo>
                  <a:lnTo>
                    <a:pt x="13" y="49"/>
                  </a:lnTo>
                  <a:lnTo>
                    <a:pt x="10" y="49"/>
                  </a:lnTo>
                  <a:lnTo>
                    <a:pt x="7" y="48"/>
                  </a:lnTo>
                  <a:lnTo>
                    <a:pt x="5" y="46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2" y="30"/>
                  </a:lnTo>
                  <a:lnTo>
                    <a:pt x="7" y="20"/>
                  </a:lnTo>
                  <a:lnTo>
                    <a:pt x="17" y="12"/>
                  </a:lnTo>
                  <a:lnTo>
                    <a:pt x="26" y="5"/>
                  </a:lnTo>
                  <a:lnTo>
                    <a:pt x="35" y="1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8" name="Freeform 2787"/>
            <p:cNvSpPr>
              <a:spLocks/>
            </p:cNvSpPr>
            <p:nvPr/>
          </p:nvSpPr>
          <p:spPr bwMode="auto">
            <a:xfrm rot="1114411" flipH="1">
              <a:off x="1013385" y="4458684"/>
              <a:ext cx="47848" cy="57307"/>
            </a:xfrm>
            <a:custGeom>
              <a:avLst/>
              <a:gdLst>
                <a:gd name="T0" fmla="*/ 2147483647 w 86"/>
                <a:gd name="T1" fmla="*/ 0 h 103"/>
                <a:gd name="T2" fmla="*/ 2147483647 w 86"/>
                <a:gd name="T3" fmla="*/ 2147483647 h 103"/>
                <a:gd name="T4" fmla="*/ 2147483647 w 86"/>
                <a:gd name="T5" fmla="*/ 2147483647 h 103"/>
                <a:gd name="T6" fmla="*/ 2147483647 w 86"/>
                <a:gd name="T7" fmla="*/ 2147483647 h 103"/>
                <a:gd name="T8" fmla="*/ 2147483647 w 86"/>
                <a:gd name="T9" fmla="*/ 2147483647 h 103"/>
                <a:gd name="T10" fmla="*/ 2147483647 w 86"/>
                <a:gd name="T11" fmla="*/ 2147483647 h 103"/>
                <a:gd name="T12" fmla="*/ 2147483647 w 86"/>
                <a:gd name="T13" fmla="*/ 2147483647 h 103"/>
                <a:gd name="T14" fmla="*/ 2147483647 w 86"/>
                <a:gd name="T15" fmla="*/ 2147483647 h 103"/>
                <a:gd name="T16" fmla="*/ 2147483647 w 86"/>
                <a:gd name="T17" fmla="*/ 2147483647 h 103"/>
                <a:gd name="T18" fmla="*/ 2147483647 w 86"/>
                <a:gd name="T19" fmla="*/ 2147483647 h 103"/>
                <a:gd name="T20" fmla="*/ 2147483647 w 86"/>
                <a:gd name="T21" fmla="*/ 2147483647 h 103"/>
                <a:gd name="T22" fmla="*/ 2147483647 w 86"/>
                <a:gd name="T23" fmla="*/ 2147483647 h 103"/>
                <a:gd name="T24" fmla="*/ 2147483647 w 86"/>
                <a:gd name="T25" fmla="*/ 2147483647 h 103"/>
                <a:gd name="T26" fmla="*/ 2147483647 w 86"/>
                <a:gd name="T27" fmla="*/ 2147483647 h 103"/>
                <a:gd name="T28" fmla="*/ 2147483647 w 86"/>
                <a:gd name="T29" fmla="*/ 2147483647 h 103"/>
                <a:gd name="T30" fmla="*/ 2147483647 w 86"/>
                <a:gd name="T31" fmla="*/ 2147483647 h 103"/>
                <a:gd name="T32" fmla="*/ 2147483647 w 86"/>
                <a:gd name="T33" fmla="*/ 2147483647 h 103"/>
                <a:gd name="T34" fmla="*/ 2147483647 w 86"/>
                <a:gd name="T35" fmla="*/ 2147483647 h 103"/>
                <a:gd name="T36" fmla="*/ 2147483647 w 86"/>
                <a:gd name="T37" fmla="*/ 2147483647 h 103"/>
                <a:gd name="T38" fmla="*/ 2147483647 w 86"/>
                <a:gd name="T39" fmla="*/ 2147483647 h 103"/>
                <a:gd name="T40" fmla="*/ 2147483647 w 86"/>
                <a:gd name="T41" fmla="*/ 2147483647 h 103"/>
                <a:gd name="T42" fmla="*/ 2147483647 w 86"/>
                <a:gd name="T43" fmla="*/ 2147483647 h 103"/>
                <a:gd name="T44" fmla="*/ 2147483647 w 86"/>
                <a:gd name="T45" fmla="*/ 2147483647 h 103"/>
                <a:gd name="T46" fmla="*/ 2147483647 w 86"/>
                <a:gd name="T47" fmla="*/ 2147483647 h 103"/>
                <a:gd name="T48" fmla="*/ 2147483647 w 86"/>
                <a:gd name="T49" fmla="*/ 2147483647 h 103"/>
                <a:gd name="T50" fmla="*/ 2147483647 w 86"/>
                <a:gd name="T51" fmla="*/ 2147483647 h 103"/>
                <a:gd name="T52" fmla="*/ 2147483647 w 86"/>
                <a:gd name="T53" fmla="*/ 2147483647 h 103"/>
                <a:gd name="T54" fmla="*/ 2147483647 w 86"/>
                <a:gd name="T55" fmla="*/ 2147483647 h 103"/>
                <a:gd name="T56" fmla="*/ 2147483647 w 86"/>
                <a:gd name="T57" fmla="*/ 2147483647 h 103"/>
                <a:gd name="T58" fmla="*/ 2147483647 w 86"/>
                <a:gd name="T59" fmla="*/ 2147483647 h 103"/>
                <a:gd name="T60" fmla="*/ 0 w 86"/>
                <a:gd name="T61" fmla="*/ 2147483647 h 103"/>
                <a:gd name="T62" fmla="*/ 0 w 86"/>
                <a:gd name="T63" fmla="*/ 2147483647 h 103"/>
                <a:gd name="T64" fmla="*/ 2147483647 w 86"/>
                <a:gd name="T65" fmla="*/ 2147483647 h 103"/>
                <a:gd name="T66" fmla="*/ 2147483647 w 86"/>
                <a:gd name="T67" fmla="*/ 2147483647 h 103"/>
                <a:gd name="T68" fmla="*/ 2147483647 w 86"/>
                <a:gd name="T69" fmla="*/ 2147483647 h 103"/>
                <a:gd name="T70" fmla="*/ 2147483647 w 86"/>
                <a:gd name="T71" fmla="*/ 2147483647 h 103"/>
                <a:gd name="T72" fmla="*/ 2147483647 w 86"/>
                <a:gd name="T73" fmla="*/ 0 h 10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103"/>
                <a:gd name="T113" fmla="*/ 86 w 86"/>
                <a:gd name="T114" fmla="*/ 103 h 10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103">
                  <a:moveTo>
                    <a:pt x="37" y="0"/>
                  </a:moveTo>
                  <a:lnTo>
                    <a:pt x="48" y="3"/>
                  </a:lnTo>
                  <a:lnTo>
                    <a:pt x="59" y="8"/>
                  </a:lnTo>
                  <a:lnTo>
                    <a:pt x="68" y="17"/>
                  </a:lnTo>
                  <a:lnTo>
                    <a:pt x="76" y="26"/>
                  </a:lnTo>
                  <a:lnTo>
                    <a:pt x="82" y="34"/>
                  </a:lnTo>
                  <a:lnTo>
                    <a:pt x="85" y="41"/>
                  </a:lnTo>
                  <a:lnTo>
                    <a:pt x="85" y="51"/>
                  </a:lnTo>
                  <a:lnTo>
                    <a:pt x="86" y="59"/>
                  </a:lnTo>
                  <a:lnTo>
                    <a:pt x="86" y="70"/>
                  </a:lnTo>
                  <a:lnTo>
                    <a:pt x="82" y="77"/>
                  </a:lnTo>
                  <a:lnTo>
                    <a:pt x="74" y="83"/>
                  </a:lnTo>
                  <a:lnTo>
                    <a:pt x="64" y="92"/>
                  </a:lnTo>
                  <a:lnTo>
                    <a:pt x="52" y="97"/>
                  </a:lnTo>
                  <a:lnTo>
                    <a:pt x="42" y="103"/>
                  </a:lnTo>
                  <a:lnTo>
                    <a:pt x="34" y="103"/>
                  </a:lnTo>
                  <a:lnTo>
                    <a:pt x="30" y="100"/>
                  </a:lnTo>
                  <a:lnTo>
                    <a:pt x="26" y="92"/>
                  </a:lnTo>
                  <a:lnTo>
                    <a:pt x="23" y="82"/>
                  </a:lnTo>
                  <a:lnTo>
                    <a:pt x="22" y="71"/>
                  </a:lnTo>
                  <a:lnTo>
                    <a:pt x="20" y="60"/>
                  </a:lnTo>
                  <a:lnTo>
                    <a:pt x="19" y="56"/>
                  </a:lnTo>
                  <a:lnTo>
                    <a:pt x="18" y="53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1" y="51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4" y="47"/>
                  </a:lnTo>
                  <a:lnTo>
                    <a:pt x="1" y="44"/>
                  </a:lnTo>
                  <a:lnTo>
                    <a:pt x="0" y="40"/>
                  </a:lnTo>
                  <a:lnTo>
                    <a:pt x="0" y="30"/>
                  </a:lnTo>
                  <a:lnTo>
                    <a:pt x="7" y="22"/>
                  </a:lnTo>
                  <a:lnTo>
                    <a:pt x="16" y="14"/>
                  </a:lnTo>
                  <a:lnTo>
                    <a:pt x="26" y="7"/>
                  </a:lnTo>
                  <a:lnTo>
                    <a:pt x="33" y="3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F0B71F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9" name="Freeform 2788"/>
            <p:cNvSpPr>
              <a:spLocks/>
            </p:cNvSpPr>
            <p:nvPr/>
          </p:nvSpPr>
          <p:spPr bwMode="auto">
            <a:xfrm rot="1114411" flipH="1">
              <a:off x="2611462" y="4703685"/>
              <a:ext cx="72329" cy="68434"/>
            </a:xfrm>
            <a:custGeom>
              <a:avLst/>
              <a:gdLst>
                <a:gd name="T0" fmla="*/ 2147483647 w 130"/>
                <a:gd name="T1" fmla="*/ 0 h 123"/>
                <a:gd name="T2" fmla="*/ 2147483647 w 130"/>
                <a:gd name="T3" fmla="*/ 0 h 123"/>
                <a:gd name="T4" fmla="*/ 2147483647 w 130"/>
                <a:gd name="T5" fmla="*/ 2147483647 h 123"/>
                <a:gd name="T6" fmla="*/ 2147483647 w 130"/>
                <a:gd name="T7" fmla="*/ 2147483647 h 123"/>
                <a:gd name="T8" fmla="*/ 2147483647 w 130"/>
                <a:gd name="T9" fmla="*/ 2147483647 h 123"/>
                <a:gd name="T10" fmla="*/ 2147483647 w 130"/>
                <a:gd name="T11" fmla="*/ 2147483647 h 123"/>
                <a:gd name="T12" fmla="*/ 2147483647 w 130"/>
                <a:gd name="T13" fmla="*/ 2147483647 h 123"/>
                <a:gd name="T14" fmla="*/ 2147483647 w 130"/>
                <a:gd name="T15" fmla="*/ 2147483647 h 123"/>
                <a:gd name="T16" fmla="*/ 2147483647 w 130"/>
                <a:gd name="T17" fmla="*/ 2147483647 h 123"/>
                <a:gd name="T18" fmla="*/ 2147483647 w 130"/>
                <a:gd name="T19" fmla="*/ 2147483647 h 123"/>
                <a:gd name="T20" fmla="*/ 2147483647 w 130"/>
                <a:gd name="T21" fmla="*/ 2147483647 h 123"/>
                <a:gd name="T22" fmla="*/ 2147483647 w 130"/>
                <a:gd name="T23" fmla="*/ 2147483647 h 123"/>
                <a:gd name="T24" fmla="*/ 2147483647 w 130"/>
                <a:gd name="T25" fmla="*/ 2147483647 h 123"/>
                <a:gd name="T26" fmla="*/ 2147483647 w 130"/>
                <a:gd name="T27" fmla="*/ 2147483647 h 123"/>
                <a:gd name="T28" fmla="*/ 2147483647 w 130"/>
                <a:gd name="T29" fmla="*/ 2147483647 h 123"/>
                <a:gd name="T30" fmla="*/ 2147483647 w 130"/>
                <a:gd name="T31" fmla="*/ 2147483647 h 123"/>
                <a:gd name="T32" fmla="*/ 2147483647 w 130"/>
                <a:gd name="T33" fmla="*/ 2147483647 h 123"/>
                <a:gd name="T34" fmla="*/ 2147483647 w 130"/>
                <a:gd name="T35" fmla="*/ 2147483647 h 123"/>
                <a:gd name="T36" fmla="*/ 2147483647 w 130"/>
                <a:gd name="T37" fmla="*/ 2147483647 h 123"/>
                <a:gd name="T38" fmla="*/ 2147483647 w 130"/>
                <a:gd name="T39" fmla="*/ 2147483647 h 123"/>
                <a:gd name="T40" fmla="*/ 2147483647 w 130"/>
                <a:gd name="T41" fmla="*/ 2147483647 h 123"/>
                <a:gd name="T42" fmla="*/ 2147483647 w 130"/>
                <a:gd name="T43" fmla="*/ 2147483647 h 123"/>
                <a:gd name="T44" fmla="*/ 0 w 130"/>
                <a:gd name="T45" fmla="*/ 2147483647 h 123"/>
                <a:gd name="T46" fmla="*/ 0 w 130"/>
                <a:gd name="T47" fmla="*/ 2147483647 h 123"/>
                <a:gd name="T48" fmla="*/ 0 w 130"/>
                <a:gd name="T49" fmla="*/ 2147483647 h 123"/>
                <a:gd name="T50" fmla="*/ 0 w 130"/>
                <a:gd name="T51" fmla="*/ 2147483647 h 123"/>
                <a:gd name="T52" fmla="*/ 2147483647 w 130"/>
                <a:gd name="T53" fmla="*/ 2147483647 h 123"/>
                <a:gd name="T54" fmla="*/ 2147483647 w 130"/>
                <a:gd name="T55" fmla="*/ 2147483647 h 123"/>
                <a:gd name="T56" fmla="*/ 2147483647 w 130"/>
                <a:gd name="T57" fmla="*/ 0 h 12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0"/>
                <a:gd name="T88" fmla="*/ 0 h 123"/>
                <a:gd name="T89" fmla="*/ 130 w 130"/>
                <a:gd name="T90" fmla="*/ 123 h 12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0" h="123">
                  <a:moveTo>
                    <a:pt x="17" y="0"/>
                  </a:moveTo>
                  <a:lnTo>
                    <a:pt x="30" y="0"/>
                  </a:lnTo>
                  <a:lnTo>
                    <a:pt x="49" y="6"/>
                  </a:lnTo>
                  <a:lnTo>
                    <a:pt x="66" y="15"/>
                  </a:lnTo>
                  <a:lnTo>
                    <a:pt x="79" y="28"/>
                  </a:lnTo>
                  <a:lnTo>
                    <a:pt x="93" y="39"/>
                  </a:lnTo>
                  <a:lnTo>
                    <a:pt x="104" y="47"/>
                  </a:lnTo>
                  <a:lnTo>
                    <a:pt x="115" y="52"/>
                  </a:lnTo>
                  <a:lnTo>
                    <a:pt x="122" y="55"/>
                  </a:lnTo>
                  <a:lnTo>
                    <a:pt x="127" y="63"/>
                  </a:lnTo>
                  <a:lnTo>
                    <a:pt x="130" y="74"/>
                  </a:lnTo>
                  <a:lnTo>
                    <a:pt x="130" y="86"/>
                  </a:lnTo>
                  <a:lnTo>
                    <a:pt x="126" y="99"/>
                  </a:lnTo>
                  <a:lnTo>
                    <a:pt x="119" y="111"/>
                  </a:lnTo>
                  <a:lnTo>
                    <a:pt x="108" y="119"/>
                  </a:lnTo>
                  <a:lnTo>
                    <a:pt x="94" y="123"/>
                  </a:lnTo>
                  <a:lnTo>
                    <a:pt x="79" y="115"/>
                  </a:lnTo>
                  <a:lnTo>
                    <a:pt x="63" y="110"/>
                  </a:lnTo>
                  <a:lnTo>
                    <a:pt x="48" y="106"/>
                  </a:lnTo>
                  <a:lnTo>
                    <a:pt x="34" y="101"/>
                  </a:lnTo>
                  <a:lnTo>
                    <a:pt x="25" y="100"/>
                  </a:lnTo>
                  <a:lnTo>
                    <a:pt x="22" y="100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3" y="6"/>
                  </a:lnTo>
                  <a:lnTo>
                    <a:pt x="7" y="2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0" name="Freeform 2789"/>
            <p:cNvSpPr>
              <a:spLocks/>
            </p:cNvSpPr>
            <p:nvPr/>
          </p:nvSpPr>
          <p:spPr bwMode="auto">
            <a:xfrm rot="1114411" flipH="1">
              <a:off x="2496138" y="4696991"/>
              <a:ext cx="58420" cy="81231"/>
            </a:xfrm>
            <a:custGeom>
              <a:avLst/>
              <a:gdLst>
                <a:gd name="T0" fmla="*/ 2147483647 w 105"/>
                <a:gd name="T1" fmla="*/ 0 h 146"/>
                <a:gd name="T2" fmla="*/ 2147483647 w 105"/>
                <a:gd name="T3" fmla="*/ 2147483647 h 146"/>
                <a:gd name="T4" fmla="*/ 2147483647 w 105"/>
                <a:gd name="T5" fmla="*/ 2147483647 h 146"/>
                <a:gd name="T6" fmla="*/ 2147483647 w 105"/>
                <a:gd name="T7" fmla="*/ 2147483647 h 146"/>
                <a:gd name="T8" fmla="*/ 2147483647 w 105"/>
                <a:gd name="T9" fmla="*/ 2147483647 h 146"/>
                <a:gd name="T10" fmla="*/ 2147483647 w 105"/>
                <a:gd name="T11" fmla="*/ 2147483647 h 146"/>
                <a:gd name="T12" fmla="*/ 2147483647 w 105"/>
                <a:gd name="T13" fmla="*/ 2147483647 h 146"/>
                <a:gd name="T14" fmla="*/ 2147483647 w 105"/>
                <a:gd name="T15" fmla="*/ 2147483647 h 146"/>
                <a:gd name="T16" fmla="*/ 2147483647 w 105"/>
                <a:gd name="T17" fmla="*/ 2147483647 h 146"/>
                <a:gd name="T18" fmla="*/ 2147483647 w 105"/>
                <a:gd name="T19" fmla="*/ 2147483647 h 146"/>
                <a:gd name="T20" fmla="*/ 2147483647 w 105"/>
                <a:gd name="T21" fmla="*/ 2147483647 h 146"/>
                <a:gd name="T22" fmla="*/ 2147483647 w 105"/>
                <a:gd name="T23" fmla="*/ 2147483647 h 146"/>
                <a:gd name="T24" fmla="*/ 2147483647 w 105"/>
                <a:gd name="T25" fmla="*/ 2147483647 h 146"/>
                <a:gd name="T26" fmla="*/ 2147483647 w 105"/>
                <a:gd name="T27" fmla="*/ 2147483647 h 146"/>
                <a:gd name="T28" fmla="*/ 2147483647 w 105"/>
                <a:gd name="T29" fmla="*/ 2147483647 h 146"/>
                <a:gd name="T30" fmla="*/ 2147483647 w 105"/>
                <a:gd name="T31" fmla="*/ 2147483647 h 146"/>
                <a:gd name="T32" fmla="*/ 2147483647 w 105"/>
                <a:gd name="T33" fmla="*/ 2147483647 h 146"/>
                <a:gd name="T34" fmla="*/ 2147483647 w 105"/>
                <a:gd name="T35" fmla="*/ 2147483647 h 146"/>
                <a:gd name="T36" fmla="*/ 2147483647 w 105"/>
                <a:gd name="T37" fmla="*/ 2147483647 h 146"/>
                <a:gd name="T38" fmla="*/ 2147483647 w 105"/>
                <a:gd name="T39" fmla="*/ 2147483647 h 146"/>
                <a:gd name="T40" fmla="*/ 2147483647 w 105"/>
                <a:gd name="T41" fmla="*/ 2147483647 h 146"/>
                <a:gd name="T42" fmla="*/ 2147483647 w 105"/>
                <a:gd name="T43" fmla="*/ 2147483647 h 146"/>
                <a:gd name="T44" fmla="*/ 2147483647 w 105"/>
                <a:gd name="T45" fmla="*/ 2147483647 h 146"/>
                <a:gd name="T46" fmla="*/ 2147483647 w 105"/>
                <a:gd name="T47" fmla="*/ 2147483647 h 146"/>
                <a:gd name="T48" fmla="*/ 2147483647 w 105"/>
                <a:gd name="T49" fmla="*/ 2147483647 h 146"/>
                <a:gd name="T50" fmla="*/ 2147483647 w 105"/>
                <a:gd name="T51" fmla="*/ 2147483647 h 146"/>
                <a:gd name="T52" fmla="*/ 2147483647 w 105"/>
                <a:gd name="T53" fmla="*/ 2147483647 h 146"/>
                <a:gd name="T54" fmla="*/ 2147483647 w 105"/>
                <a:gd name="T55" fmla="*/ 2147483647 h 146"/>
                <a:gd name="T56" fmla="*/ 2147483647 w 105"/>
                <a:gd name="T57" fmla="*/ 2147483647 h 146"/>
                <a:gd name="T58" fmla="*/ 0 w 105"/>
                <a:gd name="T59" fmla="*/ 2147483647 h 146"/>
                <a:gd name="T60" fmla="*/ 2147483647 w 105"/>
                <a:gd name="T61" fmla="*/ 2147483647 h 146"/>
                <a:gd name="T62" fmla="*/ 2147483647 w 105"/>
                <a:gd name="T63" fmla="*/ 2147483647 h 146"/>
                <a:gd name="T64" fmla="*/ 2147483647 w 105"/>
                <a:gd name="T65" fmla="*/ 2147483647 h 146"/>
                <a:gd name="T66" fmla="*/ 2147483647 w 105"/>
                <a:gd name="T67" fmla="*/ 0 h 1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5"/>
                <a:gd name="T103" fmla="*/ 0 h 146"/>
                <a:gd name="T104" fmla="*/ 105 w 105"/>
                <a:gd name="T105" fmla="*/ 146 h 1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5" h="146">
                  <a:moveTo>
                    <a:pt x="22" y="0"/>
                  </a:moveTo>
                  <a:lnTo>
                    <a:pt x="37" y="3"/>
                  </a:lnTo>
                  <a:lnTo>
                    <a:pt x="55" y="11"/>
                  </a:lnTo>
                  <a:lnTo>
                    <a:pt x="70" y="23"/>
                  </a:lnTo>
                  <a:lnTo>
                    <a:pt x="82" y="39"/>
                  </a:lnTo>
                  <a:lnTo>
                    <a:pt x="92" y="56"/>
                  </a:lnTo>
                  <a:lnTo>
                    <a:pt x="98" y="71"/>
                  </a:lnTo>
                  <a:lnTo>
                    <a:pt x="103" y="84"/>
                  </a:lnTo>
                  <a:lnTo>
                    <a:pt x="105" y="94"/>
                  </a:lnTo>
                  <a:lnTo>
                    <a:pt x="105" y="98"/>
                  </a:lnTo>
                  <a:lnTo>
                    <a:pt x="104" y="101"/>
                  </a:lnTo>
                  <a:lnTo>
                    <a:pt x="100" y="108"/>
                  </a:lnTo>
                  <a:lnTo>
                    <a:pt x="94" y="116"/>
                  </a:lnTo>
                  <a:lnTo>
                    <a:pt x="88" y="127"/>
                  </a:lnTo>
                  <a:lnTo>
                    <a:pt x="81" y="136"/>
                  </a:lnTo>
                  <a:lnTo>
                    <a:pt x="73" y="143"/>
                  </a:lnTo>
                  <a:lnTo>
                    <a:pt x="66" y="146"/>
                  </a:lnTo>
                  <a:lnTo>
                    <a:pt x="59" y="139"/>
                  </a:lnTo>
                  <a:lnTo>
                    <a:pt x="49" y="132"/>
                  </a:lnTo>
                  <a:lnTo>
                    <a:pt x="37" y="125"/>
                  </a:lnTo>
                  <a:lnTo>
                    <a:pt x="26" y="118"/>
                  </a:lnTo>
                  <a:lnTo>
                    <a:pt x="19" y="114"/>
                  </a:lnTo>
                  <a:lnTo>
                    <a:pt x="15" y="113"/>
                  </a:lnTo>
                  <a:lnTo>
                    <a:pt x="15" y="110"/>
                  </a:lnTo>
                  <a:lnTo>
                    <a:pt x="13" y="103"/>
                  </a:lnTo>
                  <a:lnTo>
                    <a:pt x="10" y="93"/>
                  </a:lnTo>
                  <a:lnTo>
                    <a:pt x="6" y="80"/>
                  </a:lnTo>
                  <a:lnTo>
                    <a:pt x="3" y="65"/>
                  </a:lnTo>
                  <a:lnTo>
                    <a:pt x="2" y="50"/>
                  </a:lnTo>
                  <a:lnTo>
                    <a:pt x="0" y="35"/>
                  </a:lnTo>
                  <a:lnTo>
                    <a:pt x="2" y="23"/>
                  </a:lnTo>
                  <a:lnTo>
                    <a:pt x="6" y="12"/>
                  </a:lnTo>
                  <a:lnTo>
                    <a:pt x="13" y="4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1" name="Freeform 2790"/>
            <p:cNvSpPr>
              <a:spLocks/>
            </p:cNvSpPr>
            <p:nvPr/>
          </p:nvSpPr>
          <p:spPr bwMode="auto">
            <a:xfrm rot="1114411" flipH="1">
              <a:off x="1945551" y="4768163"/>
              <a:ext cx="75111" cy="74554"/>
            </a:xfrm>
            <a:custGeom>
              <a:avLst/>
              <a:gdLst>
                <a:gd name="T0" fmla="*/ 2147483647 w 135"/>
                <a:gd name="T1" fmla="*/ 0 h 134"/>
                <a:gd name="T2" fmla="*/ 2147483647 w 135"/>
                <a:gd name="T3" fmla="*/ 2147483647 h 134"/>
                <a:gd name="T4" fmla="*/ 2147483647 w 135"/>
                <a:gd name="T5" fmla="*/ 2147483647 h 134"/>
                <a:gd name="T6" fmla="*/ 2147483647 w 135"/>
                <a:gd name="T7" fmla="*/ 2147483647 h 134"/>
                <a:gd name="T8" fmla="*/ 2147483647 w 135"/>
                <a:gd name="T9" fmla="*/ 2147483647 h 134"/>
                <a:gd name="T10" fmla="*/ 2147483647 w 135"/>
                <a:gd name="T11" fmla="*/ 2147483647 h 134"/>
                <a:gd name="T12" fmla="*/ 2147483647 w 135"/>
                <a:gd name="T13" fmla="*/ 2147483647 h 134"/>
                <a:gd name="T14" fmla="*/ 2147483647 w 135"/>
                <a:gd name="T15" fmla="*/ 2147483647 h 134"/>
                <a:gd name="T16" fmla="*/ 2147483647 w 135"/>
                <a:gd name="T17" fmla="*/ 2147483647 h 134"/>
                <a:gd name="T18" fmla="*/ 2147483647 w 135"/>
                <a:gd name="T19" fmla="*/ 2147483647 h 134"/>
                <a:gd name="T20" fmla="*/ 2147483647 w 135"/>
                <a:gd name="T21" fmla="*/ 2147483647 h 134"/>
                <a:gd name="T22" fmla="*/ 2147483647 w 135"/>
                <a:gd name="T23" fmla="*/ 2147483647 h 134"/>
                <a:gd name="T24" fmla="*/ 2147483647 w 135"/>
                <a:gd name="T25" fmla="*/ 2147483647 h 134"/>
                <a:gd name="T26" fmla="*/ 2147483647 w 135"/>
                <a:gd name="T27" fmla="*/ 2147483647 h 134"/>
                <a:gd name="T28" fmla="*/ 2147483647 w 135"/>
                <a:gd name="T29" fmla="*/ 2147483647 h 134"/>
                <a:gd name="T30" fmla="*/ 2147483647 w 135"/>
                <a:gd name="T31" fmla="*/ 2147483647 h 134"/>
                <a:gd name="T32" fmla="*/ 2147483647 w 135"/>
                <a:gd name="T33" fmla="*/ 2147483647 h 134"/>
                <a:gd name="T34" fmla="*/ 2147483647 w 135"/>
                <a:gd name="T35" fmla="*/ 2147483647 h 134"/>
                <a:gd name="T36" fmla="*/ 2147483647 w 135"/>
                <a:gd name="T37" fmla="*/ 2147483647 h 134"/>
                <a:gd name="T38" fmla="*/ 2147483647 w 135"/>
                <a:gd name="T39" fmla="*/ 2147483647 h 134"/>
                <a:gd name="T40" fmla="*/ 2147483647 w 135"/>
                <a:gd name="T41" fmla="*/ 2147483647 h 134"/>
                <a:gd name="T42" fmla="*/ 2147483647 w 135"/>
                <a:gd name="T43" fmla="*/ 2147483647 h 134"/>
                <a:gd name="T44" fmla="*/ 2147483647 w 135"/>
                <a:gd name="T45" fmla="*/ 2147483647 h 134"/>
                <a:gd name="T46" fmla="*/ 2147483647 w 135"/>
                <a:gd name="T47" fmla="*/ 2147483647 h 134"/>
                <a:gd name="T48" fmla="*/ 2147483647 w 135"/>
                <a:gd name="T49" fmla="*/ 2147483647 h 134"/>
                <a:gd name="T50" fmla="*/ 2147483647 w 135"/>
                <a:gd name="T51" fmla="*/ 2147483647 h 134"/>
                <a:gd name="T52" fmla="*/ 2147483647 w 135"/>
                <a:gd name="T53" fmla="*/ 2147483647 h 134"/>
                <a:gd name="T54" fmla="*/ 2147483647 w 135"/>
                <a:gd name="T55" fmla="*/ 2147483647 h 134"/>
                <a:gd name="T56" fmla="*/ 2147483647 w 135"/>
                <a:gd name="T57" fmla="*/ 2147483647 h 134"/>
                <a:gd name="T58" fmla="*/ 2147483647 w 135"/>
                <a:gd name="T59" fmla="*/ 2147483647 h 134"/>
                <a:gd name="T60" fmla="*/ 2147483647 w 135"/>
                <a:gd name="T61" fmla="*/ 2147483647 h 134"/>
                <a:gd name="T62" fmla="*/ 2147483647 w 135"/>
                <a:gd name="T63" fmla="*/ 2147483647 h 134"/>
                <a:gd name="T64" fmla="*/ 2147483647 w 135"/>
                <a:gd name="T65" fmla="*/ 2147483647 h 134"/>
                <a:gd name="T66" fmla="*/ 0 w 135"/>
                <a:gd name="T67" fmla="*/ 2147483647 h 134"/>
                <a:gd name="T68" fmla="*/ 0 w 135"/>
                <a:gd name="T69" fmla="*/ 2147483647 h 134"/>
                <a:gd name="T70" fmla="*/ 2147483647 w 135"/>
                <a:gd name="T71" fmla="*/ 2147483647 h 134"/>
                <a:gd name="T72" fmla="*/ 2147483647 w 135"/>
                <a:gd name="T73" fmla="*/ 2147483647 h 134"/>
                <a:gd name="T74" fmla="*/ 2147483647 w 135"/>
                <a:gd name="T75" fmla="*/ 2147483647 h 134"/>
                <a:gd name="T76" fmla="*/ 2147483647 w 135"/>
                <a:gd name="T77" fmla="*/ 2147483647 h 134"/>
                <a:gd name="T78" fmla="*/ 2147483647 w 135"/>
                <a:gd name="T79" fmla="*/ 2147483647 h 134"/>
                <a:gd name="T80" fmla="*/ 2147483647 w 135"/>
                <a:gd name="T81" fmla="*/ 2147483647 h 134"/>
                <a:gd name="T82" fmla="*/ 2147483647 w 135"/>
                <a:gd name="T83" fmla="*/ 2147483647 h 134"/>
                <a:gd name="T84" fmla="*/ 2147483647 w 135"/>
                <a:gd name="T85" fmla="*/ 2147483647 h 134"/>
                <a:gd name="T86" fmla="*/ 2147483647 w 135"/>
                <a:gd name="T87" fmla="*/ 0 h 1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5"/>
                <a:gd name="T133" fmla="*/ 0 h 134"/>
                <a:gd name="T134" fmla="*/ 135 w 135"/>
                <a:gd name="T135" fmla="*/ 134 h 1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5" h="134">
                  <a:moveTo>
                    <a:pt x="43" y="0"/>
                  </a:moveTo>
                  <a:lnTo>
                    <a:pt x="56" y="2"/>
                  </a:lnTo>
                  <a:lnTo>
                    <a:pt x="73" y="3"/>
                  </a:lnTo>
                  <a:lnTo>
                    <a:pt x="88" y="6"/>
                  </a:lnTo>
                  <a:lnTo>
                    <a:pt x="103" y="13"/>
                  </a:lnTo>
                  <a:lnTo>
                    <a:pt x="115" y="22"/>
                  </a:lnTo>
                  <a:lnTo>
                    <a:pt x="123" y="36"/>
                  </a:lnTo>
                  <a:lnTo>
                    <a:pt x="131" y="58"/>
                  </a:lnTo>
                  <a:lnTo>
                    <a:pt x="134" y="77"/>
                  </a:lnTo>
                  <a:lnTo>
                    <a:pt x="135" y="92"/>
                  </a:lnTo>
                  <a:lnTo>
                    <a:pt x="134" y="104"/>
                  </a:lnTo>
                  <a:lnTo>
                    <a:pt x="133" y="111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28" y="119"/>
                  </a:lnTo>
                  <a:lnTo>
                    <a:pt x="126" y="124"/>
                  </a:lnTo>
                  <a:lnTo>
                    <a:pt x="120" y="130"/>
                  </a:lnTo>
                  <a:lnTo>
                    <a:pt x="113" y="134"/>
                  </a:lnTo>
                  <a:lnTo>
                    <a:pt x="105" y="134"/>
                  </a:lnTo>
                  <a:lnTo>
                    <a:pt x="94" y="128"/>
                  </a:lnTo>
                  <a:lnTo>
                    <a:pt x="82" y="118"/>
                  </a:lnTo>
                  <a:lnTo>
                    <a:pt x="67" y="101"/>
                  </a:lnTo>
                  <a:lnTo>
                    <a:pt x="53" y="83"/>
                  </a:lnTo>
                  <a:lnTo>
                    <a:pt x="41" y="68"/>
                  </a:lnTo>
                  <a:lnTo>
                    <a:pt x="30" y="53"/>
                  </a:lnTo>
                  <a:lnTo>
                    <a:pt x="22" y="43"/>
                  </a:lnTo>
                  <a:lnTo>
                    <a:pt x="17" y="36"/>
                  </a:lnTo>
                  <a:lnTo>
                    <a:pt x="15" y="33"/>
                  </a:lnTo>
                  <a:lnTo>
                    <a:pt x="14" y="30"/>
                  </a:lnTo>
                  <a:lnTo>
                    <a:pt x="11" y="25"/>
                  </a:lnTo>
                  <a:lnTo>
                    <a:pt x="8" y="18"/>
                  </a:lnTo>
                  <a:lnTo>
                    <a:pt x="4" y="13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3" y="4"/>
                  </a:lnTo>
                  <a:lnTo>
                    <a:pt x="6" y="3"/>
                  </a:lnTo>
                  <a:lnTo>
                    <a:pt x="8" y="3"/>
                  </a:lnTo>
                  <a:lnTo>
                    <a:pt x="13" y="2"/>
                  </a:lnTo>
                  <a:lnTo>
                    <a:pt x="17" y="2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30" y="2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2" name="Freeform 2791"/>
            <p:cNvSpPr>
              <a:spLocks/>
            </p:cNvSpPr>
            <p:nvPr/>
          </p:nvSpPr>
          <p:spPr bwMode="auto">
            <a:xfrm rot="1114411" flipH="1">
              <a:off x="1835283" y="4896547"/>
              <a:ext cx="81787" cy="73442"/>
            </a:xfrm>
            <a:custGeom>
              <a:avLst/>
              <a:gdLst>
                <a:gd name="T0" fmla="*/ 2147483647 w 147"/>
                <a:gd name="T1" fmla="*/ 0 h 132"/>
                <a:gd name="T2" fmla="*/ 2147483647 w 147"/>
                <a:gd name="T3" fmla="*/ 2147483647 h 132"/>
                <a:gd name="T4" fmla="*/ 2147483647 w 147"/>
                <a:gd name="T5" fmla="*/ 2147483647 h 132"/>
                <a:gd name="T6" fmla="*/ 2147483647 w 147"/>
                <a:gd name="T7" fmla="*/ 2147483647 h 132"/>
                <a:gd name="T8" fmla="*/ 2147483647 w 147"/>
                <a:gd name="T9" fmla="*/ 2147483647 h 132"/>
                <a:gd name="T10" fmla="*/ 2147483647 w 147"/>
                <a:gd name="T11" fmla="*/ 2147483647 h 132"/>
                <a:gd name="T12" fmla="*/ 2147483647 w 147"/>
                <a:gd name="T13" fmla="*/ 2147483647 h 132"/>
                <a:gd name="T14" fmla="*/ 2147483647 w 147"/>
                <a:gd name="T15" fmla="*/ 2147483647 h 132"/>
                <a:gd name="T16" fmla="*/ 2147483647 w 147"/>
                <a:gd name="T17" fmla="*/ 2147483647 h 132"/>
                <a:gd name="T18" fmla="*/ 2147483647 w 147"/>
                <a:gd name="T19" fmla="*/ 2147483647 h 132"/>
                <a:gd name="T20" fmla="*/ 2147483647 w 147"/>
                <a:gd name="T21" fmla="*/ 2147483647 h 132"/>
                <a:gd name="T22" fmla="*/ 2147483647 w 147"/>
                <a:gd name="T23" fmla="*/ 2147483647 h 132"/>
                <a:gd name="T24" fmla="*/ 2147483647 w 147"/>
                <a:gd name="T25" fmla="*/ 2147483647 h 132"/>
                <a:gd name="T26" fmla="*/ 2147483647 w 147"/>
                <a:gd name="T27" fmla="*/ 2147483647 h 132"/>
                <a:gd name="T28" fmla="*/ 2147483647 w 147"/>
                <a:gd name="T29" fmla="*/ 2147483647 h 132"/>
                <a:gd name="T30" fmla="*/ 2147483647 w 147"/>
                <a:gd name="T31" fmla="*/ 2147483647 h 132"/>
                <a:gd name="T32" fmla="*/ 2147483647 w 147"/>
                <a:gd name="T33" fmla="*/ 2147483647 h 132"/>
                <a:gd name="T34" fmla="*/ 2147483647 w 147"/>
                <a:gd name="T35" fmla="*/ 2147483647 h 132"/>
                <a:gd name="T36" fmla="*/ 2147483647 w 147"/>
                <a:gd name="T37" fmla="*/ 2147483647 h 132"/>
                <a:gd name="T38" fmla="*/ 2147483647 w 147"/>
                <a:gd name="T39" fmla="*/ 2147483647 h 132"/>
                <a:gd name="T40" fmla="*/ 2147483647 w 147"/>
                <a:gd name="T41" fmla="*/ 2147483647 h 132"/>
                <a:gd name="T42" fmla="*/ 2147483647 w 147"/>
                <a:gd name="T43" fmla="*/ 2147483647 h 132"/>
                <a:gd name="T44" fmla="*/ 2147483647 w 147"/>
                <a:gd name="T45" fmla="*/ 2147483647 h 132"/>
                <a:gd name="T46" fmla="*/ 2147483647 w 147"/>
                <a:gd name="T47" fmla="*/ 2147483647 h 132"/>
                <a:gd name="T48" fmla="*/ 2147483647 w 147"/>
                <a:gd name="T49" fmla="*/ 2147483647 h 132"/>
                <a:gd name="T50" fmla="*/ 2147483647 w 147"/>
                <a:gd name="T51" fmla="*/ 2147483647 h 132"/>
                <a:gd name="T52" fmla="*/ 2147483647 w 147"/>
                <a:gd name="T53" fmla="*/ 2147483647 h 132"/>
                <a:gd name="T54" fmla="*/ 2147483647 w 147"/>
                <a:gd name="T55" fmla="*/ 2147483647 h 132"/>
                <a:gd name="T56" fmla="*/ 2147483647 w 147"/>
                <a:gd name="T57" fmla="*/ 2147483647 h 132"/>
                <a:gd name="T58" fmla="*/ 0 w 147"/>
                <a:gd name="T59" fmla="*/ 2147483647 h 132"/>
                <a:gd name="T60" fmla="*/ 2147483647 w 147"/>
                <a:gd name="T61" fmla="*/ 2147483647 h 132"/>
                <a:gd name="T62" fmla="*/ 2147483647 w 147"/>
                <a:gd name="T63" fmla="*/ 2147483647 h 132"/>
                <a:gd name="T64" fmla="*/ 2147483647 w 147"/>
                <a:gd name="T65" fmla="*/ 2147483647 h 132"/>
                <a:gd name="T66" fmla="*/ 2147483647 w 147"/>
                <a:gd name="T67" fmla="*/ 2147483647 h 132"/>
                <a:gd name="T68" fmla="*/ 2147483647 w 147"/>
                <a:gd name="T69" fmla="*/ 2147483647 h 132"/>
                <a:gd name="T70" fmla="*/ 2147483647 w 147"/>
                <a:gd name="T71" fmla="*/ 0 h 13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7"/>
                <a:gd name="T109" fmla="*/ 0 h 132"/>
                <a:gd name="T110" fmla="*/ 147 w 147"/>
                <a:gd name="T111" fmla="*/ 132 h 13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7" h="132">
                  <a:moveTo>
                    <a:pt x="39" y="0"/>
                  </a:moveTo>
                  <a:lnTo>
                    <a:pt x="51" y="8"/>
                  </a:lnTo>
                  <a:lnTo>
                    <a:pt x="68" y="14"/>
                  </a:lnTo>
                  <a:lnTo>
                    <a:pt x="85" y="19"/>
                  </a:lnTo>
                  <a:lnTo>
                    <a:pt x="103" y="23"/>
                  </a:lnTo>
                  <a:lnTo>
                    <a:pt x="120" y="27"/>
                  </a:lnTo>
                  <a:lnTo>
                    <a:pt x="132" y="31"/>
                  </a:lnTo>
                  <a:lnTo>
                    <a:pt x="140" y="38"/>
                  </a:lnTo>
                  <a:lnTo>
                    <a:pt x="144" y="46"/>
                  </a:lnTo>
                  <a:lnTo>
                    <a:pt x="147" y="59"/>
                  </a:lnTo>
                  <a:lnTo>
                    <a:pt x="145" y="69"/>
                  </a:lnTo>
                  <a:lnTo>
                    <a:pt x="144" y="80"/>
                  </a:lnTo>
                  <a:lnTo>
                    <a:pt x="141" y="90"/>
                  </a:lnTo>
                  <a:lnTo>
                    <a:pt x="139" y="97"/>
                  </a:lnTo>
                  <a:lnTo>
                    <a:pt x="139" y="101"/>
                  </a:lnTo>
                  <a:lnTo>
                    <a:pt x="137" y="104"/>
                  </a:lnTo>
                  <a:lnTo>
                    <a:pt x="133" y="112"/>
                  </a:lnTo>
                  <a:lnTo>
                    <a:pt x="126" y="121"/>
                  </a:lnTo>
                  <a:lnTo>
                    <a:pt x="118" y="128"/>
                  </a:lnTo>
                  <a:lnTo>
                    <a:pt x="109" y="132"/>
                  </a:lnTo>
                  <a:lnTo>
                    <a:pt x="94" y="131"/>
                  </a:lnTo>
                  <a:lnTo>
                    <a:pt x="75" y="128"/>
                  </a:lnTo>
                  <a:lnTo>
                    <a:pt x="57" y="124"/>
                  </a:lnTo>
                  <a:lnTo>
                    <a:pt x="43" y="120"/>
                  </a:lnTo>
                  <a:lnTo>
                    <a:pt x="34" y="115"/>
                  </a:lnTo>
                  <a:lnTo>
                    <a:pt x="24" y="105"/>
                  </a:lnTo>
                  <a:lnTo>
                    <a:pt x="15" y="91"/>
                  </a:lnTo>
                  <a:lnTo>
                    <a:pt x="8" y="79"/>
                  </a:lnTo>
                  <a:lnTo>
                    <a:pt x="2" y="67"/>
                  </a:lnTo>
                  <a:lnTo>
                    <a:pt x="0" y="50"/>
                  </a:lnTo>
                  <a:lnTo>
                    <a:pt x="2" y="35"/>
                  </a:lnTo>
                  <a:lnTo>
                    <a:pt x="10" y="23"/>
                  </a:lnTo>
                  <a:lnTo>
                    <a:pt x="20" y="14"/>
                  </a:lnTo>
                  <a:lnTo>
                    <a:pt x="30" y="5"/>
                  </a:lnTo>
                  <a:lnTo>
                    <a:pt x="36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3" name="Freeform 2792"/>
            <p:cNvSpPr>
              <a:spLocks/>
            </p:cNvSpPr>
            <p:nvPr/>
          </p:nvSpPr>
          <p:spPr bwMode="auto">
            <a:xfrm rot="1114411" flipH="1">
              <a:off x="1788570" y="4797544"/>
              <a:ext cx="51187" cy="48405"/>
            </a:xfrm>
            <a:custGeom>
              <a:avLst/>
              <a:gdLst>
                <a:gd name="T0" fmla="*/ 2147483647 w 92"/>
                <a:gd name="T1" fmla="*/ 0 h 87"/>
                <a:gd name="T2" fmla="*/ 2147483647 w 92"/>
                <a:gd name="T3" fmla="*/ 2147483647 h 87"/>
                <a:gd name="T4" fmla="*/ 2147483647 w 92"/>
                <a:gd name="T5" fmla="*/ 2147483647 h 87"/>
                <a:gd name="T6" fmla="*/ 2147483647 w 92"/>
                <a:gd name="T7" fmla="*/ 2147483647 h 87"/>
                <a:gd name="T8" fmla="*/ 2147483647 w 92"/>
                <a:gd name="T9" fmla="*/ 2147483647 h 87"/>
                <a:gd name="T10" fmla="*/ 2147483647 w 92"/>
                <a:gd name="T11" fmla="*/ 2147483647 h 87"/>
                <a:gd name="T12" fmla="*/ 2147483647 w 92"/>
                <a:gd name="T13" fmla="*/ 2147483647 h 87"/>
                <a:gd name="T14" fmla="*/ 2147483647 w 92"/>
                <a:gd name="T15" fmla="*/ 2147483647 h 87"/>
                <a:gd name="T16" fmla="*/ 2147483647 w 92"/>
                <a:gd name="T17" fmla="*/ 2147483647 h 87"/>
                <a:gd name="T18" fmla="*/ 2147483647 w 92"/>
                <a:gd name="T19" fmla="*/ 2147483647 h 87"/>
                <a:gd name="T20" fmla="*/ 2147483647 w 92"/>
                <a:gd name="T21" fmla="*/ 2147483647 h 87"/>
                <a:gd name="T22" fmla="*/ 2147483647 w 92"/>
                <a:gd name="T23" fmla="*/ 2147483647 h 87"/>
                <a:gd name="T24" fmla="*/ 2147483647 w 92"/>
                <a:gd name="T25" fmla="*/ 2147483647 h 87"/>
                <a:gd name="T26" fmla="*/ 2147483647 w 92"/>
                <a:gd name="T27" fmla="*/ 2147483647 h 87"/>
                <a:gd name="T28" fmla="*/ 2147483647 w 92"/>
                <a:gd name="T29" fmla="*/ 2147483647 h 87"/>
                <a:gd name="T30" fmla="*/ 2147483647 w 92"/>
                <a:gd name="T31" fmla="*/ 2147483647 h 87"/>
                <a:gd name="T32" fmla="*/ 2147483647 w 92"/>
                <a:gd name="T33" fmla="*/ 2147483647 h 87"/>
                <a:gd name="T34" fmla="*/ 2147483647 w 92"/>
                <a:gd name="T35" fmla="*/ 2147483647 h 87"/>
                <a:gd name="T36" fmla="*/ 2147483647 w 92"/>
                <a:gd name="T37" fmla="*/ 2147483647 h 87"/>
                <a:gd name="T38" fmla="*/ 2147483647 w 92"/>
                <a:gd name="T39" fmla="*/ 2147483647 h 87"/>
                <a:gd name="T40" fmla="*/ 2147483647 w 92"/>
                <a:gd name="T41" fmla="*/ 2147483647 h 87"/>
                <a:gd name="T42" fmla="*/ 2147483647 w 92"/>
                <a:gd name="T43" fmla="*/ 2147483647 h 87"/>
                <a:gd name="T44" fmla="*/ 0 w 92"/>
                <a:gd name="T45" fmla="*/ 2147483647 h 87"/>
                <a:gd name="T46" fmla="*/ 2147483647 w 92"/>
                <a:gd name="T47" fmla="*/ 2147483647 h 87"/>
                <a:gd name="T48" fmla="*/ 2147483647 w 92"/>
                <a:gd name="T49" fmla="*/ 2147483647 h 87"/>
                <a:gd name="T50" fmla="*/ 2147483647 w 92"/>
                <a:gd name="T51" fmla="*/ 2147483647 h 87"/>
                <a:gd name="T52" fmla="*/ 2147483647 w 92"/>
                <a:gd name="T53" fmla="*/ 2147483647 h 87"/>
                <a:gd name="T54" fmla="*/ 2147483647 w 92"/>
                <a:gd name="T55" fmla="*/ 2147483647 h 87"/>
                <a:gd name="T56" fmla="*/ 2147483647 w 92"/>
                <a:gd name="T57" fmla="*/ 2147483647 h 87"/>
                <a:gd name="T58" fmla="*/ 2147483647 w 92"/>
                <a:gd name="T59" fmla="*/ 2147483647 h 87"/>
                <a:gd name="T60" fmla="*/ 2147483647 w 92"/>
                <a:gd name="T61" fmla="*/ 2147483647 h 87"/>
                <a:gd name="T62" fmla="*/ 2147483647 w 92"/>
                <a:gd name="T63" fmla="*/ 2147483647 h 87"/>
                <a:gd name="T64" fmla="*/ 2147483647 w 92"/>
                <a:gd name="T65" fmla="*/ 2147483647 h 87"/>
                <a:gd name="T66" fmla="*/ 2147483647 w 92"/>
                <a:gd name="T67" fmla="*/ 2147483647 h 87"/>
                <a:gd name="T68" fmla="*/ 2147483647 w 92"/>
                <a:gd name="T69" fmla="*/ 2147483647 h 87"/>
                <a:gd name="T70" fmla="*/ 2147483647 w 92"/>
                <a:gd name="T71" fmla="*/ 2147483647 h 87"/>
                <a:gd name="T72" fmla="*/ 2147483647 w 92"/>
                <a:gd name="T73" fmla="*/ 2147483647 h 87"/>
                <a:gd name="T74" fmla="*/ 2147483647 w 92"/>
                <a:gd name="T75" fmla="*/ 2147483647 h 87"/>
                <a:gd name="T76" fmla="*/ 2147483647 w 92"/>
                <a:gd name="T77" fmla="*/ 0 h 8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"/>
                <a:gd name="T118" fmla="*/ 0 h 87"/>
                <a:gd name="T119" fmla="*/ 92 w 92"/>
                <a:gd name="T120" fmla="*/ 87 h 8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" h="87">
                  <a:moveTo>
                    <a:pt x="66" y="0"/>
                  </a:moveTo>
                  <a:lnTo>
                    <a:pt x="74" y="1"/>
                  </a:lnTo>
                  <a:lnTo>
                    <a:pt x="82" y="8"/>
                  </a:lnTo>
                  <a:lnTo>
                    <a:pt x="90" y="21"/>
                  </a:lnTo>
                  <a:lnTo>
                    <a:pt x="92" y="35"/>
                  </a:lnTo>
                  <a:lnTo>
                    <a:pt x="90" y="45"/>
                  </a:lnTo>
                  <a:lnTo>
                    <a:pt x="85" y="49"/>
                  </a:lnTo>
                  <a:lnTo>
                    <a:pt x="77" y="51"/>
                  </a:lnTo>
                  <a:lnTo>
                    <a:pt x="66" y="57"/>
                  </a:lnTo>
                  <a:lnTo>
                    <a:pt x="56" y="65"/>
                  </a:lnTo>
                  <a:lnTo>
                    <a:pt x="51" y="75"/>
                  </a:lnTo>
                  <a:lnTo>
                    <a:pt x="49" y="80"/>
                  </a:lnTo>
                  <a:lnTo>
                    <a:pt x="48" y="83"/>
                  </a:lnTo>
                  <a:lnTo>
                    <a:pt x="45" y="86"/>
                  </a:lnTo>
                  <a:lnTo>
                    <a:pt x="41" y="87"/>
                  </a:lnTo>
                  <a:lnTo>
                    <a:pt x="37" y="87"/>
                  </a:lnTo>
                  <a:lnTo>
                    <a:pt x="33" y="86"/>
                  </a:lnTo>
                  <a:lnTo>
                    <a:pt x="28" y="86"/>
                  </a:lnTo>
                  <a:lnTo>
                    <a:pt x="21" y="84"/>
                  </a:lnTo>
                  <a:lnTo>
                    <a:pt x="14" y="83"/>
                  </a:lnTo>
                  <a:lnTo>
                    <a:pt x="7" y="80"/>
                  </a:lnTo>
                  <a:lnTo>
                    <a:pt x="2" y="76"/>
                  </a:lnTo>
                  <a:lnTo>
                    <a:pt x="0" y="68"/>
                  </a:lnTo>
                  <a:lnTo>
                    <a:pt x="2" y="56"/>
                  </a:lnTo>
                  <a:lnTo>
                    <a:pt x="4" y="53"/>
                  </a:lnTo>
                  <a:lnTo>
                    <a:pt x="8" y="47"/>
                  </a:lnTo>
                  <a:lnTo>
                    <a:pt x="13" y="39"/>
                  </a:lnTo>
                  <a:lnTo>
                    <a:pt x="15" y="30"/>
                  </a:lnTo>
                  <a:lnTo>
                    <a:pt x="17" y="24"/>
                  </a:lnTo>
                  <a:lnTo>
                    <a:pt x="18" y="20"/>
                  </a:lnTo>
                  <a:lnTo>
                    <a:pt x="21" y="17"/>
                  </a:lnTo>
                  <a:lnTo>
                    <a:pt x="23" y="15"/>
                  </a:lnTo>
                  <a:lnTo>
                    <a:pt x="28" y="13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6" y="1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4" name="Freeform 2793"/>
            <p:cNvSpPr>
              <a:spLocks/>
            </p:cNvSpPr>
            <p:nvPr/>
          </p:nvSpPr>
          <p:spPr bwMode="auto">
            <a:xfrm rot="1114411" flipH="1">
              <a:off x="1627191" y="4802054"/>
              <a:ext cx="75111" cy="74554"/>
            </a:xfrm>
            <a:custGeom>
              <a:avLst/>
              <a:gdLst>
                <a:gd name="T0" fmla="*/ 2147483647 w 135"/>
                <a:gd name="T1" fmla="*/ 0 h 134"/>
                <a:gd name="T2" fmla="*/ 2147483647 w 135"/>
                <a:gd name="T3" fmla="*/ 2147483647 h 134"/>
                <a:gd name="T4" fmla="*/ 2147483647 w 135"/>
                <a:gd name="T5" fmla="*/ 2147483647 h 134"/>
                <a:gd name="T6" fmla="*/ 2147483647 w 135"/>
                <a:gd name="T7" fmla="*/ 2147483647 h 134"/>
                <a:gd name="T8" fmla="*/ 2147483647 w 135"/>
                <a:gd name="T9" fmla="*/ 2147483647 h 134"/>
                <a:gd name="T10" fmla="*/ 2147483647 w 135"/>
                <a:gd name="T11" fmla="*/ 2147483647 h 134"/>
                <a:gd name="T12" fmla="*/ 2147483647 w 135"/>
                <a:gd name="T13" fmla="*/ 2147483647 h 134"/>
                <a:gd name="T14" fmla="*/ 2147483647 w 135"/>
                <a:gd name="T15" fmla="*/ 2147483647 h 134"/>
                <a:gd name="T16" fmla="*/ 2147483647 w 135"/>
                <a:gd name="T17" fmla="*/ 2147483647 h 134"/>
                <a:gd name="T18" fmla="*/ 2147483647 w 135"/>
                <a:gd name="T19" fmla="*/ 2147483647 h 134"/>
                <a:gd name="T20" fmla="*/ 2147483647 w 135"/>
                <a:gd name="T21" fmla="*/ 2147483647 h 134"/>
                <a:gd name="T22" fmla="*/ 2147483647 w 135"/>
                <a:gd name="T23" fmla="*/ 2147483647 h 134"/>
                <a:gd name="T24" fmla="*/ 2147483647 w 135"/>
                <a:gd name="T25" fmla="*/ 2147483647 h 134"/>
                <a:gd name="T26" fmla="*/ 2147483647 w 135"/>
                <a:gd name="T27" fmla="*/ 2147483647 h 134"/>
                <a:gd name="T28" fmla="*/ 2147483647 w 135"/>
                <a:gd name="T29" fmla="*/ 2147483647 h 134"/>
                <a:gd name="T30" fmla="*/ 2147483647 w 135"/>
                <a:gd name="T31" fmla="*/ 2147483647 h 134"/>
                <a:gd name="T32" fmla="*/ 2147483647 w 135"/>
                <a:gd name="T33" fmla="*/ 2147483647 h 134"/>
                <a:gd name="T34" fmla="*/ 2147483647 w 135"/>
                <a:gd name="T35" fmla="*/ 2147483647 h 134"/>
                <a:gd name="T36" fmla="*/ 2147483647 w 135"/>
                <a:gd name="T37" fmla="*/ 2147483647 h 134"/>
                <a:gd name="T38" fmla="*/ 2147483647 w 135"/>
                <a:gd name="T39" fmla="*/ 2147483647 h 134"/>
                <a:gd name="T40" fmla="*/ 2147483647 w 135"/>
                <a:gd name="T41" fmla="*/ 2147483647 h 134"/>
                <a:gd name="T42" fmla="*/ 2147483647 w 135"/>
                <a:gd name="T43" fmla="*/ 2147483647 h 134"/>
                <a:gd name="T44" fmla="*/ 2147483647 w 135"/>
                <a:gd name="T45" fmla="*/ 2147483647 h 134"/>
                <a:gd name="T46" fmla="*/ 2147483647 w 135"/>
                <a:gd name="T47" fmla="*/ 2147483647 h 134"/>
                <a:gd name="T48" fmla="*/ 2147483647 w 135"/>
                <a:gd name="T49" fmla="*/ 2147483647 h 134"/>
                <a:gd name="T50" fmla="*/ 2147483647 w 135"/>
                <a:gd name="T51" fmla="*/ 2147483647 h 134"/>
                <a:gd name="T52" fmla="*/ 2147483647 w 135"/>
                <a:gd name="T53" fmla="*/ 2147483647 h 134"/>
                <a:gd name="T54" fmla="*/ 2147483647 w 135"/>
                <a:gd name="T55" fmla="*/ 2147483647 h 134"/>
                <a:gd name="T56" fmla="*/ 2147483647 w 135"/>
                <a:gd name="T57" fmla="*/ 2147483647 h 134"/>
                <a:gd name="T58" fmla="*/ 2147483647 w 135"/>
                <a:gd name="T59" fmla="*/ 2147483647 h 134"/>
                <a:gd name="T60" fmla="*/ 2147483647 w 135"/>
                <a:gd name="T61" fmla="*/ 2147483647 h 134"/>
                <a:gd name="T62" fmla="*/ 2147483647 w 135"/>
                <a:gd name="T63" fmla="*/ 2147483647 h 134"/>
                <a:gd name="T64" fmla="*/ 2147483647 w 135"/>
                <a:gd name="T65" fmla="*/ 2147483647 h 134"/>
                <a:gd name="T66" fmla="*/ 0 w 135"/>
                <a:gd name="T67" fmla="*/ 2147483647 h 134"/>
                <a:gd name="T68" fmla="*/ 0 w 135"/>
                <a:gd name="T69" fmla="*/ 2147483647 h 134"/>
                <a:gd name="T70" fmla="*/ 2147483647 w 135"/>
                <a:gd name="T71" fmla="*/ 2147483647 h 134"/>
                <a:gd name="T72" fmla="*/ 2147483647 w 135"/>
                <a:gd name="T73" fmla="*/ 2147483647 h 134"/>
                <a:gd name="T74" fmla="*/ 2147483647 w 135"/>
                <a:gd name="T75" fmla="*/ 2147483647 h 134"/>
                <a:gd name="T76" fmla="*/ 2147483647 w 135"/>
                <a:gd name="T77" fmla="*/ 2147483647 h 134"/>
                <a:gd name="T78" fmla="*/ 2147483647 w 135"/>
                <a:gd name="T79" fmla="*/ 2147483647 h 134"/>
                <a:gd name="T80" fmla="*/ 2147483647 w 135"/>
                <a:gd name="T81" fmla="*/ 2147483647 h 134"/>
                <a:gd name="T82" fmla="*/ 2147483647 w 135"/>
                <a:gd name="T83" fmla="*/ 2147483647 h 134"/>
                <a:gd name="T84" fmla="*/ 2147483647 w 135"/>
                <a:gd name="T85" fmla="*/ 2147483647 h 134"/>
                <a:gd name="T86" fmla="*/ 2147483647 w 135"/>
                <a:gd name="T87" fmla="*/ 0 h 1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5"/>
                <a:gd name="T133" fmla="*/ 0 h 134"/>
                <a:gd name="T134" fmla="*/ 135 w 135"/>
                <a:gd name="T135" fmla="*/ 134 h 1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5" h="134">
                  <a:moveTo>
                    <a:pt x="42" y="0"/>
                  </a:moveTo>
                  <a:lnTo>
                    <a:pt x="55" y="2"/>
                  </a:lnTo>
                  <a:lnTo>
                    <a:pt x="72" y="3"/>
                  </a:lnTo>
                  <a:lnTo>
                    <a:pt x="87" y="6"/>
                  </a:lnTo>
                  <a:lnTo>
                    <a:pt x="102" y="13"/>
                  </a:lnTo>
                  <a:lnTo>
                    <a:pt x="114" y="22"/>
                  </a:lnTo>
                  <a:lnTo>
                    <a:pt x="122" y="36"/>
                  </a:lnTo>
                  <a:lnTo>
                    <a:pt x="130" y="58"/>
                  </a:lnTo>
                  <a:lnTo>
                    <a:pt x="133" y="77"/>
                  </a:lnTo>
                  <a:lnTo>
                    <a:pt x="135" y="92"/>
                  </a:lnTo>
                  <a:lnTo>
                    <a:pt x="133" y="104"/>
                  </a:lnTo>
                  <a:lnTo>
                    <a:pt x="132" y="111"/>
                  </a:lnTo>
                  <a:lnTo>
                    <a:pt x="130" y="114"/>
                  </a:lnTo>
                  <a:lnTo>
                    <a:pt x="130" y="115"/>
                  </a:lnTo>
                  <a:lnTo>
                    <a:pt x="128" y="119"/>
                  </a:lnTo>
                  <a:lnTo>
                    <a:pt x="124" y="125"/>
                  </a:lnTo>
                  <a:lnTo>
                    <a:pt x="120" y="130"/>
                  </a:lnTo>
                  <a:lnTo>
                    <a:pt x="113" y="134"/>
                  </a:lnTo>
                  <a:lnTo>
                    <a:pt x="103" y="134"/>
                  </a:lnTo>
                  <a:lnTo>
                    <a:pt x="94" y="129"/>
                  </a:lnTo>
                  <a:lnTo>
                    <a:pt x="81" y="118"/>
                  </a:lnTo>
                  <a:lnTo>
                    <a:pt x="66" y="101"/>
                  </a:lnTo>
                  <a:lnTo>
                    <a:pt x="53" y="84"/>
                  </a:lnTo>
                  <a:lnTo>
                    <a:pt x="40" y="69"/>
                  </a:lnTo>
                  <a:lnTo>
                    <a:pt x="30" y="54"/>
                  </a:lnTo>
                  <a:lnTo>
                    <a:pt x="21" y="43"/>
                  </a:lnTo>
                  <a:lnTo>
                    <a:pt x="16" y="36"/>
                  </a:lnTo>
                  <a:lnTo>
                    <a:pt x="15" y="33"/>
                  </a:lnTo>
                  <a:lnTo>
                    <a:pt x="13" y="30"/>
                  </a:lnTo>
                  <a:lnTo>
                    <a:pt x="10" y="25"/>
                  </a:lnTo>
                  <a:lnTo>
                    <a:pt x="8" y="18"/>
                  </a:lnTo>
                  <a:lnTo>
                    <a:pt x="4" y="13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5" y="3"/>
                  </a:lnTo>
                  <a:lnTo>
                    <a:pt x="8" y="3"/>
                  </a:lnTo>
                  <a:lnTo>
                    <a:pt x="12" y="2"/>
                  </a:lnTo>
                  <a:lnTo>
                    <a:pt x="16" y="2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30" y="2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5" name="Freeform 2794"/>
            <p:cNvSpPr>
              <a:spLocks/>
            </p:cNvSpPr>
            <p:nvPr/>
          </p:nvSpPr>
          <p:spPr bwMode="auto">
            <a:xfrm rot="1114411" flipH="1">
              <a:off x="1520739" y="4910112"/>
              <a:ext cx="82344" cy="73998"/>
            </a:xfrm>
            <a:custGeom>
              <a:avLst/>
              <a:gdLst>
                <a:gd name="T0" fmla="*/ 2147483647 w 148"/>
                <a:gd name="T1" fmla="*/ 0 h 133"/>
                <a:gd name="T2" fmla="*/ 2147483647 w 148"/>
                <a:gd name="T3" fmla="*/ 2147483647 h 133"/>
                <a:gd name="T4" fmla="*/ 2147483647 w 148"/>
                <a:gd name="T5" fmla="*/ 2147483647 h 133"/>
                <a:gd name="T6" fmla="*/ 2147483647 w 148"/>
                <a:gd name="T7" fmla="*/ 2147483647 h 133"/>
                <a:gd name="T8" fmla="*/ 2147483647 w 148"/>
                <a:gd name="T9" fmla="*/ 2147483647 h 133"/>
                <a:gd name="T10" fmla="*/ 2147483647 w 148"/>
                <a:gd name="T11" fmla="*/ 2147483647 h 133"/>
                <a:gd name="T12" fmla="*/ 2147483647 w 148"/>
                <a:gd name="T13" fmla="*/ 2147483647 h 133"/>
                <a:gd name="T14" fmla="*/ 2147483647 w 148"/>
                <a:gd name="T15" fmla="*/ 2147483647 h 133"/>
                <a:gd name="T16" fmla="*/ 2147483647 w 148"/>
                <a:gd name="T17" fmla="*/ 2147483647 h 133"/>
                <a:gd name="T18" fmla="*/ 2147483647 w 148"/>
                <a:gd name="T19" fmla="*/ 2147483647 h 133"/>
                <a:gd name="T20" fmla="*/ 2147483647 w 148"/>
                <a:gd name="T21" fmla="*/ 2147483647 h 133"/>
                <a:gd name="T22" fmla="*/ 2147483647 w 148"/>
                <a:gd name="T23" fmla="*/ 2147483647 h 133"/>
                <a:gd name="T24" fmla="*/ 2147483647 w 148"/>
                <a:gd name="T25" fmla="*/ 2147483647 h 133"/>
                <a:gd name="T26" fmla="*/ 2147483647 w 148"/>
                <a:gd name="T27" fmla="*/ 2147483647 h 133"/>
                <a:gd name="T28" fmla="*/ 2147483647 w 148"/>
                <a:gd name="T29" fmla="*/ 2147483647 h 133"/>
                <a:gd name="T30" fmla="*/ 2147483647 w 148"/>
                <a:gd name="T31" fmla="*/ 2147483647 h 133"/>
                <a:gd name="T32" fmla="*/ 2147483647 w 148"/>
                <a:gd name="T33" fmla="*/ 2147483647 h 133"/>
                <a:gd name="T34" fmla="*/ 2147483647 w 148"/>
                <a:gd name="T35" fmla="*/ 2147483647 h 133"/>
                <a:gd name="T36" fmla="*/ 2147483647 w 148"/>
                <a:gd name="T37" fmla="*/ 2147483647 h 133"/>
                <a:gd name="T38" fmla="*/ 2147483647 w 148"/>
                <a:gd name="T39" fmla="*/ 2147483647 h 133"/>
                <a:gd name="T40" fmla="*/ 2147483647 w 148"/>
                <a:gd name="T41" fmla="*/ 2147483647 h 133"/>
                <a:gd name="T42" fmla="*/ 2147483647 w 148"/>
                <a:gd name="T43" fmla="*/ 2147483647 h 133"/>
                <a:gd name="T44" fmla="*/ 2147483647 w 148"/>
                <a:gd name="T45" fmla="*/ 2147483647 h 133"/>
                <a:gd name="T46" fmla="*/ 2147483647 w 148"/>
                <a:gd name="T47" fmla="*/ 2147483647 h 133"/>
                <a:gd name="T48" fmla="*/ 2147483647 w 148"/>
                <a:gd name="T49" fmla="*/ 2147483647 h 133"/>
                <a:gd name="T50" fmla="*/ 2147483647 w 148"/>
                <a:gd name="T51" fmla="*/ 2147483647 h 133"/>
                <a:gd name="T52" fmla="*/ 2147483647 w 148"/>
                <a:gd name="T53" fmla="*/ 2147483647 h 133"/>
                <a:gd name="T54" fmla="*/ 2147483647 w 148"/>
                <a:gd name="T55" fmla="*/ 2147483647 h 133"/>
                <a:gd name="T56" fmla="*/ 2147483647 w 148"/>
                <a:gd name="T57" fmla="*/ 2147483647 h 133"/>
                <a:gd name="T58" fmla="*/ 0 w 148"/>
                <a:gd name="T59" fmla="*/ 2147483647 h 133"/>
                <a:gd name="T60" fmla="*/ 2147483647 w 148"/>
                <a:gd name="T61" fmla="*/ 2147483647 h 133"/>
                <a:gd name="T62" fmla="*/ 2147483647 w 148"/>
                <a:gd name="T63" fmla="*/ 2147483647 h 133"/>
                <a:gd name="T64" fmla="*/ 2147483647 w 148"/>
                <a:gd name="T65" fmla="*/ 2147483647 h 133"/>
                <a:gd name="T66" fmla="*/ 2147483647 w 148"/>
                <a:gd name="T67" fmla="*/ 2147483647 h 133"/>
                <a:gd name="T68" fmla="*/ 2147483647 w 148"/>
                <a:gd name="T69" fmla="*/ 2147483647 h 133"/>
                <a:gd name="T70" fmla="*/ 2147483647 w 148"/>
                <a:gd name="T71" fmla="*/ 0 h 1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8"/>
                <a:gd name="T109" fmla="*/ 0 h 133"/>
                <a:gd name="T110" fmla="*/ 148 w 148"/>
                <a:gd name="T111" fmla="*/ 133 h 1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8" h="133">
                  <a:moveTo>
                    <a:pt x="40" y="0"/>
                  </a:moveTo>
                  <a:lnTo>
                    <a:pt x="52" y="8"/>
                  </a:lnTo>
                  <a:lnTo>
                    <a:pt x="68" y="15"/>
                  </a:lnTo>
                  <a:lnTo>
                    <a:pt x="86" y="19"/>
                  </a:lnTo>
                  <a:lnTo>
                    <a:pt x="104" y="25"/>
                  </a:lnTo>
                  <a:lnTo>
                    <a:pt x="120" y="29"/>
                  </a:lnTo>
                  <a:lnTo>
                    <a:pt x="133" y="33"/>
                  </a:lnTo>
                  <a:lnTo>
                    <a:pt x="141" y="38"/>
                  </a:lnTo>
                  <a:lnTo>
                    <a:pt x="146" y="48"/>
                  </a:lnTo>
                  <a:lnTo>
                    <a:pt x="148" y="59"/>
                  </a:lnTo>
                  <a:lnTo>
                    <a:pt x="146" y="71"/>
                  </a:lnTo>
                  <a:lnTo>
                    <a:pt x="145" y="82"/>
                  </a:lnTo>
                  <a:lnTo>
                    <a:pt x="142" y="92"/>
                  </a:lnTo>
                  <a:lnTo>
                    <a:pt x="141" y="98"/>
                  </a:lnTo>
                  <a:lnTo>
                    <a:pt x="139" y="101"/>
                  </a:lnTo>
                  <a:lnTo>
                    <a:pt x="138" y="105"/>
                  </a:lnTo>
                  <a:lnTo>
                    <a:pt x="134" y="113"/>
                  </a:lnTo>
                  <a:lnTo>
                    <a:pt x="127" y="122"/>
                  </a:lnTo>
                  <a:lnTo>
                    <a:pt x="119" y="130"/>
                  </a:lnTo>
                  <a:lnTo>
                    <a:pt x="109" y="133"/>
                  </a:lnTo>
                  <a:lnTo>
                    <a:pt x="94" y="133"/>
                  </a:lnTo>
                  <a:lnTo>
                    <a:pt x="75" y="130"/>
                  </a:lnTo>
                  <a:lnTo>
                    <a:pt x="58" y="126"/>
                  </a:lnTo>
                  <a:lnTo>
                    <a:pt x="44" y="122"/>
                  </a:lnTo>
                  <a:lnTo>
                    <a:pt x="36" y="116"/>
                  </a:lnTo>
                  <a:lnTo>
                    <a:pt x="25" y="105"/>
                  </a:lnTo>
                  <a:lnTo>
                    <a:pt x="17" y="93"/>
                  </a:lnTo>
                  <a:lnTo>
                    <a:pt x="8" y="79"/>
                  </a:lnTo>
                  <a:lnTo>
                    <a:pt x="3" y="68"/>
                  </a:lnTo>
                  <a:lnTo>
                    <a:pt x="0" y="52"/>
                  </a:lnTo>
                  <a:lnTo>
                    <a:pt x="3" y="37"/>
                  </a:lnTo>
                  <a:lnTo>
                    <a:pt x="11" y="25"/>
                  </a:lnTo>
                  <a:lnTo>
                    <a:pt x="21" y="14"/>
                  </a:lnTo>
                  <a:lnTo>
                    <a:pt x="30" y="7"/>
                  </a:lnTo>
                  <a:lnTo>
                    <a:pt x="37" y="3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6" name="Freeform 2795"/>
            <p:cNvSpPr>
              <a:spLocks/>
            </p:cNvSpPr>
            <p:nvPr/>
          </p:nvSpPr>
          <p:spPr bwMode="auto">
            <a:xfrm rot="1114411" flipH="1">
              <a:off x="1483648" y="4803669"/>
              <a:ext cx="51187" cy="48405"/>
            </a:xfrm>
            <a:custGeom>
              <a:avLst/>
              <a:gdLst>
                <a:gd name="T0" fmla="*/ 2147483647 w 92"/>
                <a:gd name="T1" fmla="*/ 0 h 87"/>
                <a:gd name="T2" fmla="*/ 2147483647 w 92"/>
                <a:gd name="T3" fmla="*/ 2147483647 h 87"/>
                <a:gd name="T4" fmla="*/ 2147483647 w 92"/>
                <a:gd name="T5" fmla="*/ 2147483647 h 87"/>
                <a:gd name="T6" fmla="*/ 2147483647 w 92"/>
                <a:gd name="T7" fmla="*/ 2147483647 h 87"/>
                <a:gd name="T8" fmla="*/ 2147483647 w 92"/>
                <a:gd name="T9" fmla="*/ 2147483647 h 87"/>
                <a:gd name="T10" fmla="*/ 2147483647 w 92"/>
                <a:gd name="T11" fmla="*/ 2147483647 h 87"/>
                <a:gd name="T12" fmla="*/ 2147483647 w 92"/>
                <a:gd name="T13" fmla="*/ 2147483647 h 87"/>
                <a:gd name="T14" fmla="*/ 2147483647 w 92"/>
                <a:gd name="T15" fmla="*/ 2147483647 h 87"/>
                <a:gd name="T16" fmla="*/ 2147483647 w 92"/>
                <a:gd name="T17" fmla="*/ 2147483647 h 87"/>
                <a:gd name="T18" fmla="*/ 2147483647 w 92"/>
                <a:gd name="T19" fmla="*/ 2147483647 h 87"/>
                <a:gd name="T20" fmla="*/ 2147483647 w 92"/>
                <a:gd name="T21" fmla="*/ 2147483647 h 87"/>
                <a:gd name="T22" fmla="*/ 2147483647 w 92"/>
                <a:gd name="T23" fmla="*/ 2147483647 h 87"/>
                <a:gd name="T24" fmla="*/ 2147483647 w 92"/>
                <a:gd name="T25" fmla="*/ 2147483647 h 87"/>
                <a:gd name="T26" fmla="*/ 2147483647 w 92"/>
                <a:gd name="T27" fmla="*/ 2147483647 h 87"/>
                <a:gd name="T28" fmla="*/ 2147483647 w 92"/>
                <a:gd name="T29" fmla="*/ 2147483647 h 87"/>
                <a:gd name="T30" fmla="*/ 2147483647 w 92"/>
                <a:gd name="T31" fmla="*/ 2147483647 h 87"/>
                <a:gd name="T32" fmla="*/ 2147483647 w 92"/>
                <a:gd name="T33" fmla="*/ 2147483647 h 87"/>
                <a:gd name="T34" fmla="*/ 2147483647 w 92"/>
                <a:gd name="T35" fmla="*/ 2147483647 h 87"/>
                <a:gd name="T36" fmla="*/ 2147483647 w 92"/>
                <a:gd name="T37" fmla="*/ 2147483647 h 87"/>
                <a:gd name="T38" fmla="*/ 2147483647 w 92"/>
                <a:gd name="T39" fmla="*/ 2147483647 h 87"/>
                <a:gd name="T40" fmla="*/ 2147483647 w 92"/>
                <a:gd name="T41" fmla="*/ 2147483647 h 87"/>
                <a:gd name="T42" fmla="*/ 2147483647 w 92"/>
                <a:gd name="T43" fmla="*/ 2147483647 h 87"/>
                <a:gd name="T44" fmla="*/ 0 w 92"/>
                <a:gd name="T45" fmla="*/ 2147483647 h 87"/>
                <a:gd name="T46" fmla="*/ 2147483647 w 92"/>
                <a:gd name="T47" fmla="*/ 2147483647 h 87"/>
                <a:gd name="T48" fmla="*/ 2147483647 w 92"/>
                <a:gd name="T49" fmla="*/ 2147483647 h 87"/>
                <a:gd name="T50" fmla="*/ 2147483647 w 92"/>
                <a:gd name="T51" fmla="*/ 2147483647 h 87"/>
                <a:gd name="T52" fmla="*/ 2147483647 w 92"/>
                <a:gd name="T53" fmla="*/ 2147483647 h 87"/>
                <a:gd name="T54" fmla="*/ 2147483647 w 92"/>
                <a:gd name="T55" fmla="*/ 2147483647 h 87"/>
                <a:gd name="T56" fmla="*/ 2147483647 w 92"/>
                <a:gd name="T57" fmla="*/ 2147483647 h 87"/>
                <a:gd name="T58" fmla="*/ 2147483647 w 92"/>
                <a:gd name="T59" fmla="*/ 2147483647 h 87"/>
                <a:gd name="T60" fmla="*/ 2147483647 w 92"/>
                <a:gd name="T61" fmla="*/ 2147483647 h 87"/>
                <a:gd name="T62" fmla="*/ 2147483647 w 92"/>
                <a:gd name="T63" fmla="*/ 2147483647 h 87"/>
                <a:gd name="T64" fmla="*/ 2147483647 w 92"/>
                <a:gd name="T65" fmla="*/ 2147483647 h 87"/>
                <a:gd name="T66" fmla="*/ 2147483647 w 92"/>
                <a:gd name="T67" fmla="*/ 2147483647 h 87"/>
                <a:gd name="T68" fmla="*/ 2147483647 w 92"/>
                <a:gd name="T69" fmla="*/ 2147483647 h 87"/>
                <a:gd name="T70" fmla="*/ 2147483647 w 92"/>
                <a:gd name="T71" fmla="*/ 2147483647 h 87"/>
                <a:gd name="T72" fmla="*/ 2147483647 w 92"/>
                <a:gd name="T73" fmla="*/ 2147483647 h 87"/>
                <a:gd name="T74" fmla="*/ 2147483647 w 92"/>
                <a:gd name="T75" fmla="*/ 2147483647 h 87"/>
                <a:gd name="T76" fmla="*/ 2147483647 w 92"/>
                <a:gd name="T77" fmla="*/ 0 h 8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"/>
                <a:gd name="T118" fmla="*/ 0 h 87"/>
                <a:gd name="T119" fmla="*/ 92 w 92"/>
                <a:gd name="T120" fmla="*/ 87 h 8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" h="87">
                  <a:moveTo>
                    <a:pt x="65" y="0"/>
                  </a:moveTo>
                  <a:lnTo>
                    <a:pt x="73" y="1"/>
                  </a:lnTo>
                  <a:lnTo>
                    <a:pt x="83" y="8"/>
                  </a:lnTo>
                  <a:lnTo>
                    <a:pt x="90" y="23"/>
                  </a:lnTo>
                  <a:lnTo>
                    <a:pt x="92" y="37"/>
                  </a:lnTo>
                  <a:lnTo>
                    <a:pt x="90" y="47"/>
                  </a:lnTo>
                  <a:lnTo>
                    <a:pt x="84" y="51"/>
                  </a:lnTo>
                  <a:lnTo>
                    <a:pt x="76" y="53"/>
                  </a:lnTo>
                  <a:lnTo>
                    <a:pt x="65" y="59"/>
                  </a:lnTo>
                  <a:lnTo>
                    <a:pt x="56" y="66"/>
                  </a:lnTo>
                  <a:lnTo>
                    <a:pt x="50" y="75"/>
                  </a:lnTo>
                  <a:lnTo>
                    <a:pt x="49" y="81"/>
                  </a:lnTo>
                  <a:lnTo>
                    <a:pt x="47" y="85"/>
                  </a:lnTo>
                  <a:lnTo>
                    <a:pt x="45" y="87"/>
                  </a:lnTo>
                  <a:lnTo>
                    <a:pt x="42" y="87"/>
                  </a:lnTo>
                  <a:lnTo>
                    <a:pt x="38" y="87"/>
                  </a:lnTo>
                  <a:lnTo>
                    <a:pt x="32" y="87"/>
                  </a:lnTo>
                  <a:lnTo>
                    <a:pt x="27" y="86"/>
                  </a:lnTo>
                  <a:lnTo>
                    <a:pt x="20" y="86"/>
                  </a:lnTo>
                  <a:lnTo>
                    <a:pt x="13" y="85"/>
                  </a:lnTo>
                  <a:lnTo>
                    <a:pt x="7" y="82"/>
                  </a:lnTo>
                  <a:lnTo>
                    <a:pt x="2" y="77"/>
                  </a:lnTo>
                  <a:lnTo>
                    <a:pt x="0" y="68"/>
                  </a:lnTo>
                  <a:lnTo>
                    <a:pt x="2" y="56"/>
                  </a:lnTo>
                  <a:lnTo>
                    <a:pt x="4" y="55"/>
                  </a:lnTo>
                  <a:lnTo>
                    <a:pt x="8" y="49"/>
                  </a:lnTo>
                  <a:lnTo>
                    <a:pt x="13" y="41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7" y="22"/>
                  </a:lnTo>
                  <a:lnTo>
                    <a:pt x="20" y="18"/>
                  </a:lnTo>
                  <a:lnTo>
                    <a:pt x="23" y="16"/>
                  </a:lnTo>
                  <a:lnTo>
                    <a:pt x="27" y="14"/>
                  </a:lnTo>
                  <a:lnTo>
                    <a:pt x="31" y="14"/>
                  </a:lnTo>
                  <a:lnTo>
                    <a:pt x="35" y="12"/>
                  </a:lnTo>
                  <a:lnTo>
                    <a:pt x="41" y="11"/>
                  </a:lnTo>
                  <a:lnTo>
                    <a:pt x="49" y="7"/>
                  </a:lnTo>
                  <a:lnTo>
                    <a:pt x="57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61" name="Curved Down Arrow 360"/>
          <p:cNvSpPr>
            <a:spLocks noChangeArrowheads="1"/>
          </p:cNvSpPr>
          <p:nvPr/>
        </p:nvSpPr>
        <p:spPr bwMode="auto">
          <a:xfrm rot="20685592">
            <a:off x="4637088" y="1660525"/>
            <a:ext cx="1976437" cy="731838"/>
          </a:xfrm>
          <a:prstGeom prst="curvedDownArrow">
            <a:avLst>
              <a:gd name="adj1" fmla="val 24996"/>
              <a:gd name="adj2" fmla="val 50005"/>
              <a:gd name="adj3" fmla="val 25000"/>
            </a:avLst>
          </a:prstGeom>
          <a:gradFill rotWithShape="1">
            <a:gsLst>
              <a:gs pos="0">
                <a:srgbClr val="7F7F7F">
                  <a:alpha val="0"/>
                </a:srgbClr>
              </a:gs>
              <a:gs pos="10001">
                <a:srgbClr val="7F7F7F">
                  <a:alpha val="10001"/>
                </a:srgbClr>
              </a:gs>
              <a:gs pos="64999">
                <a:schemeClr val="accent1">
                  <a:lumMod val="75000"/>
                  <a:alpha val="18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21180000"/>
          </a:gra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endParaRPr lang="en-US">
              <a:latin typeface="+mn-lt"/>
              <a:ea typeface="+mn-ea"/>
            </a:endParaRPr>
          </a:p>
        </p:txBody>
      </p:sp>
      <p:grpSp>
        <p:nvGrpSpPr>
          <p:cNvPr id="13321" name="Group 284"/>
          <p:cNvGrpSpPr>
            <a:grpSpLocks/>
          </p:cNvGrpSpPr>
          <p:nvPr/>
        </p:nvGrpSpPr>
        <p:grpSpPr bwMode="auto">
          <a:xfrm>
            <a:off x="5649913" y="2132013"/>
            <a:ext cx="2466975" cy="2259012"/>
            <a:chOff x="5864652" y="2187417"/>
            <a:chExt cx="2182610" cy="1998712"/>
          </a:xfrm>
        </p:grpSpPr>
        <p:sp>
          <p:nvSpPr>
            <p:cNvPr id="286" name="Freeform 7"/>
            <p:cNvSpPr>
              <a:spLocks/>
            </p:cNvSpPr>
            <p:nvPr/>
          </p:nvSpPr>
          <p:spPr bwMode="auto">
            <a:xfrm>
              <a:off x="5864652" y="2187417"/>
              <a:ext cx="2182610" cy="1998712"/>
            </a:xfrm>
            <a:custGeom>
              <a:avLst/>
              <a:gdLst/>
              <a:ahLst/>
              <a:cxnLst>
                <a:cxn ang="0">
                  <a:pos x="460" y="3698"/>
                </a:cxn>
                <a:cxn ang="0">
                  <a:pos x="915" y="3098"/>
                </a:cxn>
                <a:cxn ang="0">
                  <a:pos x="781" y="2880"/>
                </a:cxn>
                <a:cxn ang="0">
                  <a:pos x="894" y="2729"/>
                </a:cxn>
                <a:cxn ang="0">
                  <a:pos x="723" y="2479"/>
                </a:cxn>
                <a:cxn ang="0">
                  <a:pos x="737" y="2278"/>
                </a:cxn>
                <a:cxn ang="0">
                  <a:pos x="640" y="2099"/>
                </a:cxn>
                <a:cxn ang="0">
                  <a:pos x="974" y="1858"/>
                </a:cxn>
                <a:cxn ang="0">
                  <a:pos x="584" y="1697"/>
                </a:cxn>
                <a:cxn ang="0">
                  <a:pos x="488" y="1329"/>
                </a:cxn>
                <a:cxn ang="0">
                  <a:pos x="393" y="961"/>
                </a:cxn>
                <a:cxn ang="0">
                  <a:pos x="295" y="735"/>
                </a:cxn>
                <a:cxn ang="0">
                  <a:pos x="111" y="452"/>
                </a:cxn>
                <a:cxn ang="0">
                  <a:pos x="17" y="145"/>
                </a:cxn>
                <a:cxn ang="0">
                  <a:pos x="299" y="4"/>
                </a:cxn>
                <a:cxn ang="0">
                  <a:pos x="1521" y="809"/>
                </a:cxn>
                <a:cxn ang="0">
                  <a:pos x="2013" y="1452"/>
                </a:cxn>
                <a:cxn ang="0">
                  <a:pos x="2042" y="1465"/>
                </a:cxn>
                <a:cxn ang="0">
                  <a:pos x="2086" y="1260"/>
                </a:cxn>
                <a:cxn ang="0">
                  <a:pos x="1706" y="959"/>
                </a:cxn>
                <a:cxn ang="0">
                  <a:pos x="1835" y="985"/>
                </a:cxn>
                <a:cxn ang="0">
                  <a:pos x="2166" y="1319"/>
                </a:cxn>
                <a:cxn ang="0">
                  <a:pos x="2486" y="1000"/>
                </a:cxn>
                <a:cxn ang="0">
                  <a:pos x="2645" y="956"/>
                </a:cxn>
                <a:cxn ang="0">
                  <a:pos x="2271" y="1237"/>
                </a:cxn>
                <a:cxn ang="0">
                  <a:pos x="2291" y="1450"/>
                </a:cxn>
                <a:cxn ang="0">
                  <a:pos x="2314" y="1463"/>
                </a:cxn>
                <a:cxn ang="0">
                  <a:pos x="2716" y="926"/>
                </a:cxn>
                <a:cxn ang="0">
                  <a:pos x="3991" y="7"/>
                </a:cxn>
                <a:cxn ang="0">
                  <a:pos x="4302" y="128"/>
                </a:cxn>
                <a:cxn ang="0">
                  <a:pos x="4231" y="433"/>
                </a:cxn>
                <a:cxn ang="0">
                  <a:pos x="4051" y="717"/>
                </a:cxn>
                <a:cxn ang="0">
                  <a:pos x="3949" y="947"/>
                </a:cxn>
                <a:cxn ang="0">
                  <a:pos x="3849" y="1310"/>
                </a:cxn>
                <a:cxn ang="0">
                  <a:pos x="3752" y="1683"/>
                </a:cxn>
                <a:cxn ang="0">
                  <a:pos x="3359" y="1854"/>
                </a:cxn>
                <a:cxn ang="0">
                  <a:pos x="3700" y="2090"/>
                </a:cxn>
                <a:cxn ang="0">
                  <a:pos x="3611" y="2264"/>
                </a:cxn>
                <a:cxn ang="0">
                  <a:pos x="3603" y="2471"/>
                </a:cxn>
                <a:cxn ang="0">
                  <a:pos x="3442" y="2710"/>
                </a:cxn>
                <a:cxn ang="0">
                  <a:pos x="3570" y="2879"/>
                </a:cxn>
                <a:cxn ang="0">
                  <a:pos x="3407" y="3080"/>
                </a:cxn>
                <a:cxn ang="0">
                  <a:pos x="3841" y="3646"/>
                </a:cxn>
                <a:cxn ang="0">
                  <a:pos x="4114" y="3959"/>
                </a:cxn>
                <a:cxn ang="0">
                  <a:pos x="3754" y="3727"/>
                </a:cxn>
                <a:cxn ang="0">
                  <a:pos x="3444" y="3319"/>
                </a:cxn>
                <a:cxn ang="0">
                  <a:pos x="3283" y="3344"/>
                </a:cxn>
                <a:cxn ang="0">
                  <a:pos x="2997" y="3242"/>
                </a:cxn>
                <a:cxn ang="0">
                  <a:pos x="2672" y="2864"/>
                </a:cxn>
                <a:cxn ang="0">
                  <a:pos x="2514" y="2634"/>
                </a:cxn>
                <a:cxn ang="0">
                  <a:pos x="2351" y="2313"/>
                </a:cxn>
                <a:cxn ang="0">
                  <a:pos x="2279" y="2260"/>
                </a:cxn>
                <a:cxn ang="0">
                  <a:pos x="2086" y="2545"/>
                </a:cxn>
                <a:cxn ang="0">
                  <a:pos x="2020" y="2199"/>
                </a:cxn>
                <a:cxn ang="0">
                  <a:pos x="1882" y="2559"/>
                </a:cxn>
                <a:cxn ang="0">
                  <a:pos x="1719" y="2764"/>
                </a:cxn>
                <a:cxn ang="0">
                  <a:pos x="1539" y="3002"/>
                </a:cxn>
                <a:cxn ang="0">
                  <a:pos x="1132" y="3319"/>
                </a:cxn>
                <a:cxn ang="0">
                  <a:pos x="975" y="3242"/>
                </a:cxn>
                <a:cxn ang="0">
                  <a:pos x="720" y="3549"/>
                </a:cxn>
                <a:cxn ang="0">
                  <a:pos x="312" y="3927"/>
                </a:cxn>
              </a:cxnLst>
              <a:rect l="0" t="0" r="r" b="b"/>
              <a:pathLst>
                <a:path w="4334" h="3969">
                  <a:moveTo>
                    <a:pt x="224" y="3965"/>
                  </a:moveTo>
                  <a:lnTo>
                    <a:pt x="218" y="3956"/>
                  </a:lnTo>
                  <a:lnTo>
                    <a:pt x="216" y="3943"/>
                  </a:lnTo>
                  <a:lnTo>
                    <a:pt x="214" y="3926"/>
                  </a:lnTo>
                  <a:lnTo>
                    <a:pt x="216" y="3910"/>
                  </a:lnTo>
                  <a:lnTo>
                    <a:pt x="221" y="3896"/>
                  </a:lnTo>
                  <a:lnTo>
                    <a:pt x="229" y="3884"/>
                  </a:lnTo>
                  <a:lnTo>
                    <a:pt x="241" y="3872"/>
                  </a:lnTo>
                  <a:lnTo>
                    <a:pt x="259" y="3861"/>
                  </a:lnTo>
                  <a:lnTo>
                    <a:pt x="281" y="3850"/>
                  </a:lnTo>
                  <a:lnTo>
                    <a:pt x="310" y="3838"/>
                  </a:lnTo>
                  <a:lnTo>
                    <a:pt x="349" y="3819"/>
                  </a:lnTo>
                  <a:lnTo>
                    <a:pt x="383" y="3797"/>
                  </a:lnTo>
                  <a:lnTo>
                    <a:pt x="412" y="3769"/>
                  </a:lnTo>
                  <a:lnTo>
                    <a:pt x="438" y="3737"/>
                  </a:lnTo>
                  <a:lnTo>
                    <a:pt x="460" y="3698"/>
                  </a:lnTo>
                  <a:lnTo>
                    <a:pt x="473" y="3675"/>
                  </a:lnTo>
                  <a:lnTo>
                    <a:pt x="492" y="3646"/>
                  </a:lnTo>
                  <a:lnTo>
                    <a:pt x="514" y="3614"/>
                  </a:lnTo>
                  <a:lnTo>
                    <a:pt x="539" y="3578"/>
                  </a:lnTo>
                  <a:lnTo>
                    <a:pt x="568" y="3539"/>
                  </a:lnTo>
                  <a:lnTo>
                    <a:pt x="598" y="3499"/>
                  </a:lnTo>
                  <a:lnTo>
                    <a:pt x="666" y="3412"/>
                  </a:lnTo>
                  <a:lnTo>
                    <a:pt x="703" y="3367"/>
                  </a:lnTo>
                  <a:lnTo>
                    <a:pt x="743" y="3319"/>
                  </a:lnTo>
                  <a:lnTo>
                    <a:pt x="778" y="3275"/>
                  </a:lnTo>
                  <a:lnTo>
                    <a:pt x="810" y="3237"/>
                  </a:lnTo>
                  <a:lnTo>
                    <a:pt x="837" y="3202"/>
                  </a:lnTo>
                  <a:lnTo>
                    <a:pt x="862" y="3172"/>
                  </a:lnTo>
                  <a:lnTo>
                    <a:pt x="883" y="3144"/>
                  </a:lnTo>
                  <a:lnTo>
                    <a:pt x="900" y="3119"/>
                  </a:lnTo>
                  <a:lnTo>
                    <a:pt x="915" y="3098"/>
                  </a:lnTo>
                  <a:lnTo>
                    <a:pt x="927" y="3080"/>
                  </a:lnTo>
                  <a:lnTo>
                    <a:pt x="936" y="3062"/>
                  </a:lnTo>
                  <a:lnTo>
                    <a:pt x="944" y="3048"/>
                  </a:lnTo>
                  <a:lnTo>
                    <a:pt x="948" y="3036"/>
                  </a:lnTo>
                  <a:lnTo>
                    <a:pt x="950" y="3026"/>
                  </a:lnTo>
                  <a:lnTo>
                    <a:pt x="952" y="3016"/>
                  </a:lnTo>
                  <a:lnTo>
                    <a:pt x="949" y="3001"/>
                  </a:lnTo>
                  <a:lnTo>
                    <a:pt x="940" y="2984"/>
                  </a:lnTo>
                  <a:lnTo>
                    <a:pt x="925" y="2967"/>
                  </a:lnTo>
                  <a:lnTo>
                    <a:pt x="908" y="2948"/>
                  </a:lnTo>
                  <a:lnTo>
                    <a:pt x="889" y="2931"/>
                  </a:lnTo>
                  <a:lnTo>
                    <a:pt x="866" y="2914"/>
                  </a:lnTo>
                  <a:lnTo>
                    <a:pt x="844" y="2901"/>
                  </a:lnTo>
                  <a:lnTo>
                    <a:pt x="822" y="2889"/>
                  </a:lnTo>
                  <a:lnTo>
                    <a:pt x="801" y="2882"/>
                  </a:lnTo>
                  <a:lnTo>
                    <a:pt x="781" y="2880"/>
                  </a:lnTo>
                  <a:lnTo>
                    <a:pt x="764" y="2879"/>
                  </a:lnTo>
                  <a:lnTo>
                    <a:pt x="755" y="2875"/>
                  </a:lnTo>
                  <a:lnTo>
                    <a:pt x="751" y="2869"/>
                  </a:lnTo>
                  <a:lnTo>
                    <a:pt x="753" y="2861"/>
                  </a:lnTo>
                  <a:lnTo>
                    <a:pt x="761" y="2851"/>
                  </a:lnTo>
                  <a:lnTo>
                    <a:pt x="773" y="2838"/>
                  </a:lnTo>
                  <a:lnTo>
                    <a:pt x="787" y="2823"/>
                  </a:lnTo>
                  <a:lnTo>
                    <a:pt x="804" y="2809"/>
                  </a:lnTo>
                  <a:lnTo>
                    <a:pt x="822" y="2793"/>
                  </a:lnTo>
                  <a:lnTo>
                    <a:pt x="839" y="2780"/>
                  </a:lnTo>
                  <a:lnTo>
                    <a:pt x="854" y="2769"/>
                  </a:lnTo>
                  <a:lnTo>
                    <a:pt x="868" y="2762"/>
                  </a:lnTo>
                  <a:lnTo>
                    <a:pt x="882" y="2755"/>
                  </a:lnTo>
                  <a:lnTo>
                    <a:pt x="890" y="2748"/>
                  </a:lnTo>
                  <a:lnTo>
                    <a:pt x="894" y="2741"/>
                  </a:lnTo>
                  <a:lnTo>
                    <a:pt x="894" y="2729"/>
                  </a:lnTo>
                  <a:lnTo>
                    <a:pt x="892" y="2710"/>
                  </a:lnTo>
                  <a:lnTo>
                    <a:pt x="889" y="2692"/>
                  </a:lnTo>
                  <a:lnTo>
                    <a:pt x="883" y="2672"/>
                  </a:lnTo>
                  <a:lnTo>
                    <a:pt x="877" y="2653"/>
                  </a:lnTo>
                  <a:lnTo>
                    <a:pt x="869" y="2634"/>
                  </a:lnTo>
                  <a:lnTo>
                    <a:pt x="857" y="2614"/>
                  </a:lnTo>
                  <a:lnTo>
                    <a:pt x="841" y="2595"/>
                  </a:lnTo>
                  <a:lnTo>
                    <a:pt x="823" y="2574"/>
                  </a:lnTo>
                  <a:lnTo>
                    <a:pt x="803" y="2553"/>
                  </a:lnTo>
                  <a:lnTo>
                    <a:pt x="782" y="2534"/>
                  </a:lnTo>
                  <a:lnTo>
                    <a:pt x="762" y="2520"/>
                  </a:lnTo>
                  <a:lnTo>
                    <a:pt x="744" y="2508"/>
                  </a:lnTo>
                  <a:lnTo>
                    <a:pt x="731" y="2500"/>
                  </a:lnTo>
                  <a:lnTo>
                    <a:pt x="723" y="2494"/>
                  </a:lnTo>
                  <a:lnTo>
                    <a:pt x="720" y="2486"/>
                  </a:lnTo>
                  <a:lnTo>
                    <a:pt x="723" y="2479"/>
                  </a:lnTo>
                  <a:lnTo>
                    <a:pt x="731" y="2471"/>
                  </a:lnTo>
                  <a:lnTo>
                    <a:pt x="737" y="2463"/>
                  </a:lnTo>
                  <a:lnTo>
                    <a:pt x="741" y="2451"/>
                  </a:lnTo>
                  <a:lnTo>
                    <a:pt x="743" y="2440"/>
                  </a:lnTo>
                  <a:lnTo>
                    <a:pt x="744" y="2429"/>
                  </a:lnTo>
                  <a:lnTo>
                    <a:pt x="748" y="2417"/>
                  </a:lnTo>
                  <a:lnTo>
                    <a:pt x="755" y="2404"/>
                  </a:lnTo>
                  <a:lnTo>
                    <a:pt x="762" y="2391"/>
                  </a:lnTo>
                  <a:lnTo>
                    <a:pt x="770" y="2379"/>
                  </a:lnTo>
                  <a:lnTo>
                    <a:pt x="777" y="2366"/>
                  </a:lnTo>
                  <a:lnTo>
                    <a:pt x="782" y="2354"/>
                  </a:lnTo>
                  <a:lnTo>
                    <a:pt x="783" y="2345"/>
                  </a:lnTo>
                  <a:lnTo>
                    <a:pt x="781" y="2336"/>
                  </a:lnTo>
                  <a:lnTo>
                    <a:pt x="774" y="2324"/>
                  </a:lnTo>
                  <a:lnTo>
                    <a:pt x="764" y="2310"/>
                  </a:lnTo>
                  <a:lnTo>
                    <a:pt x="737" y="2278"/>
                  </a:lnTo>
                  <a:lnTo>
                    <a:pt x="723" y="2264"/>
                  </a:lnTo>
                  <a:lnTo>
                    <a:pt x="709" y="2250"/>
                  </a:lnTo>
                  <a:lnTo>
                    <a:pt x="697" y="2241"/>
                  </a:lnTo>
                  <a:lnTo>
                    <a:pt x="686" y="2236"/>
                  </a:lnTo>
                  <a:lnTo>
                    <a:pt x="676" y="2229"/>
                  </a:lnTo>
                  <a:lnTo>
                    <a:pt x="672" y="2220"/>
                  </a:lnTo>
                  <a:lnTo>
                    <a:pt x="674" y="2210"/>
                  </a:lnTo>
                  <a:lnTo>
                    <a:pt x="684" y="2199"/>
                  </a:lnTo>
                  <a:lnTo>
                    <a:pt x="690" y="2191"/>
                  </a:lnTo>
                  <a:lnTo>
                    <a:pt x="694" y="2182"/>
                  </a:lnTo>
                  <a:lnTo>
                    <a:pt x="693" y="2172"/>
                  </a:lnTo>
                  <a:lnTo>
                    <a:pt x="688" y="2158"/>
                  </a:lnTo>
                  <a:lnTo>
                    <a:pt x="677" y="2144"/>
                  </a:lnTo>
                  <a:lnTo>
                    <a:pt x="663" y="2127"/>
                  </a:lnTo>
                  <a:lnTo>
                    <a:pt x="651" y="2112"/>
                  </a:lnTo>
                  <a:lnTo>
                    <a:pt x="640" y="2099"/>
                  </a:lnTo>
                  <a:lnTo>
                    <a:pt x="634" y="2090"/>
                  </a:lnTo>
                  <a:lnTo>
                    <a:pt x="631" y="2084"/>
                  </a:lnTo>
                  <a:lnTo>
                    <a:pt x="635" y="2077"/>
                  </a:lnTo>
                  <a:lnTo>
                    <a:pt x="644" y="2068"/>
                  </a:lnTo>
                  <a:lnTo>
                    <a:pt x="659" y="2057"/>
                  </a:lnTo>
                  <a:lnTo>
                    <a:pt x="702" y="2028"/>
                  </a:lnTo>
                  <a:lnTo>
                    <a:pt x="730" y="2014"/>
                  </a:lnTo>
                  <a:lnTo>
                    <a:pt x="758" y="1998"/>
                  </a:lnTo>
                  <a:lnTo>
                    <a:pt x="822" y="1967"/>
                  </a:lnTo>
                  <a:lnTo>
                    <a:pt x="861" y="1948"/>
                  </a:lnTo>
                  <a:lnTo>
                    <a:pt x="894" y="1928"/>
                  </a:lnTo>
                  <a:lnTo>
                    <a:pt x="921" y="1910"/>
                  </a:lnTo>
                  <a:lnTo>
                    <a:pt x="941" y="1893"/>
                  </a:lnTo>
                  <a:lnTo>
                    <a:pt x="961" y="1873"/>
                  </a:lnTo>
                  <a:lnTo>
                    <a:pt x="969" y="1864"/>
                  </a:lnTo>
                  <a:lnTo>
                    <a:pt x="974" y="1858"/>
                  </a:lnTo>
                  <a:lnTo>
                    <a:pt x="975" y="1854"/>
                  </a:lnTo>
                  <a:lnTo>
                    <a:pt x="970" y="1852"/>
                  </a:lnTo>
                  <a:lnTo>
                    <a:pt x="957" y="1851"/>
                  </a:lnTo>
                  <a:lnTo>
                    <a:pt x="936" y="1850"/>
                  </a:lnTo>
                  <a:lnTo>
                    <a:pt x="908" y="1848"/>
                  </a:lnTo>
                  <a:lnTo>
                    <a:pt x="877" y="1847"/>
                  </a:lnTo>
                  <a:lnTo>
                    <a:pt x="841" y="1846"/>
                  </a:lnTo>
                  <a:lnTo>
                    <a:pt x="707" y="1843"/>
                  </a:lnTo>
                  <a:lnTo>
                    <a:pt x="690" y="1812"/>
                  </a:lnTo>
                  <a:lnTo>
                    <a:pt x="672" y="1784"/>
                  </a:lnTo>
                  <a:lnTo>
                    <a:pt x="651" y="1759"/>
                  </a:lnTo>
                  <a:lnTo>
                    <a:pt x="628" y="1739"/>
                  </a:lnTo>
                  <a:lnTo>
                    <a:pt x="605" y="1724"/>
                  </a:lnTo>
                  <a:lnTo>
                    <a:pt x="594" y="1716"/>
                  </a:lnTo>
                  <a:lnTo>
                    <a:pt x="588" y="1708"/>
                  </a:lnTo>
                  <a:lnTo>
                    <a:pt x="584" y="1697"/>
                  </a:lnTo>
                  <a:lnTo>
                    <a:pt x="582" y="1683"/>
                  </a:lnTo>
                  <a:lnTo>
                    <a:pt x="581" y="1662"/>
                  </a:lnTo>
                  <a:lnTo>
                    <a:pt x="575" y="1637"/>
                  </a:lnTo>
                  <a:lnTo>
                    <a:pt x="567" y="1609"/>
                  </a:lnTo>
                  <a:lnTo>
                    <a:pt x="555" y="1580"/>
                  </a:lnTo>
                  <a:lnTo>
                    <a:pt x="540" y="1550"/>
                  </a:lnTo>
                  <a:lnTo>
                    <a:pt x="525" y="1521"/>
                  </a:lnTo>
                  <a:lnTo>
                    <a:pt x="515" y="1505"/>
                  </a:lnTo>
                  <a:lnTo>
                    <a:pt x="507" y="1491"/>
                  </a:lnTo>
                  <a:lnTo>
                    <a:pt x="502" y="1476"/>
                  </a:lnTo>
                  <a:lnTo>
                    <a:pt x="498" y="1461"/>
                  </a:lnTo>
                  <a:lnTo>
                    <a:pt x="496" y="1442"/>
                  </a:lnTo>
                  <a:lnTo>
                    <a:pt x="494" y="1417"/>
                  </a:lnTo>
                  <a:lnTo>
                    <a:pt x="492" y="1386"/>
                  </a:lnTo>
                  <a:lnTo>
                    <a:pt x="490" y="1353"/>
                  </a:lnTo>
                  <a:lnTo>
                    <a:pt x="488" y="1329"/>
                  </a:lnTo>
                  <a:lnTo>
                    <a:pt x="485" y="1310"/>
                  </a:lnTo>
                  <a:lnTo>
                    <a:pt x="483" y="1295"/>
                  </a:lnTo>
                  <a:lnTo>
                    <a:pt x="476" y="1282"/>
                  </a:lnTo>
                  <a:lnTo>
                    <a:pt x="468" y="1268"/>
                  </a:lnTo>
                  <a:lnTo>
                    <a:pt x="458" y="1250"/>
                  </a:lnTo>
                  <a:lnTo>
                    <a:pt x="427" y="1204"/>
                  </a:lnTo>
                  <a:lnTo>
                    <a:pt x="426" y="1098"/>
                  </a:lnTo>
                  <a:lnTo>
                    <a:pt x="426" y="1061"/>
                  </a:lnTo>
                  <a:lnTo>
                    <a:pt x="425" y="1034"/>
                  </a:lnTo>
                  <a:lnTo>
                    <a:pt x="423" y="1014"/>
                  </a:lnTo>
                  <a:lnTo>
                    <a:pt x="421" y="1000"/>
                  </a:lnTo>
                  <a:lnTo>
                    <a:pt x="418" y="990"/>
                  </a:lnTo>
                  <a:lnTo>
                    <a:pt x="414" y="984"/>
                  </a:lnTo>
                  <a:lnTo>
                    <a:pt x="409" y="980"/>
                  </a:lnTo>
                  <a:lnTo>
                    <a:pt x="401" y="972"/>
                  </a:lnTo>
                  <a:lnTo>
                    <a:pt x="393" y="961"/>
                  </a:lnTo>
                  <a:lnTo>
                    <a:pt x="385" y="947"/>
                  </a:lnTo>
                  <a:lnTo>
                    <a:pt x="379" y="929"/>
                  </a:lnTo>
                  <a:lnTo>
                    <a:pt x="371" y="904"/>
                  </a:lnTo>
                  <a:lnTo>
                    <a:pt x="363" y="872"/>
                  </a:lnTo>
                  <a:lnTo>
                    <a:pt x="356" y="847"/>
                  </a:lnTo>
                  <a:lnTo>
                    <a:pt x="350" y="827"/>
                  </a:lnTo>
                  <a:lnTo>
                    <a:pt x="343" y="814"/>
                  </a:lnTo>
                  <a:lnTo>
                    <a:pt x="335" y="805"/>
                  </a:lnTo>
                  <a:lnTo>
                    <a:pt x="327" y="801"/>
                  </a:lnTo>
                  <a:lnTo>
                    <a:pt x="318" y="800"/>
                  </a:lnTo>
                  <a:lnTo>
                    <a:pt x="310" y="798"/>
                  </a:lnTo>
                  <a:lnTo>
                    <a:pt x="306" y="795"/>
                  </a:lnTo>
                  <a:lnTo>
                    <a:pt x="304" y="787"/>
                  </a:lnTo>
                  <a:lnTo>
                    <a:pt x="303" y="775"/>
                  </a:lnTo>
                  <a:lnTo>
                    <a:pt x="300" y="755"/>
                  </a:lnTo>
                  <a:lnTo>
                    <a:pt x="295" y="735"/>
                  </a:lnTo>
                  <a:lnTo>
                    <a:pt x="283" y="717"/>
                  </a:lnTo>
                  <a:lnTo>
                    <a:pt x="267" y="697"/>
                  </a:lnTo>
                  <a:lnTo>
                    <a:pt x="245" y="675"/>
                  </a:lnTo>
                  <a:lnTo>
                    <a:pt x="226" y="658"/>
                  </a:lnTo>
                  <a:lnTo>
                    <a:pt x="214" y="639"/>
                  </a:lnTo>
                  <a:lnTo>
                    <a:pt x="204" y="621"/>
                  </a:lnTo>
                  <a:lnTo>
                    <a:pt x="196" y="596"/>
                  </a:lnTo>
                  <a:lnTo>
                    <a:pt x="190" y="576"/>
                  </a:lnTo>
                  <a:lnTo>
                    <a:pt x="174" y="537"/>
                  </a:lnTo>
                  <a:lnTo>
                    <a:pt x="165" y="519"/>
                  </a:lnTo>
                  <a:lnTo>
                    <a:pt x="155" y="503"/>
                  </a:lnTo>
                  <a:lnTo>
                    <a:pt x="147" y="490"/>
                  </a:lnTo>
                  <a:lnTo>
                    <a:pt x="141" y="482"/>
                  </a:lnTo>
                  <a:lnTo>
                    <a:pt x="128" y="475"/>
                  </a:lnTo>
                  <a:lnTo>
                    <a:pt x="120" y="466"/>
                  </a:lnTo>
                  <a:lnTo>
                    <a:pt x="111" y="452"/>
                  </a:lnTo>
                  <a:lnTo>
                    <a:pt x="103" y="433"/>
                  </a:lnTo>
                  <a:lnTo>
                    <a:pt x="96" y="412"/>
                  </a:lnTo>
                  <a:lnTo>
                    <a:pt x="90" y="390"/>
                  </a:lnTo>
                  <a:lnTo>
                    <a:pt x="86" y="366"/>
                  </a:lnTo>
                  <a:lnTo>
                    <a:pt x="82" y="341"/>
                  </a:lnTo>
                  <a:lnTo>
                    <a:pt x="79" y="323"/>
                  </a:lnTo>
                  <a:lnTo>
                    <a:pt x="75" y="308"/>
                  </a:lnTo>
                  <a:lnTo>
                    <a:pt x="70" y="297"/>
                  </a:lnTo>
                  <a:lnTo>
                    <a:pt x="62" y="285"/>
                  </a:lnTo>
                  <a:lnTo>
                    <a:pt x="52" y="272"/>
                  </a:lnTo>
                  <a:lnTo>
                    <a:pt x="37" y="256"/>
                  </a:lnTo>
                  <a:lnTo>
                    <a:pt x="16" y="231"/>
                  </a:lnTo>
                  <a:lnTo>
                    <a:pt x="4" y="207"/>
                  </a:lnTo>
                  <a:lnTo>
                    <a:pt x="0" y="185"/>
                  </a:lnTo>
                  <a:lnTo>
                    <a:pt x="4" y="164"/>
                  </a:lnTo>
                  <a:lnTo>
                    <a:pt x="17" y="145"/>
                  </a:lnTo>
                  <a:lnTo>
                    <a:pt x="32" y="128"/>
                  </a:lnTo>
                  <a:lnTo>
                    <a:pt x="55" y="94"/>
                  </a:lnTo>
                  <a:lnTo>
                    <a:pt x="63" y="77"/>
                  </a:lnTo>
                  <a:lnTo>
                    <a:pt x="69" y="63"/>
                  </a:lnTo>
                  <a:lnTo>
                    <a:pt x="74" y="39"/>
                  </a:lnTo>
                  <a:lnTo>
                    <a:pt x="82" y="27"/>
                  </a:lnTo>
                  <a:lnTo>
                    <a:pt x="92" y="17"/>
                  </a:lnTo>
                  <a:lnTo>
                    <a:pt x="100" y="11"/>
                  </a:lnTo>
                  <a:lnTo>
                    <a:pt x="108" y="7"/>
                  </a:lnTo>
                  <a:lnTo>
                    <a:pt x="119" y="4"/>
                  </a:lnTo>
                  <a:lnTo>
                    <a:pt x="132" y="2"/>
                  </a:lnTo>
                  <a:lnTo>
                    <a:pt x="147" y="1"/>
                  </a:lnTo>
                  <a:lnTo>
                    <a:pt x="170" y="0"/>
                  </a:lnTo>
                  <a:lnTo>
                    <a:pt x="199" y="0"/>
                  </a:lnTo>
                  <a:lnTo>
                    <a:pt x="251" y="1"/>
                  </a:lnTo>
                  <a:lnTo>
                    <a:pt x="299" y="4"/>
                  </a:lnTo>
                  <a:lnTo>
                    <a:pt x="343" y="7"/>
                  </a:lnTo>
                  <a:lnTo>
                    <a:pt x="385" y="14"/>
                  </a:lnTo>
                  <a:lnTo>
                    <a:pt x="427" y="25"/>
                  </a:lnTo>
                  <a:lnTo>
                    <a:pt x="469" y="36"/>
                  </a:lnTo>
                  <a:lnTo>
                    <a:pt x="514" y="52"/>
                  </a:lnTo>
                  <a:lnTo>
                    <a:pt x="560" y="71"/>
                  </a:lnTo>
                  <a:lnTo>
                    <a:pt x="610" y="94"/>
                  </a:lnTo>
                  <a:lnTo>
                    <a:pt x="664" y="120"/>
                  </a:lnTo>
                  <a:lnTo>
                    <a:pt x="778" y="182"/>
                  </a:lnTo>
                  <a:lnTo>
                    <a:pt x="890" y="251"/>
                  </a:lnTo>
                  <a:lnTo>
                    <a:pt x="1000" y="327"/>
                  </a:lnTo>
                  <a:lnTo>
                    <a:pt x="1108" y="410"/>
                  </a:lnTo>
                  <a:lnTo>
                    <a:pt x="1214" y="499"/>
                  </a:lnTo>
                  <a:lnTo>
                    <a:pt x="1318" y="595"/>
                  </a:lnTo>
                  <a:lnTo>
                    <a:pt x="1421" y="699"/>
                  </a:lnTo>
                  <a:lnTo>
                    <a:pt x="1521" y="809"/>
                  </a:lnTo>
                  <a:lnTo>
                    <a:pt x="1618" y="926"/>
                  </a:lnTo>
                  <a:lnTo>
                    <a:pt x="1714" y="1049"/>
                  </a:lnTo>
                  <a:lnTo>
                    <a:pt x="1807" y="1180"/>
                  </a:lnTo>
                  <a:lnTo>
                    <a:pt x="1823" y="1203"/>
                  </a:lnTo>
                  <a:lnTo>
                    <a:pt x="1840" y="1227"/>
                  </a:lnTo>
                  <a:lnTo>
                    <a:pt x="1858" y="1252"/>
                  </a:lnTo>
                  <a:lnTo>
                    <a:pt x="1875" y="1274"/>
                  </a:lnTo>
                  <a:lnTo>
                    <a:pt x="1891" y="1296"/>
                  </a:lnTo>
                  <a:lnTo>
                    <a:pt x="1906" y="1315"/>
                  </a:lnTo>
                  <a:lnTo>
                    <a:pt x="1917" y="1329"/>
                  </a:lnTo>
                  <a:lnTo>
                    <a:pt x="1942" y="1360"/>
                  </a:lnTo>
                  <a:lnTo>
                    <a:pt x="1962" y="1385"/>
                  </a:lnTo>
                  <a:lnTo>
                    <a:pt x="1979" y="1406"/>
                  </a:lnTo>
                  <a:lnTo>
                    <a:pt x="1994" y="1424"/>
                  </a:lnTo>
                  <a:lnTo>
                    <a:pt x="2004" y="1438"/>
                  </a:lnTo>
                  <a:lnTo>
                    <a:pt x="2013" y="1452"/>
                  </a:lnTo>
                  <a:lnTo>
                    <a:pt x="2020" y="1463"/>
                  </a:lnTo>
                  <a:lnTo>
                    <a:pt x="2024" y="1474"/>
                  </a:lnTo>
                  <a:lnTo>
                    <a:pt x="2028" y="1483"/>
                  </a:lnTo>
                  <a:lnTo>
                    <a:pt x="2032" y="1494"/>
                  </a:lnTo>
                  <a:lnTo>
                    <a:pt x="2036" y="1507"/>
                  </a:lnTo>
                  <a:lnTo>
                    <a:pt x="2041" y="1519"/>
                  </a:lnTo>
                  <a:lnTo>
                    <a:pt x="2045" y="1528"/>
                  </a:lnTo>
                  <a:lnTo>
                    <a:pt x="2049" y="1533"/>
                  </a:lnTo>
                  <a:lnTo>
                    <a:pt x="2051" y="1534"/>
                  </a:lnTo>
                  <a:lnTo>
                    <a:pt x="2053" y="1533"/>
                  </a:lnTo>
                  <a:lnTo>
                    <a:pt x="2054" y="1530"/>
                  </a:lnTo>
                  <a:lnTo>
                    <a:pt x="2054" y="1528"/>
                  </a:lnTo>
                  <a:lnTo>
                    <a:pt x="2053" y="1522"/>
                  </a:lnTo>
                  <a:lnTo>
                    <a:pt x="2046" y="1499"/>
                  </a:lnTo>
                  <a:lnTo>
                    <a:pt x="2042" y="1480"/>
                  </a:lnTo>
                  <a:lnTo>
                    <a:pt x="2042" y="1465"/>
                  </a:lnTo>
                  <a:lnTo>
                    <a:pt x="2043" y="1450"/>
                  </a:lnTo>
                  <a:lnTo>
                    <a:pt x="2047" y="1436"/>
                  </a:lnTo>
                  <a:lnTo>
                    <a:pt x="2055" y="1417"/>
                  </a:lnTo>
                  <a:lnTo>
                    <a:pt x="2070" y="1402"/>
                  </a:lnTo>
                  <a:lnTo>
                    <a:pt x="2086" y="1388"/>
                  </a:lnTo>
                  <a:lnTo>
                    <a:pt x="2103" y="1379"/>
                  </a:lnTo>
                  <a:lnTo>
                    <a:pt x="2120" y="1375"/>
                  </a:lnTo>
                  <a:lnTo>
                    <a:pt x="2129" y="1373"/>
                  </a:lnTo>
                  <a:lnTo>
                    <a:pt x="2135" y="1365"/>
                  </a:lnTo>
                  <a:lnTo>
                    <a:pt x="2139" y="1353"/>
                  </a:lnTo>
                  <a:lnTo>
                    <a:pt x="2138" y="1340"/>
                  </a:lnTo>
                  <a:lnTo>
                    <a:pt x="2135" y="1324"/>
                  </a:lnTo>
                  <a:lnTo>
                    <a:pt x="2128" y="1310"/>
                  </a:lnTo>
                  <a:lnTo>
                    <a:pt x="2118" y="1296"/>
                  </a:lnTo>
                  <a:lnTo>
                    <a:pt x="2104" y="1281"/>
                  </a:lnTo>
                  <a:lnTo>
                    <a:pt x="2086" y="1260"/>
                  </a:lnTo>
                  <a:lnTo>
                    <a:pt x="2063" y="1237"/>
                  </a:lnTo>
                  <a:lnTo>
                    <a:pt x="2037" y="1212"/>
                  </a:lnTo>
                  <a:lnTo>
                    <a:pt x="2008" y="1185"/>
                  </a:lnTo>
                  <a:lnTo>
                    <a:pt x="1976" y="1156"/>
                  </a:lnTo>
                  <a:lnTo>
                    <a:pt x="1908" y="1095"/>
                  </a:lnTo>
                  <a:lnTo>
                    <a:pt x="1878" y="1068"/>
                  </a:lnTo>
                  <a:lnTo>
                    <a:pt x="1833" y="1023"/>
                  </a:lnTo>
                  <a:lnTo>
                    <a:pt x="1816" y="1003"/>
                  </a:lnTo>
                  <a:lnTo>
                    <a:pt x="1802" y="986"/>
                  </a:lnTo>
                  <a:lnTo>
                    <a:pt x="1793" y="976"/>
                  </a:lnTo>
                  <a:lnTo>
                    <a:pt x="1785" y="968"/>
                  </a:lnTo>
                  <a:lnTo>
                    <a:pt x="1777" y="964"/>
                  </a:lnTo>
                  <a:lnTo>
                    <a:pt x="1766" y="961"/>
                  </a:lnTo>
                  <a:lnTo>
                    <a:pt x="1750" y="960"/>
                  </a:lnTo>
                  <a:lnTo>
                    <a:pt x="1731" y="960"/>
                  </a:lnTo>
                  <a:lnTo>
                    <a:pt x="1706" y="959"/>
                  </a:lnTo>
                  <a:lnTo>
                    <a:pt x="1689" y="956"/>
                  </a:lnTo>
                  <a:lnTo>
                    <a:pt x="1677" y="952"/>
                  </a:lnTo>
                  <a:lnTo>
                    <a:pt x="1668" y="944"/>
                  </a:lnTo>
                  <a:lnTo>
                    <a:pt x="1659" y="931"/>
                  </a:lnTo>
                  <a:lnTo>
                    <a:pt x="1656" y="919"/>
                  </a:lnTo>
                  <a:lnTo>
                    <a:pt x="1659" y="910"/>
                  </a:lnTo>
                  <a:lnTo>
                    <a:pt x="1668" y="904"/>
                  </a:lnTo>
                  <a:lnTo>
                    <a:pt x="1680" y="898"/>
                  </a:lnTo>
                  <a:lnTo>
                    <a:pt x="1695" y="897"/>
                  </a:lnTo>
                  <a:lnTo>
                    <a:pt x="1714" y="898"/>
                  </a:lnTo>
                  <a:lnTo>
                    <a:pt x="1735" y="902"/>
                  </a:lnTo>
                  <a:lnTo>
                    <a:pt x="1756" y="911"/>
                  </a:lnTo>
                  <a:lnTo>
                    <a:pt x="1779" y="927"/>
                  </a:lnTo>
                  <a:lnTo>
                    <a:pt x="1802" y="948"/>
                  </a:lnTo>
                  <a:lnTo>
                    <a:pt x="1825" y="975"/>
                  </a:lnTo>
                  <a:lnTo>
                    <a:pt x="1835" y="985"/>
                  </a:lnTo>
                  <a:lnTo>
                    <a:pt x="1848" y="1000"/>
                  </a:lnTo>
                  <a:lnTo>
                    <a:pt x="1865" y="1017"/>
                  </a:lnTo>
                  <a:lnTo>
                    <a:pt x="1883" y="1036"/>
                  </a:lnTo>
                  <a:lnTo>
                    <a:pt x="1906" y="1057"/>
                  </a:lnTo>
                  <a:lnTo>
                    <a:pt x="1953" y="1102"/>
                  </a:lnTo>
                  <a:lnTo>
                    <a:pt x="1978" y="1123"/>
                  </a:lnTo>
                  <a:lnTo>
                    <a:pt x="2016" y="1157"/>
                  </a:lnTo>
                  <a:lnTo>
                    <a:pt x="2049" y="1189"/>
                  </a:lnTo>
                  <a:lnTo>
                    <a:pt x="2079" y="1216"/>
                  </a:lnTo>
                  <a:lnTo>
                    <a:pt x="2104" y="1243"/>
                  </a:lnTo>
                  <a:lnTo>
                    <a:pt x="2125" y="1265"/>
                  </a:lnTo>
                  <a:lnTo>
                    <a:pt x="2142" y="1285"/>
                  </a:lnTo>
                  <a:lnTo>
                    <a:pt x="2154" y="1300"/>
                  </a:lnTo>
                  <a:lnTo>
                    <a:pt x="2162" y="1314"/>
                  </a:lnTo>
                  <a:lnTo>
                    <a:pt x="2164" y="1317"/>
                  </a:lnTo>
                  <a:lnTo>
                    <a:pt x="2166" y="1319"/>
                  </a:lnTo>
                  <a:lnTo>
                    <a:pt x="2168" y="1319"/>
                  </a:lnTo>
                  <a:lnTo>
                    <a:pt x="2170" y="1317"/>
                  </a:lnTo>
                  <a:lnTo>
                    <a:pt x="2172" y="1314"/>
                  </a:lnTo>
                  <a:lnTo>
                    <a:pt x="2180" y="1300"/>
                  </a:lnTo>
                  <a:lnTo>
                    <a:pt x="2192" y="1285"/>
                  </a:lnTo>
                  <a:lnTo>
                    <a:pt x="2209" y="1265"/>
                  </a:lnTo>
                  <a:lnTo>
                    <a:pt x="2230" y="1243"/>
                  </a:lnTo>
                  <a:lnTo>
                    <a:pt x="2255" y="1216"/>
                  </a:lnTo>
                  <a:lnTo>
                    <a:pt x="2285" y="1189"/>
                  </a:lnTo>
                  <a:lnTo>
                    <a:pt x="2318" y="1157"/>
                  </a:lnTo>
                  <a:lnTo>
                    <a:pt x="2356" y="1123"/>
                  </a:lnTo>
                  <a:lnTo>
                    <a:pt x="2381" y="1102"/>
                  </a:lnTo>
                  <a:lnTo>
                    <a:pt x="2428" y="1057"/>
                  </a:lnTo>
                  <a:lnTo>
                    <a:pt x="2451" y="1036"/>
                  </a:lnTo>
                  <a:lnTo>
                    <a:pt x="2469" y="1017"/>
                  </a:lnTo>
                  <a:lnTo>
                    <a:pt x="2486" y="1000"/>
                  </a:lnTo>
                  <a:lnTo>
                    <a:pt x="2499" y="985"/>
                  </a:lnTo>
                  <a:lnTo>
                    <a:pt x="2509" y="975"/>
                  </a:lnTo>
                  <a:lnTo>
                    <a:pt x="2532" y="948"/>
                  </a:lnTo>
                  <a:lnTo>
                    <a:pt x="2555" y="927"/>
                  </a:lnTo>
                  <a:lnTo>
                    <a:pt x="2578" y="911"/>
                  </a:lnTo>
                  <a:lnTo>
                    <a:pt x="2599" y="902"/>
                  </a:lnTo>
                  <a:lnTo>
                    <a:pt x="2620" y="898"/>
                  </a:lnTo>
                  <a:lnTo>
                    <a:pt x="2639" y="897"/>
                  </a:lnTo>
                  <a:lnTo>
                    <a:pt x="2654" y="898"/>
                  </a:lnTo>
                  <a:lnTo>
                    <a:pt x="2666" y="904"/>
                  </a:lnTo>
                  <a:lnTo>
                    <a:pt x="2675" y="910"/>
                  </a:lnTo>
                  <a:lnTo>
                    <a:pt x="2678" y="919"/>
                  </a:lnTo>
                  <a:lnTo>
                    <a:pt x="2675" y="931"/>
                  </a:lnTo>
                  <a:lnTo>
                    <a:pt x="2666" y="944"/>
                  </a:lnTo>
                  <a:lnTo>
                    <a:pt x="2657" y="952"/>
                  </a:lnTo>
                  <a:lnTo>
                    <a:pt x="2645" y="956"/>
                  </a:lnTo>
                  <a:lnTo>
                    <a:pt x="2628" y="959"/>
                  </a:lnTo>
                  <a:lnTo>
                    <a:pt x="2603" y="960"/>
                  </a:lnTo>
                  <a:lnTo>
                    <a:pt x="2584" y="960"/>
                  </a:lnTo>
                  <a:lnTo>
                    <a:pt x="2568" y="961"/>
                  </a:lnTo>
                  <a:lnTo>
                    <a:pt x="2557" y="964"/>
                  </a:lnTo>
                  <a:lnTo>
                    <a:pt x="2549" y="968"/>
                  </a:lnTo>
                  <a:lnTo>
                    <a:pt x="2541" y="976"/>
                  </a:lnTo>
                  <a:lnTo>
                    <a:pt x="2532" y="986"/>
                  </a:lnTo>
                  <a:lnTo>
                    <a:pt x="2518" y="1003"/>
                  </a:lnTo>
                  <a:lnTo>
                    <a:pt x="2501" y="1023"/>
                  </a:lnTo>
                  <a:lnTo>
                    <a:pt x="2456" y="1068"/>
                  </a:lnTo>
                  <a:lnTo>
                    <a:pt x="2426" y="1095"/>
                  </a:lnTo>
                  <a:lnTo>
                    <a:pt x="2358" y="1156"/>
                  </a:lnTo>
                  <a:lnTo>
                    <a:pt x="2326" y="1185"/>
                  </a:lnTo>
                  <a:lnTo>
                    <a:pt x="2297" y="1212"/>
                  </a:lnTo>
                  <a:lnTo>
                    <a:pt x="2271" y="1237"/>
                  </a:lnTo>
                  <a:lnTo>
                    <a:pt x="2248" y="1260"/>
                  </a:lnTo>
                  <a:lnTo>
                    <a:pt x="2230" y="1281"/>
                  </a:lnTo>
                  <a:lnTo>
                    <a:pt x="2216" y="1296"/>
                  </a:lnTo>
                  <a:lnTo>
                    <a:pt x="2206" y="1310"/>
                  </a:lnTo>
                  <a:lnTo>
                    <a:pt x="2199" y="1324"/>
                  </a:lnTo>
                  <a:lnTo>
                    <a:pt x="2196" y="1340"/>
                  </a:lnTo>
                  <a:lnTo>
                    <a:pt x="2195" y="1353"/>
                  </a:lnTo>
                  <a:lnTo>
                    <a:pt x="2199" y="1365"/>
                  </a:lnTo>
                  <a:lnTo>
                    <a:pt x="2205" y="1373"/>
                  </a:lnTo>
                  <a:lnTo>
                    <a:pt x="2214" y="1375"/>
                  </a:lnTo>
                  <a:lnTo>
                    <a:pt x="2231" y="1379"/>
                  </a:lnTo>
                  <a:lnTo>
                    <a:pt x="2248" y="1388"/>
                  </a:lnTo>
                  <a:lnTo>
                    <a:pt x="2264" y="1402"/>
                  </a:lnTo>
                  <a:lnTo>
                    <a:pt x="2279" y="1417"/>
                  </a:lnTo>
                  <a:lnTo>
                    <a:pt x="2287" y="1436"/>
                  </a:lnTo>
                  <a:lnTo>
                    <a:pt x="2291" y="1450"/>
                  </a:lnTo>
                  <a:lnTo>
                    <a:pt x="2292" y="1465"/>
                  </a:lnTo>
                  <a:lnTo>
                    <a:pt x="2292" y="1480"/>
                  </a:lnTo>
                  <a:lnTo>
                    <a:pt x="2288" y="1499"/>
                  </a:lnTo>
                  <a:lnTo>
                    <a:pt x="2281" y="1522"/>
                  </a:lnTo>
                  <a:lnTo>
                    <a:pt x="2280" y="1528"/>
                  </a:lnTo>
                  <a:lnTo>
                    <a:pt x="2280" y="1530"/>
                  </a:lnTo>
                  <a:lnTo>
                    <a:pt x="2281" y="1533"/>
                  </a:lnTo>
                  <a:lnTo>
                    <a:pt x="2283" y="1534"/>
                  </a:lnTo>
                  <a:lnTo>
                    <a:pt x="2285" y="1533"/>
                  </a:lnTo>
                  <a:lnTo>
                    <a:pt x="2289" y="1528"/>
                  </a:lnTo>
                  <a:lnTo>
                    <a:pt x="2293" y="1519"/>
                  </a:lnTo>
                  <a:lnTo>
                    <a:pt x="2298" y="1507"/>
                  </a:lnTo>
                  <a:lnTo>
                    <a:pt x="2302" y="1494"/>
                  </a:lnTo>
                  <a:lnTo>
                    <a:pt x="2306" y="1483"/>
                  </a:lnTo>
                  <a:lnTo>
                    <a:pt x="2310" y="1474"/>
                  </a:lnTo>
                  <a:lnTo>
                    <a:pt x="2314" y="1463"/>
                  </a:lnTo>
                  <a:lnTo>
                    <a:pt x="2321" y="1452"/>
                  </a:lnTo>
                  <a:lnTo>
                    <a:pt x="2330" y="1438"/>
                  </a:lnTo>
                  <a:lnTo>
                    <a:pt x="2340" y="1424"/>
                  </a:lnTo>
                  <a:lnTo>
                    <a:pt x="2355" y="1406"/>
                  </a:lnTo>
                  <a:lnTo>
                    <a:pt x="2372" y="1385"/>
                  </a:lnTo>
                  <a:lnTo>
                    <a:pt x="2392" y="1360"/>
                  </a:lnTo>
                  <a:lnTo>
                    <a:pt x="2417" y="1329"/>
                  </a:lnTo>
                  <a:lnTo>
                    <a:pt x="2428" y="1315"/>
                  </a:lnTo>
                  <a:lnTo>
                    <a:pt x="2443" y="1296"/>
                  </a:lnTo>
                  <a:lnTo>
                    <a:pt x="2459" y="1274"/>
                  </a:lnTo>
                  <a:lnTo>
                    <a:pt x="2476" y="1252"/>
                  </a:lnTo>
                  <a:lnTo>
                    <a:pt x="2494" y="1227"/>
                  </a:lnTo>
                  <a:lnTo>
                    <a:pt x="2511" y="1203"/>
                  </a:lnTo>
                  <a:lnTo>
                    <a:pt x="2527" y="1180"/>
                  </a:lnTo>
                  <a:lnTo>
                    <a:pt x="2620" y="1049"/>
                  </a:lnTo>
                  <a:lnTo>
                    <a:pt x="2716" y="926"/>
                  </a:lnTo>
                  <a:lnTo>
                    <a:pt x="2813" y="809"/>
                  </a:lnTo>
                  <a:lnTo>
                    <a:pt x="2913" y="699"/>
                  </a:lnTo>
                  <a:lnTo>
                    <a:pt x="3016" y="595"/>
                  </a:lnTo>
                  <a:lnTo>
                    <a:pt x="3120" y="499"/>
                  </a:lnTo>
                  <a:lnTo>
                    <a:pt x="3226" y="410"/>
                  </a:lnTo>
                  <a:lnTo>
                    <a:pt x="3334" y="327"/>
                  </a:lnTo>
                  <a:lnTo>
                    <a:pt x="3444" y="251"/>
                  </a:lnTo>
                  <a:lnTo>
                    <a:pt x="3556" y="182"/>
                  </a:lnTo>
                  <a:lnTo>
                    <a:pt x="3670" y="120"/>
                  </a:lnTo>
                  <a:lnTo>
                    <a:pt x="3724" y="94"/>
                  </a:lnTo>
                  <a:lnTo>
                    <a:pt x="3774" y="71"/>
                  </a:lnTo>
                  <a:lnTo>
                    <a:pt x="3820" y="52"/>
                  </a:lnTo>
                  <a:lnTo>
                    <a:pt x="3865" y="36"/>
                  </a:lnTo>
                  <a:lnTo>
                    <a:pt x="3907" y="25"/>
                  </a:lnTo>
                  <a:lnTo>
                    <a:pt x="3949" y="14"/>
                  </a:lnTo>
                  <a:lnTo>
                    <a:pt x="3991" y="7"/>
                  </a:lnTo>
                  <a:lnTo>
                    <a:pt x="4035" y="4"/>
                  </a:lnTo>
                  <a:lnTo>
                    <a:pt x="4083" y="1"/>
                  </a:lnTo>
                  <a:lnTo>
                    <a:pt x="4135" y="0"/>
                  </a:lnTo>
                  <a:lnTo>
                    <a:pt x="4164" y="0"/>
                  </a:lnTo>
                  <a:lnTo>
                    <a:pt x="4187" y="1"/>
                  </a:lnTo>
                  <a:lnTo>
                    <a:pt x="4202" y="2"/>
                  </a:lnTo>
                  <a:lnTo>
                    <a:pt x="4215" y="4"/>
                  </a:lnTo>
                  <a:lnTo>
                    <a:pt x="4226" y="7"/>
                  </a:lnTo>
                  <a:lnTo>
                    <a:pt x="4234" y="11"/>
                  </a:lnTo>
                  <a:lnTo>
                    <a:pt x="4242" y="17"/>
                  </a:lnTo>
                  <a:lnTo>
                    <a:pt x="4252" y="27"/>
                  </a:lnTo>
                  <a:lnTo>
                    <a:pt x="4260" y="39"/>
                  </a:lnTo>
                  <a:lnTo>
                    <a:pt x="4265" y="63"/>
                  </a:lnTo>
                  <a:lnTo>
                    <a:pt x="4271" y="77"/>
                  </a:lnTo>
                  <a:lnTo>
                    <a:pt x="4279" y="94"/>
                  </a:lnTo>
                  <a:lnTo>
                    <a:pt x="4302" y="128"/>
                  </a:lnTo>
                  <a:lnTo>
                    <a:pt x="4317" y="145"/>
                  </a:lnTo>
                  <a:lnTo>
                    <a:pt x="4330" y="164"/>
                  </a:lnTo>
                  <a:lnTo>
                    <a:pt x="4334" y="185"/>
                  </a:lnTo>
                  <a:lnTo>
                    <a:pt x="4330" y="207"/>
                  </a:lnTo>
                  <a:lnTo>
                    <a:pt x="4318" y="231"/>
                  </a:lnTo>
                  <a:lnTo>
                    <a:pt x="4297" y="256"/>
                  </a:lnTo>
                  <a:lnTo>
                    <a:pt x="4282" y="272"/>
                  </a:lnTo>
                  <a:lnTo>
                    <a:pt x="4272" y="285"/>
                  </a:lnTo>
                  <a:lnTo>
                    <a:pt x="4264" y="297"/>
                  </a:lnTo>
                  <a:lnTo>
                    <a:pt x="4259" y="308"/>
                  </a:lnTo>
                  <a:lnTo>
                    <a:pt x="4255" y="323"/>
                  </a:lnTo>
                  <a:lnTo>
                    <a:pt x="4252" y="341"/>
                  </a:lnTo>
                  <a:lnTo>
                    <a:pt x="4248" y="366"/>
                  </a:lnTo>
                  <a:lnTo>
                    <a:pt x="4244" y="390"/>
                  </a:lnTo>
                  <a:lnTo>
                    <a:pt x="4238" y="412"/>
                  </a:lnTo>
                  <a:lnTo>
                    <a:pt x="4231" y="433"/>
                  </a:lnTo>
                  <a:lnTo>
                    <a:pt x="4223" y="452"/>
                  </a:lnTo>
                  <a:lnTo>
                    <a:pt x="4214" y="466"/>
                  </a:lnTo>
                  <a:lnTo>
                    <a:pt x="4206" y="475"/>
                  </a:lnTo>
                  <a:lnTo>
                    <a:pt x="4193" y="482"/>
                  </a:lnTo>
                  <a:lnTo>
                    <a:pt x="4187" y="490"/>
                  </a:lnTo>
                  <a:lnTo>
                    <a:pt x="4179" y="503"/>
                  </a:lnTo>
                  <a:lnTo>
                    <a:pt x="4169" y="519"/>
                  </a:lnTo>
                  <a:lnTo>
                    <a:pt x="4160" y="537"/>
                  </a:lnTo>
                  <a:lnTo>
                    <a:pt x="4144" y="576"/>
                  </a:lnTo>
                  <a:lnTo>
                    <a:pt x="4138" y="596"/>
                  </a:lnTo>
                  <a:lnTo>
                    <a:pt x="4130" y="621"/>
                  </a:lnTo>
                  <a:lnTo>
                    <a:pt x="4120" y="639"/>
                  </a:lnTo>
                  <a:lnTo>
                    <a:pt x="4108" y="658"/>
                  </a:lnTo>
                  <a:lnTo>
                    <a:pt x="4089" y="675"/>
                  </a:lnTo>
                  <a:lnTo>
                    <a:pt x="4067" y="697"/>
                  </a:lnTo>
                  <a:lnTo>
                    <a:pt x="4051" y="717"/>
                  </a:lnTo>
                  <a:lnTo>
                    <a:pt x="4039" y="735"/>
                  </a:lnTo>
                  <a:lnTo>
                    <a:pt x="4034" y="755"/>
                  </a:lnTo>
                  <a:lnTo>
                    <a:pt x="4031" y="775"/>
                  </a:lnTo>
                  <a:lnTo>
                    <a:pt x="4030" y="787"/>
                  </a:lnTo>
                  <a:lnTo>
                    <a:pt x="4028" y="795"/>
                  </a:lnTo>
                  <a:lnTo>
                    <a:pt x="4024" y="798"/>
                  </a:lnTo>
                  <a:lnTo>
                    <a:pt x="4016" y="800"/>
                  </a:lnTo>
                  <a:lnTo>
                    <a:pt x="4007" y="801"/>
                  </a:lnTo>
                  <a:lnTo>
                    <a:pt x="3999" y="805"/>
                  </a:lnTo>
                  <a:lnTo>
                    <a:pt x="3991" y="814"/>
                  </a:lnTo>
                  <a:lnTo>
                    <a:pt x="3984" y="827"/>
                  </a:lnTo>
                  <a:lnTo>
                    <a:pt x="3978" y="847"/>
                  </a:lnTo>
                  <a:lnTo>
                    <a:pt x="3971" y="872"/>
                  </a:lnTo>
                  <a:lnTo>
                    <a:pt x="3963" y="904"/>
                  </a:lnTo>
                  <a:lnTo>
                    <a:pt x="3955" y="929"/>
                  </a:lnTo>
                  <a:lnTo>
                    <a:pt x="3949" y="947"/>
                  </a:lnTo>
                  <a:lnTo>
                    <a:pt x="3941" y="961"/>
                  </a:lnTo>
                  <a:lnTo>
                    <a:pt x="3933" y="972"/>
                  </a:lnTo>
                  <a:lnTo>
                    <a:pt x="3925" y="980"/>
                  </a:lnTo>
                  <a:lnTo>
                    <a:pt x="3920" y="984"/>
                  </a:lnTo>
                  <a:lnTo>
                    <a:pt x="3916" y="990"/>
                  </a:lnTo>
                  <a:lnTo>
                    <a:pt x="3913" y="1000"/>
                  </a:lnTo>
                  <a:lnTo>
                    <a:pt x="3911" y="1014"/>
                  </a:lnTo>
                  <a:lnTo>
                    <a:pt x="3909" y="1034"/>
                  </a:lnTo>
                  <a:lnTo>
                    <a:pt x="3908" y="1061"/>
                  </a:lnTo>
                  <a:lnTo>
                    <a:pt x="3908" y="1098"/>
                  </a:lnTo>
                  <a:lnTo>
                    <a:pt x="3907" y="1204"/>
                  </a:lnTo>
                  <a:lnTo>
                    <a:pt x="3876" y="1250"/>
                  </a:lnTo>
                  <a:lnTo>
                    <a:pt x="3866" y="1268"/>
                  </a:lnTo>
                  <a:lnTo>
                    <a:pt x="3858" y="1282"/>
                  </a:lnTo>
                  <a:lnTo>
                    <a:pt x="3851" y="1295"/>
                  </a:lnTo>
                  <a:lnTo>
                    <a:pt x="3849" y="1310"/>
                  </a:lnTo>
                  <a:lnTo>
                    <a:pt x="3846" y="1329"/>
                  </a:lnTo>
                  <a:lnTo>
                    <a:pt x="3844" y="1353"/>
                  </a:lnTo>
                  <a:lnTo>
                    <a:pt x="3842" y="1386"/>
                  </a:lnTo>
                  <a:lnTo>
                    <a:pt x="3840" y="1417"/>
                  </a:lnTo>
                  <a:lnTo>
                    <a:pt x="3838" y="1442"/>
                  </a:lnTo>
                  <a:lnTo>
                    <a:pt x="3836" y="1461"/>
                  </a:lnTo>
                  <a:lnTo>
                    <a:pt x="3832" y="1476"/>
                  </a:lnTo>
                  <a:lnTo>
                    <a:pt x="3827" y="1491"/>
                  </a:lnTo>
                  <a:lnTo>
                    <a:pt x="3819" y="1505"/>
                  </a:lnTo>
                  <a:lnTo>
                    <a:pt x="3809" y="1521"/>
                  </a:lnTo>
                  <a:lnTo>
                    <a:pt x="3794" y="1550"/>
                  </a:lnTo>
                  <a:lnTo>
                    <a:pt x="3779" y="1580"/>
                  </a:lnTo>
                  <a:lnTo>
                    <a:pt x="3767" y="1609"/>
                  </a:lnTo>
                  <a:lnTo>
                    <a:pt x="3759" y="1637"/>
                  </a:lnTo>
                  <a:lnTo>
                    <a:pt x="3753" y="1662"/>
                  </a:lnTo>
                  <a:lnTo>
                    <a:pt x="3752" y="1683"/>
                  </a:lnTo>
                  <a:lnTo>
                    <a:pt x="3750" y="1697"/>
                  </a:lnTo>
                  <a:lnTo>
                    <a:pt x="3746" y="1708"/>
                  </a:lnTo>
                  <a:lnTo>
                    <a:pt x="3740" y="1716"/>
                  </a:lnTo>
                  <a:lnTo>
                    <a:pt x="3729" y="1724"/>
                  </a:lnTo>
                  <a:lnTo>
                    <a:pt x="3706" y="1739"/>
                  </a:lnTo>
                  <a:lnTo>
                    <a:pt x="3683" y="1759"/>
                  </a:lnTo>
                  <a:lnTo>
                    <a:pt x="3662" y="1784"/>
                  </a:lnTo>
                  <a:lnTo>
                    <a:pt x="3644" y="1812"/>
                  </a:lnTo>
                  <a:lnTo>
                    <a:pt x="3627" y="1843"/>
                  </a:lnTo>
                  <a:lnTo>
                    <a:pt x="3493" y="1846"/>
                  </a:lnTo>
                  <a:lnTo>
                    <a:pt x="3457" y="1847"/>
                  </a:lnTo>
                  <a:lnTo>
                    <a:pt x="3426" y="1848"/>
                  </a:lnTo>
                  <a:lnTo>
                    <a:pt x="3398" y="1850"/>
                  </a:lnTo>
                  <a:lnTo>
                    <a:pt x="3377" y="1851"/>
                  </a:lnTo>
                  <a:lnTo>
                    <a:pt x="3364" y="1852"/>
                  </a:lnTo>
                  <a:lnTo>
                    <a:pt x="3359" y="1854"/>
                  </a:lnTo>
                  <a:lnTo>
                    <a:pt x="3360" y="1858"/>
                  </a:lnTo>
                  <a:lnTo>
                    <a:pt x="3365" y="1864"/>
                  </a:lnTo>
                  <a:lnTo>
                    <a:pt x="3373" y="1873"/>
                  </a:lnTo>
                  <a:lnTo>
                    <a:pt x="3393" y="1893"/>
                  </a:lnTo>
                  <a:lnTo>
                    <a:pt x="3413" y="1910"/>
                  </a:lnTo>
                  <a:lnTo>
                    <a:pt x="3440" y="1928"/>
                  </a:lnTo>
                  <a:lnTo>
                    <a:pt x="3473" y="1948"/>
                  </a:lnTo>
                  <a:lnTo>
                    <a:pt x="3512" y="1967"/>
                  </a:lnTo>
                  <a:lnTo>
                    <a:pt x="3576" y="1998"/>
                  </a:lnTo>
                  <a:lnTo>
                    <a:pt x="3604" y="2014"/>
                  </a:lnTo>
                  <a:lnTo>
                    <a:pt x="3632" y="2028"/>
                  </a:lnTo>
                  <a:lnTo>
                    <a:pt x="3675" y="2057"/>
                  </a:lnTo>
                  <a:lnTo>
                    <a:pt x="3690" y="2068"/>
                  </a:lnTo>
                  <a:lnTo>
                    <a:pt x="3699" y="2077"/>
                  </a:lnTo>
                  <a:lnTo>
                    <a:pt x="3703" y="2084"/>
                  </a:lnTo>
                  <a:lnTo>
                    <a:pt x="3700" y="2090"/>
                  </a:lnTo>
                  <a:lnTo>
                    <a:pt x="3694" y="2099"/>
                  </a:lnTo>
                  <a:lnTo>
                    <a:pt x="3683" y="2112"/>
                  </a:lnTo>
                  <a:lnTo>
                    <a:pt x="3671" y="2127"/>
                  </a:lnTo>
                  <a:lnTo>
                    <a:pt x="3657" y="2144"/>
                  </a:lnTo>
                  <a:lnTo>
                    <a:pt x="3646" y="2158"/>
                  </a:lnTo>
                  <a:lnTo>
                    <a:pt x="3641" y="2172"/>
                  </a:lnTo>
                  <a:lnTo>
                    <a:pt x="3640" y="2182"/>
                  </a:lnTo>
                  <a:lnTo>
                    <a:pt x="3644" y="2191"/>
                  </a:lnTo>
                  <a:lnTo>
                    <a:pt x="3650" y="2199"/>
                  </a:lnTo>
                  <a:lnTo>
                    <a:pt x="3660" y="2210"/>
                  </a:lnTo>
                  <a:lnTo>
                    <a:pt x="3662" y="2220"/>
                  </a:lnTo>
                  <a:lnTo>
                    <a:pt x="3658" y="2229"/>
                  </a:lnTo>
                  <a:lnTo>
                    <a:pt x="3648" y="2236"/>
                  </a:lnTo>
                  <a:lnTo>
                    <a:pt x="3637" y="2241"/>
                  </a:lnTo>
                  <a:lnTo>
                    <a:pt x="3625" y="2250"/>
                  </a:lnTo>
                  <a:lnTo>
                    <a:pt x="3611" y="2264"/>
                  </a:lnTo>
                  <a:lnTo>
                    <a:pt x="3597" y="2278"/>
                  </a:lnTo>
                  <a:lnTo>
                    <a:pt x="3570" y="2310"/>
                  </a:lnTo>
                  <a:lnTo>
                    <a:pt x="3560" y="2324"/>
                  </a:lnTo>
                  <a:lnTo>
                    <a:pt x="3553" y="2336"/>
                  </a:lnTo>
                  <a:lnTo>
                    <a:pt x="3551" y="2345"/>
                  </a:lnTo>
                  <a:lnTo>
                    <a:pt x="3552" y="2354"/>
                  </a:lnTo>
                  <a:lnTo>
                    <a:pt x="3557" y="2366"/>
                  </a:lnTo>
                  <a:lnTo>
                    <a:pt x="3564" y="2379"/>
                  </a:lnTo>
                  <a:lnTo>
                    <a:pt x="3572" y="2391"/>
                  </a:lnTo>
                  <a:lnTo>
                    <a:pt x="3579" y="2404"/>
                  </a:lnTo>
                  <a:lnTo>
                    <a:pt x="3586" y="2417"/>
                  </a:lnTo>
                  <a:lnTo>
                    <a:pt x="3590" y="2429"/>
                  </a:lnTo>
                  <a:lnTo>
                    <a:pt x="3591" y="2440"/>
                  </a:lnTo>
                  <a:lnTo>
                    <a:pt x="3593" y="2451"/>
                  </a:lnTo>
                  <a:lnTo>
                    <a:pt x="3597" y="2463"/>
                  </a:lnTo>
                  <a:lnTo>
                    <a:pt x="3603" y="2471"/>
                  </a:lnTo>
                  <a:lnTo>
                    <a:pt x="3611" y="2479"/>
                  </a:lnTo>
                  <a:lnTo>
                    <a:pt x="3614" y="2486"/>
                  </a:lnTo>
                  <a:lnTo>
                    <a:pt x="3611" y="2494"/>
                  </a:lnTo>
                  <a:lnTo>
                    <a:pt x="3603" y="2500"/>
                  </a:lnTo>
                  <a:lnTo>
                    <a:pt x="3590" y="2508"/>
                  </a:lnTo>
                  <a:lnTo>
                    <a:pt x="3572" y="2520"/>
                  </a:lnTo>
                  <a:lnTo>
                    <a:pt x="3552" y="2534"/>
                  </a:lnTo>
                  <a:lnTo>
                    <a:pt x="3531" y="2553"/>
                  </a:lnTo>
                  <a:lnTo>
                    <a:pt x="3511" y="2574"/>
                  </a:lnTo>
                  <a:lnTo>
                    <a:pt x="3493" y="2595"/>
                  </a:lnTo>
                  <a:lnTo>
                    <a:pt x="3477" y="2614"/>
                  </a:lnTo>
                  <a:lnTo>
                    <a:pt x="3465" y="2634"/>
                  </a:lnTo>
                  <a:lnTo>
                    <a:pt x="3457" y="2653"/>
                  </a:lnTo>
                  <a:lnTo>
                    <a:pt x="3451" y="2672"/>
                  </a:lnTo>
                  <a:lnTo>
                    <a:pt x="3445" y="2692"/>
                  </a:lnTo>
                  <a:lnTo>
                    <a:pt x="3442" y="2710"/>
                  </a:lnTo>
                  <a:lnTo>
                    <a:pt x="3440" y="2729"/>
                  </a:lnTo>
                  <a:lnTo>
                    <a:pt x="3440" y="2741"/>
                  </a:lnTo>
                  <a:lnTo>
                    <a:pt x="3444" y="2748"/>
                  </a:lnTo>
                  <a:lnTo>
                    <a:pt x="3452" y="2755"/>
                  </a:lnTo>
                  <a:lnTo>
                    <a:pt x="3466" y="2762"/>
                  </a:lnTo>
                  <a:lnTo>
                    <a:pt x="3480" y="2769"/>
                  </a:lnTo>
                  <a:lnTo>
                    <a:pt x="3495" y="2780"/>
                  </a:lnTo>
                  <a:lnTo>
                    <a:pt x="3512" y="2793"/>
                  </a:lnTo>
                  <a:lnTo>
                    <a:pt x="3530" y="2809"/>
                  </a:lnTo>
                  <a:lnTo>
                    <a:pt x="3547" y="2823"/>
                  </a:lnTo>
                  <a:lnTo>
                    <a:pt x="3561" y="2838"/>
                  </a:lnTo>
                  <a:lnTo>
                    <a:pt x="3573" y="2851"/>
                  </a:lnTo>
                  <a:lnTo>
                    <a:pt x="3581" y="2861"/>
                  </a:lnTo>
                  <a:lnTo>
                    <a:pt x="3583" y="2869"/>
                  </a:lnTo>
                  <a:lnTo>
                    <a:pt x="3579" y="2875"/>
                  </a:lnTo>
                  <a:lnTo>
                    <a:pt x="3570" y="2879"/>
                  </a:lnTo>
                  <a:lnTo>
                    <a:pt x="3553" y="2880"/>
                  </a:lnTo>
                  <a:lnTo>
                    <a:pt x="3533" y="2882"/>
                  </a:lnTo>
                  <a:lnTo>
                    <a:pt x="3512" y="2889"/>
                  </a:lnTo>
                  <a:lnTo>
                    <a:pt x="3490" y="2901"/>
                  </a:lnTo>
                  <a:lnTo>
                    <a:pt x="3468" y="2914"/>
                  </a:lnTo>
                  <a:lnTo>
                    <a:pt x="3445" y="2931"/>
                  </a:lnTo>
                  <a:lnTo>
                    <a:pt x="3426" y="2948"/>
                  </a:lnTo>
                  <a:lnTo>
                    <a:pt x="3409" y="2967"/>
                  </a:lnTo>
                  <a:lnTo>
                    <a:pt x="3394" y="2984"/>
                  </a:lnTo>
                  <a:lnTo>
                    <a:pt x="3385" y="3001"/>
                  </a:lnTo>
                  <a:lnTo>
                    <a:pt x="3382" y="3016"/>
                  </a:lnTo>
                  <a:lnTo>
                    <a:pt x="3384" y="3026"/>
                  </a:lnTo>
                  <a:lnTo>
                    <a:pt x="3386" y="3036"/>
                  </a:lnTo>
                  <a:lnTo>
                    <a:pt x="3390" y="3048"/>
                  </a:lnTo>
                  <a:lnTo>
                    <a:pt x="3398" y="3062"/>
                  </a:lnTo>
                  <a:lnTo>
                    <a:pt x="3407" y="3080"/>
                  </a:lnTo>
                  <a:lnTo>
                    <a:pt x="3419" y="3098"/>
                  </a:lnTo>
                  <a:lnTo>
                    <a:pt x="3434" y="3119"/>
                  </a:lnTo>
                  <a:lnTo>
                    <a:pt x="3451" y="3144"/>
                  </a:lnTo>
                  <a:lnTo>
                    <a:pt x="3472" y="3172"/>
                  </a:lnTo>
                  <a:lnTo>
                    <a:pt x="3497" y="3202"/>
                  </a:lnTo>
                  <a:lnTo>
                    <a:pt x="3524" y="3237"/>
                  </a:lnTo>
                  <a:lnTo>
                    <a:pt x="3556" y="3275"/>
                  </a:lnTo>
                  <a:lnTo>
                    <a:pt x="3591" y="3319"/>
                  </a:lnTo>
                  <a:lnTo>
                    <a:pt x="3631" y="3367"/>
                  </a:lnTo>
                  <a:lnTo>
                    <a:pt x="3668" y="3412"/>
                  </a:lnTo>
                  <a:lnTo>
                    <a:pt x="3702" y="3455"/>
                  </a:lnTo>
                  <a:lnTo>
                    <a:pt x="3735" y="3499"/>
                  </a:lnTo>
                  <a:lnTo>
                    <a:pt x="3766" y="3539"/>
                  </a:lnTo>
                  <a:lnTo>
                    <a:pt x="3795" y="3578"/>
                  </a:lnTo>
                  <a:lnTo>
                    <a:pt x="3820" y="3614"/>
                  </a:lnTo>
                  <a:lnTo>
                    <a:pt x="3841" y="3646"/>
                  </a:lnTo>
                  <a:lnTo>
                    <a:pt x="3859" y="3675"/>
                  </a:lnTo>
                  <a:lnTo>
                    <a:pt x="3872" y="3698"/>
                  </a:lnTo>
                  <a:lnTo>
                    <a:pt x="3896" y="3737"/>
                  </a:lnTo>
                  <a:lnTo>
                    <a:pt x="3922" y="3769"/>
                  </a:lnTo>
                  <a:lnTo>
                    <a:pt x="3951" y="3797"/>
                  </a:lnTo>
                  <a:lnTo>
                    <a:pt x="3985" y="3819"/>
                  </a:lnTo>
                  <a:lnTo>
                    <a:pt x="4024" y="3838"/>
                  </a:lnTo>
                  <a:lnTo>
                    <a:pt x="4053" y="3850"/>
                  </a:lnTo>
                  <a:lnTo>
                    <a:pt x="4075" y="3861"/>
                  </a:lnTo>
                  <a:lnTo>
                    <a:pt x="4093" y="3872"/>
                  </a:lnTo>
                  <a:lnTo>
                    <a:pt x="4105" y="3884"/>
                  </a:lnTo>
                  <a:lnTo>
                    <a:pt x="4113" y="3896"/>
                  </a:lnTo>
                  <a:lnTo>
                    <a:pt x="4118" y="3910"/>
                  </a:lnTo>
                  <a:lnTo>
                    <a:pt x="4120" y="3926"/>
                  </a:lnTo>
                  <a:lnTo>
                    <a:pt x="4118" y="3944"/>
                  </a:lnTo>
                  <a:lnTo>
                    <a:pt x="4114" y="3959"/>
                  </a:lnTo>
                  <a:lnTo>
                    <a:pt x="4108" y="3966"/>
                  </a:lnTo>
                  <a:lnTo>
                    <a:pt x="4097" y="3969"/>
                  </a:lnTo>
                  <a:lnTo>
                    <a:pt x="4084" y="3966"/>
                  </a:lnTo>
                  <a:lnTo>
                    <a:pt x="4067" y="3959"/>
                  </a:lnTo>
                  <a:lnTo>
                    <a:pt x="4046" y="3945"/>
                  </a:lnTo>
                  <a:lnTo>
                    <a:pt x="4021" y="3927"/>
                  </a:lnTo>
                  <a:lnTo>
                    <a:pt x="3992" y="3902"/>
                  </a:lnTo>
                  <a:lnTo>
                    <a:pt x="3970" y="3884"/>
                  </a:lnTo>
                  <a:lnTo>
                    <a:pt x="3942" y="3863"/>
                  </a:lnTo>
                  <a:lnTo>
                    <a:pt x="3913" y="3840"/>
                  </a:lnTo>
                  <a:lnTo>
                    <a:pt x="3884" y="3819"/>
                  </a:lnTo>
                  <a:lnTo>
                    <a:pt x="3857" y="3802"/>
                  </a:lnTo>
                  <a:lnTo>
                    <a:pt x="3828" y="3784"/>
                  </a:lnTo>
                  <a:lnTo>
                    <a:pt x="3802" y="3765"/>
                  </a:lnTo>
                  <a:lnTo>
                    <a:pt x="3777" y="3747"/>
                  </a:lnTo>
                  <a:lnTo>
                    <a:pt x="3754" y="3727"/>
                  </a:lnTo>
                  <a:lnTo>
                    <a:pt x="3733" y="3706"/>
                  </a:lnTo>
                  <a:lnTo>
                    <a:pt x="3711" y="3683"/>
                  </a:lnTo>
                  <a:lnTo>
                    <a:pt x="3689" y="3655"/>
                  </a:lnTo>
                  <a:lnTo>
                    <a:pt x="3666" y="3625"/>
                  </a:lnTo>
                  <a:lnTo>
                    <a:pt x="3641" y="3589"/>
                  </a:lnTo>
                  <a:lnTo>
                    <a:pt x="3614" y="3549"/>
                  </a:lnTo>
                  <a:lnTo>
                    <a:pt x="3594" y="3520"/>
                  </a:lnTo>
                  <a:lnTo>
                    <a:pt x="3576" y="3492"/>
                  </a:lnTo>
                  <a:lnTo>
                    <a:pt x="3557" y="3466"/>
                  </a:lnTo>
                  <a:lnTo>
                    <a:pt x="3541" y="3442"/>
                  </a:lnTo>
                  <a:lnTo>
                    <a:pt x="3527" y="3422"/>
                  </a:lnTo>
                  <a:lnTo>
                    <a:pt x="3516" y="3407"/>
                  </a:lnTo>
                  <a:lnTo>
                    <a:pt x="3509" y="3396"/>
                  </a:lnTo>
                  <a:lnTo>
                    <a:pt x="3494" y="3378"/>
                  </a:lnTo>
                  <a:lnTo>
                    <a:pt x="3478" y="3358"/>
                  </a:lnTo>
                  <a:lnTo>
                    <a:pt x="3444" y="3319"/>
                  </a:lnTo>
                  <a:lnTo>
                    <a:pt x="3427" y="3300"/>
                  </a:lnTo>
                  <a:lnTo>
                    <a:pt x="3396" y="3269"/>
                  </a:lnTo>
                  <a:lnTo>
                    <a:pt x="3384" y="3256"/>
                  </a:lnTo>
                  <a:lnTo>
                    <a:pt x="3375" y="3248"/>
                  </a:lnTo>
                  <a:lnTo>
                    <a:pt x="3369" y="3244"/>
                  </a:lnTo>
                  <a:lnTo>
                    <a:pt x="3359" y="3242"/>
                  </a:lnTo>
                  <a:lnTo>
                    <a:pt x="3348" y="3248"/>
                  </a:lnTo>
                  <a:lnTo>
                    <a:pt x="3340" y="3260"/>
                  </a:lnTo>
                  <a:lnTo>
                    <a:pt x="3334" y="3275"/>
                  </a:lnTo>
                  <a:lnTo>
                    <a:pt x="3329" y="3299"/>
                  </a:lnTo>
                  <a:lnTo>
                    <a:pt x="3325" y="3319"/>
                  </a:lnTo>
                  <a:lnTo>
                    <a:pt x="3319" y="3333"/>
                  </a:lnTo>
                  <a:lnTo>
                    <a:pt x="3314" y="3342"/>
                  </a:lnTo>
                  <a:lnTo>
                    <a:pt x="3306" y="3348"/>
                  </a:lnTo>
                  <a:lnTo>
                    <a:pt x="3296" y="3348"/>
                  </a:lnTo>
                  <a:lnTo>
                    <a:pt x="3283" y="3344"/>
                  </a:lnTo>
                  <a:lnTo>
                    <a:pt x="3264" y="3337"/>
                  </a:lnTo>
                  <a:lnTo>
                    <a:pt x="3247" y="3331"/>
                  </a:lnTo>
                  <a:lnTo>
                    <a:pt x="3233" y="3325"/>
                  </a:lnTo>
                  <a:lnTo>
                    <a:pt x="3219" y="3321"/>
                  </a:lnTo>
                  <a:lnTo>
                    <a:pt x="3212" y="3320"/>
                  </a:lnTo>
                  <a:lnTo>
                    <a:pt x="3202" y="3319"/>
                  </a:lnTo>
                  <a:lnTo>
                    <a:pt x="3189" y="3315"/>
                  </a:lnTo>
                  <a:lnTo>
                    <a:pt x="3171" y="3309"/>
                  </a:lnTo>
                  <a:lnTo>
                    <a:pt x="3149" y="3303"/>
                  </a:lnTo>
                  <a:lnTo>
                    <a:pt x="3125" y="3295"/>
                  </a:lnTo>
                  <a:lnTo>
                    <a:pt x="3100" y="3286"/>
                  </a:lnTo>
                  <a:lnTo>
                    <a:pt x="3076" y="3277"/>
                  </a:lnTo>
                  <a:lnTo>
                    <a:pt x="3051" y="3267"/>
                  </a:lnTo>
                  <a:lnTo>
                    <a:pt x="3030" y="3258"/>
                  </a:lnTo>
                  <a:lnTo>
                    <a:pt x="3012" y="3249"/>
                  </a:lnTo>
                  <a:lnTo>
                    <a:pt x="2997" y="3242"/>
                  </a:lnTo>
                  <a:lnTo>
                    <a:pt x="2958" y="3218"/>
                  </a:lnTo>
                  <a:lnTo>
                    <a:pt x="2921" y="3185"/>
                  </a:lnTo>
                  <a:lnTo>
                    <a:pt x="2884" y="3144"/>
                  </a:lnTo>
                  <a:lnTo>
                    <a:pt x="2849" y="3095"/>
                  </a:lnTo>
                  <a:lnTo>
                    <a:pt x="2815" y="3038"/>
                  </a:lnTo>
                  <a:lnTo>
                    <a:pt x="2795" y="3002"/>
                  </a:lnTo>
                  <a:lnTo>
                    <a:pt x="2778" y="2973"/>
                  </a:lnTo>
                  <a:lnTo>
                    <a:pt x="2764" y="2949"/>
                  </a:lnTo>
                  <a:lnTo>
                    <a:pt x="2750" y="2931"/>
                  </a:lnTo>
                  <a:lnTo>
                    <a:pt x="2739" y="2915"/>
                  </a:lnTo>
                  <a:lnTo>
                    <a:pt x="2728" y="2903"/>
                  </a:lnTo>
                  <a:lnTo>
                    <a:pt x="2718" y="2894"/>
                  </a:lnTo>
                  <a:lnTo>
                    <a:pt x="2707" y="2888"/>
                  </a:lnTo>
                  <a:lnTo>
                    <a:pt x="2695" y="2881"/>
                  </a:lnTo>
                  <a:lnTo>
                    <a:pt x="2682" y="2873"/>
                  </a:lnTo>
                  <a:lnTo>
                    <a:pt x="2672" y="2864"/>
                  </a:lnTo>
                  <a:lnTo>
                    <a:pt x="2664" y="2852"/>
                  </a:lnTo>
                  <a:lnTo>
                    <a:pt x="2658" y="2836"/>
                  </a:lnTo>
                  <a:lnTo>
                    <a:pt x="2653" y="2822"/>
                  </a:lnTo>
                  <a:lnTo>
                    <a:pt x="2643" y="2804"/>
                  </a:lnTo>
                  <a:lnTo>
                    <a:pt x="2630" y="2784"/>
                  </a:lnTo>
                  <a:lnTo>
                    <a:pt x="2615" y="2764"/>
                  </a:lnTo>
                  <a:lnTo>
                    <a:pt x="2599" y="2744"/>
                  </a:lnTo>
                  <a:lnTo>
                    <a:pt x="2584" y="2727"/>
                  </a:lnTo>
                  <a:lnTo>
                    <a:pt x="2568" y="2712"/>
                  </a:lnTo>
                  <a:lnTo>
                    <a:pt x="2553" y="2701"/>
                  </a:lnTo>
                  <a:lnTo>
                    <a:pt x="2541" y="2695"/>
                  </a:lnTo>
                  <a:lnTo>
                    <a:pt x="2530" y="2689"/>
                  </a:lnTo>
                  <a:lnTo>
                    <a:pt x="2523" y="2683"/>
                  </a:lnTo>
                  <a:lnTo>
                    <a:pt x="2520" y="2675"/>
                  </a:lnTo>
                  <a:lnTo>
                    <a:pt x="2518" y="2649"/>
                  </a:lnTo>
                  <a:lnTo>
                    <a:pt x="2514" y="2634"/>
                  </a:lnTo>
                  <a:lnTo>
                    <a:pt x="2509" y="2617"/>
                  </a:lnTo>
                  <a:lnTo>
                    <a:pt x="2502" y="2603"/>
                  </a:lnTo>
                  <a:lnTo>
                    <a:pt x="2493" y="2584"/>
                  </a:lnTo>
                  <a:lnTo>
                    <a:pt x="2482" y="2572"/>
                  </a:lnTo>
                  <a:lnTo>
                    <a:pt x="2469" y="2564"/>
                  </a:lnTo>
                  <a:lnTo>
                    <a:pt x="2452" y="2559"/>
                  </a:lnTo>
                  <a:lnTo>
                    <a:pt x="2423" y="2551"/>
                  </a:lnTo>
                  <a:lnTo>
                    <a:pt x="2400" y="2542"/>
                  </a:lnTo>
                  <a:lnTo>
                    <a:pt x="2382" y="2533"/>
                  </a:lnTo>
                  <a:lnTo>
                    <a:pt x="2371" y="2521"/>
                  </a:lnTo>
                  <a:lnTo>
                    <a:pt x="2361" y="2507"/>
                  </a:lnTo>
                  <a:lnTo>
                    <a:pt x="2356" y="2486"/>
                  </a:lnTo>
                  <a:lnTo>
                    <a:pt x="2354" y="2459"/>
                  </a:lnTo>
                  <a:lnTo>
                    <a:pt x="2352" y="2425"/>
                  </a:lnTo>
                  <a:lnTo>
                    <a:pt x="2352" y="2344"/>
                  </a:lnTo>
                  <a:lnTo>
                    <a:pt x="2351" y="2313"/>
                  </a:lnTo>
                  <a:lnTo>
                    <a:pt x="2350" y="2289"/>
                  </a:lnTo>
                  <a:lnTo>
                    <a:pt x="2347" y="2269"/>
                  </a:lnTo>
                  <a:lnTo>
                    <a:pt x="2342" y="2252"/>
                  </a:lnTo>
                  <a:lnTo>
                    <a:pt x="2335" y="2235"/>
                  </a:lnTo>
                  <a:lnTo>
                    <a:pt x="2326" y="2218"/>
                  </a:lnTo>
                  <a:lnTo>
                    <a:pt x="2314" y="2199"/>
                  </a:lnTo>
                  <a:lnTo>
                    <a:pt x="2305" y="2186"/>
                  </a:lnTo>
                  <a:lnTo>
                    <a:pt x="2298" y="2178"/>
                  </a:lnTo>
                  <a:lnTo>
                    <a:pt x="2294" y="2174"/>
                  </a:lnTo>
                  <a:lnTo>
                    <a:pt x="2291" y="2173"/>
                  </a:lnTo>
                  <a:lnTo>
                    <a:pt x="2288" y="2177"/>
                  </a:lnTo>
                  <a:lnTo>
                    <a:pt x="2285" y="2183"/>
                  </a:lnTo>
                  <a:lnTo>
                    <a:pt x="2284" y="2193"/>
                  </a:lnTo>
                  <a:lnTo>
                    <a:pt x="2281" y="2210"/>
                  </a:lnTo>
                  <a:lnTo>
                    <a:pt x="2280" y="2232"/>
                  </a:lnTo>
                  <a:lnTo>
                    <a:pt x="2279" y="2260"/>
                  </a:lnTo>
                  <a:lnTo>
                    <a:pt x="2277" y="2290"/>
                  </a:lnTo>
                  <a:lnTo>
                    <a:pt x="2276" y="2323"/>
                  </a:lnTo>
                  <a:lnTo>
                    <a:pt x="2273" y="2386"/>
                  </a:lnTo>
                  <a:lnTo>
                    <a:pt x="2267" y="2444"/>
                  </a:lnTo>
                  <a:lnTo>
                    <a:pt x="2259" y="2496"/>
                  </a:lnTo>
                  <a:lnTo>
                    <a:pt x="2248" y="2545"/>
                  </a:lnTo>
                  <a:lnTo>
                    <a:pt x="2237" y="2585"/>
                  </a:lnTo>
                  <a:lnTo>
                    <a:pt x="2222" y="2621"/>
                  </a:lnTo>
                  <a:lnTo>
                    <a:pt x="2205" y="2650"/>
                  </a:lnTo>
                  <a:lnTo>
                    <a:pt x="2187" y="2672"/>
                  </a:lnTo>
                  <a:lnTo>
                    <a:pt x="2166" y="2691"/>
                  </a:lnTo>
                  <a:lnTo>
                    <a:pt x="2147" y="2672"/>
                  </a:lnTo>
                  <a:lnTo>
                    <a:pt x="2129" y="2650"/>
                  </a:lnTo>
                  <a:lnTo>
                    <a:pt x="2112" y="2621"/>
                  </a:lnTo>
                  <a:lnTo>
                    <a:pt x="2097" y="2585"/>
                  </a:lnTo>
                  <a:lnTo>
                    <a:pt x="2086" y="2545"/>
                  </a:lnTo>
                  <a:lnTo>
                    <a:pt x="2075" y="2496"/>
                  </a:lnTo>
                  <a:lnTo>
                    <a:pt x="2067" y="2444"/>
                  </a:lnTo>
                  <a:lnTo>
                    <a:pt x="2061" y="2386"/>
                  </a:lnTo>
                  <a:lnTo>
                    <a:pt x="2058" y="2323"/>
                  </a:lnTo>
                  <a:lnTo>
                    <a:pt x="2057" y="2290"/>
                  </a:lnTo>
                  <a:lnTo>
                    <a:pt x="2055" y="2260"/>
                  </a:lnTo>
                  <a:lnTo>
                    <a:pt x="2054" y="2232"/>
                  </a:lnTo>
                  <a:lnTo>
                    <a:pt x="2053" y="2210"/>
                  </a:lnTo>
                  <a:lnTo>
                    <a:pt x="2050" y="2193"/>
                  </a:lnTo>
                  <a:lnTo>
                    <a:pt x="2049" y="2183"/>
                  </a:lnTo>
                  <a:lnTo>
                    <a:pt x="2046" y="2177"/>
                  </a:lnTo>
                  <a:lnTo>
                    <a:pt x="2043" y="2173"/>
                  </a:lnTo>
                  <a:lnTo>
                    <a:pt x="2040" y="2174"/>
                  </a:lnTo>
                  <a:lnTo>
                    <a:pt x="2036" y="2178"/>
                  </a:lnTo>
                  <a:lnTo>
                    <a:pt x="2029" y="2186"/>
                  </a:lnTo>
                  <a:lnTo>
                    <a:pt x="2020" y="2199"/>
                  </a:lnTo>
                  <a:lnTo>
                    <a:pt x="2008" y="2218"/>
                  </a:lnTo>
                  <a:lnTo>
                    <a:pt x="1999" y="2235"/>
                  </a:lnTo>
                  <a:lnTo>
                    <a:pt x="1992" y="2252"/>
                  </a:lnTo>
                  <a:lnTo>
                    <a:pt x="1987" y="2269"/>
                  </a:lnTo>
                  <a:lnTo>
                    <a:pt x="1984" y="2289"/>
                  </a:lnTo>
                  <a:lnTo>
                    <a:pt x="1983" y="2313"/>
                  </a:lnTo>
                  <a:lnTo>
                    <a:pt x="1982" y="2344"/>
                  </a:lnTo>
                  <a:lnTo>
                    <a:pt x="1982" y="2425"/>
                  </a:lnTo>
                  <a:lnTo>
                    <a:pt x="1980" y="2459"/>
                  </a:lnTo>
                  <a:lnTo>
                    <a:pt x="1978" y="2486"/>
                  </a:lnTo>
                  <a:lnTo>
                    <a:pt x="1973" y="2507"/>
                  </a:lnTo>
                  <a:lnTo>
                    <a:pt x="1963" y="2521"/>
                  </a:lnTo>
                  <a:lnTo>
                    <a:pt x="1952" y="2533"/>
                  </a:lnTo>
                  <a:lnTo>
                    <a:pt x="1934" y="2542"/>
                  </a:lnTo>
                  <a:lnTo>
                    <a:pt x="1911" y="2551"/>
                  </a:lnTo>
                  <a:lnTo>
                    <a:pt x="1882" y="2559"/>
                  </a:lnTo>
                  <a:lnTo>
                    <a:pt x="1865" y="2564"/>
                  </a:lnTo>
                  <a:lnTo>
                    <a:pt x="1852" y="2572"/>
                  </a:lnTo>
                  <a:lnTo>
                    <a:pt x="1841" y="2584"/>
                  </a:lnTo>
                  <a:lnTo>
                    <a:pt x="1832" y="2603"/>
                  </a:lnTo>
                  <a:lnTo>
                    <a:pt x="1825" y="2617"/>
                  </a:lnTo>
                  <a:lnTo>
                    <a:pt x="1820" y="2634"/>
                  </a:lnTo>
                  <a:lnTo>
                    <a:pt x="1816" y="2649"/>
                  </a:lnTo>
                  <a:lnTo>
                    <a:pt x="1814" y="2675"/>
                  </a:lnTo>
                  <a:lnTo>
                    <a:pt x="1811" y="2683"/>
                  </a:lnTo>
                  <a:lnTo>
                    <a:pt x="1804" y="2689"/>
                  </a:lnTo>
                  <a:lnTo>
                    <a:pt x="1793" y="2695"/>
                  </a:lnTo>
                  <a:lnTo>
                    <a:pt x="1781" y="2701"/>
                  </a:lnTo>
                  <a:lnTo>
                    <a:pt x="1766" y="2712"/>
                  </a:lnTo>
                  <a:lnTo>
                    <a:pt x="1750" y="2727"/>
                  </a:lnTo>
                  <a:lnTo>
                    <a:pt x="1735" y="2744"/>
                  </a:lnTo>
                  <a:lnTo>
                    <a:pt x="1719" y="2764"/>
                  </a:lnTo>
                  <a:lnTo>
                    <a:pt x="1704" y="2784"/>
                  </a:lnTo>
                  <a:lnTo>
                    <a:pt x="1691" y="2804"/>
                  </a:lnTo>
                  <a:lnTo>
                    <a:pt x="1681" y="2822"/>
                  </a:lnTo>
                  <a:lnTo>
                    <a:pt x="1676" y="2836"/>
                  </a:lnTo>
                  <a:lnTo>
                    <a:pt x="1670" y="2852"/>
                  </a:lnTo>
                  <a:lnTo>
                    <a:pt x="1662" y="2864"/>
                  </a:lnTo>
                  <a:lnTo>
                    <a:pt x="1652" y="2873"/>
                  </a:lnTo>
                  <a:lnTo>
                    <a:pt x="1639" y="2881"/>
                  </a:lnTo>
                  <a:lnTo>
                    <a:pt x="1627" y="2888"/>
                  </a:lnTo>
                  <a:lnTo>
                    <a:pt x="1616" y="2894"/>
                  </a:lnTo>
                  <a:lnTo>
                    <a:pt x="1606" y="2903"/>
                  </a:lnTo>
                  <a:lnTo>
                    <a:pt x="1595" y="2915"/>
                  </a:lnTo>
                  <a:lnTo>
                    <a:pt x="1584" y="2931"/>
                  </a:lnTo>
                  <a:lnTo>
                    <a:pt x="1570" y="2949"/>
                  </a:lnTo>
                  <a:lnTo>
                    <a:pt x="1556" y="2973"/>
                  </a:lnTo>
                  <a:lnTo>
                    <a:pt x="1539" y="3002"/>
                  </a:lnTo>
                  <a:lnTo>
                    <a:pt x="1519" y="3038"/>
                  </a:lnTo>
                  <a:lnTo>
                    <a:pt x="1485" y="3095"/>
                  </a:lnTo>
                  <a:lnTo>
                    <a:pt x="1450" y="3144"/>
                  </a:lnTo>
                  <a:lnTo>
                    <a:pt x="1413" y="3185"/>
                  </a:lnTo>
                  <a:lnTo>
                    <a:pt x="1376" y="3218"/>
                  </a:lnTo>
                  <a:lnTo>
                    <a:pt x="1337" y="3242"/>
                  </a:lnTo>
                  <a:lnTo>
                    <a:pt x="1322" y="3249"/>
                  </a:lnTo>
                  <a:lnTo>
                    <a:pt x="1304" y="3258"/>
                  </a:lnTo>
                  <a:lnTo>
                    <a:pt x="1283" y="3267"/>
                  </a:lnTo>
                  <a:lnTo>
                    <a:pt x="1258" y="3277"/>
                  </a:lnTo>
                  <a:lnTo>
                    <a:pt x="1234" y="3286"/>
                  </a:lnTo>
                  <a:lnTo>
                    <a:pt x="1209" y="3295"/>
                  </a:lnTo>
                  <a:lnTo>
                    <a:pt x="1185" y="3303"/>
                  </a:lnTo>
                  <a:lnTo>
                    <a:pt x="1163" y="3309"/>
                  </a:lnTo>
                  <a:lnTo>
                    <a:pt x="1145" y="3315"/>
                  </a:lnTo>
                  <a:lnTo>
                    <a:pt x="1132" y="3319"/>
                  </a:lnTo>
                  <a:lnTo>
                    <a:pt x="1122" y="3320"/>
                  </a:lnTo>
                  <a:lnTo>
                    <a:pt x="1115" y="3321"/>
                  </a:lnTo>
                  <a:lnTo>
                    <a:pt x="1101" y="3325"/>
                  </a:lnTo>
                  <a:lnTo>
                    <a:pt x="1087" y="3331"/>
                  </a:lnTo>
                  <a:lnTo>
                    <a:pt x="1070" y="3337"/>
                  </a:lnTo>
                  <a:lnTo>
                    <a:pt x="1051" y="3344"/>
                  </a:lnTo>
                  <a:lnTo>
                    <a:pt x="1038" y="3348"/>
                  </a:lnTo>
                  <a:lnTo>
                    <a:pt x="1028" y="3348"/>
                  </a:lnTo>
                  <a:lnTo>
                    <a:pt x="1020" y="3342"/>
                  </a:lnTo>
                  <a:lnTo>
                    <a:pt x="1015" y="3333"/>
                  </a:lnTo>
                  <a:lnTo>
                    <a:pt x="1009" y="3319"/>
                  </a:lnTo>
                  <a:lnTo>
                    <a:pt x="1005" y="3299"/>
                  </a:lnTo>
                  <a:lnTo>
                    <a:pt x="1000" y="3275"/>
                  </a:lnTo>
                  <a:lnTo>
                    <a:pt x="994" y="3260"/>
                  </a:lnTo>
                  <a:lnTo>
                    <a:pt x="986" y="3248"/>
                  </a:lnTo>
                  <a:lnTo>
                    <a:pt x="975" y="3242"/>
                  </a:lnTo>
                  <a:lnTo>
                    <a:pt x="965" y="3244"/>
                  </a:lnTo>
                  <a:lnTo>
                    <a:pt x="959" y="3248"/>
                  </a:lnTo>
                  <a:lnTo>
                    <a:pt x="950" y="3256"/>
                  </a:lnTo>
                  <a:lnTo>
                    <a:pt x="938" y="3269"/>
                  </a:lnTo>
                  <a:lnTo>
                    <a:pt x="907" y="3300"/>
                  </a:lnTo>
                  <a:lnTo>
                    <a:pt x="890" y="3319"/>
                  </a:lnTo>
                  <a:lnTo>
                    <a:pt x="856" y="3358"/>
                  </a:lnTo>
                  <a:lnTo>
                    <a:pt x="840" y="3378"/>
                  </a:lnTo>
                  <a:lnTo>
                    <a:pt x="825" y="3396"/>
                  </a:lnTo>
                  <a:lnTo>
                    <a:pt x="818" y="3407"/>
                  </a:lnTo>
                  <a:lnTo>
                    <a:pt x="807" y="3422"/>
                  </a:lnTo>
                  <a:lnTo>
                    <a:pt x="793" y="3442"/>
                  </a:lnTo>
                  <a:lnTo>
                    <a:pt x="777" y="3466"/>
                  </a:lnTo>
                  <a:lnTo>
                    <a:pt x="758" y="3492"/>
                  </a:lnTo>
                  <a:lnTo>
                    <a:pt x="740" y="3520"/>
                  </a:lnTo>
                  <a:lnTo>
                    <a:pt x="720" y="3549"/>
                  </a:lnTo>
                  <a:lnTo>
                    <a:pt x="693" y="3589"/>
                  </a:lnTo>
                  <a:lnTo>
                    <a:pt x="668" y="3625"/>
                  </a:lnTo>
                  <a:lnTo>
                    <a:pt x="645" y="3655"/>
                  </a:lnTo>
                  <a:lnTo>
                    <a:pt x="623" y="3683"/>
                  </a:lnTo>
                  <a:lnTo>
                    <a:pt x="601" y="3706"/>
                  </a:lnTo>
                  <a:lnTo>
                    <a:pt x="580" y="3729"/>
                  </a:lnTo>
                  <a:lnTo>
                    <a:pt x="557" y="3748"/>
                  </a:lnTo>
                  <a:lnTo>
                    <a:pt x="532" y="3767"/>
                  </a:lnTo>
                  <a:lnTo>
                    <a:pt x="506" y="3785"/>
                  </a:lnTo>
                  <a:lnTo>
                    <a:pt x="477" y="3804"/>
                  </a:lnTo>
                  <a:lnTo>
                    <a:pt x="455" y="3818"/>
                  </a:lnTo>
                  <a:lnTo>
                    <a:pt x="430" y="3834"/>
                  </a:lnTo>
                  <a:lnTo>
                    <a:pt x="380" y="3871"/>
                  </a:lnTo>
                  <a:lnTo>
                    <a:pt x="358" y="3889"/>
                  </a:lnTo>
                  <a:lnTo>
                    <a:pt x="338" y="3905"/>
                  </a:lnTo>
                  <a:lnTo>
                    <a:pt x="312" y="3927"/>
                  </a:lnTo>
                  <a:lnTo>
                    <a:pt x="288" y="3944"/>
                  </a:lnTo>
                  <a:lnTo>
                    <a:pt x="270" y="3957"/>
                  </a:lnTo>
                  <a:lnTo>
                    <a:pt x="254" y="3965"/>
                  </a:lnTo>
                  <a:lnTo>
                    <a:pt x="241" y="3969"/>
                  </a:lnTo>
                  <a:lnTo>
                    <a:pt x="232" y="3969"/>
                  </a:lnTo>
                  <a:lnTo>
                    <a:pt x="224" y="396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A9B18">
                    <a:shade val="30000"/>
                    <a:satMod val="115000"/>
                  </a:srgbClr>
                </a:gs>
                <a:gs pos="50000">
                  <a:srgbClr val="2A9B18">
                    <a:shade val="67500"/>
                    <a:satMod val="115000"/>
                  </a:srgbClr>
                </a:gs>
                <a:gs pos="100000">
                  <a:srgbClr val="2A9B18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13324" name="Freeform 8"/>
            <p:cNvSpPr>
              <a:spLocks/>
            </p:cNvSpPr>
            <p:nvPr/>
          </p:nvSpPr>
          <p:spPr bwMode="auto">
            <a:xfrm>
              <a:off x="6521349" y="3675498"/>
              <a:ext cx="44821" cy="114816"/>
            </a:xfrm>
            <a:custGeom>
              <a:avLst/>
              <a:gdLst>
                <a:gd name="T0" fmla="*/ 2147483647 w 89"/>
                <a:gd name="T1" fmla="*/ 2147483647 h 228"/>
                <a:gd name="T2" fmla="*/ 2147483647 w 89"/>
                <a:gd name="T3" fmla="*/ 2147483647 h 228"/>
                <a:gd name="T4" fmla="*/ 2147483647 w 89"/>
                <a:gd name="T5" fmla="*/ 2147483647 h 228"/>
                <a:gd name="T6" fmla="*/ 2147483647 w 89"/>
                <a:gd name="T7" fmla="*/ 2147483647 h 228"/>
                <a:gd name="T8" fmla="*/ 2147483647 w 89"/>
                <a:gd name="T9" fmla="*/ 2147483647 h 228"/>
                <a:gd name="T10" fmla="*/ 2147483647 w 89"/>
                <a:gd name="T11" fmla="*/ 2147483647 h 228"/>
                <a:gd name="T12" fmla="*/ 2147483647 w 89"/>
                <a:gd name="T13" fmla="*/ 2147483647 h 228"/>
                <a:gd name="T14" fmla="*/ 2147483647 w 89"/>
                <a:gd name="T15" fmla="*/ 2147483647 h 228"/>
                <a:gd name="T16" fmla="*/ 2147483647 w 89"/>
                <a:gd name="T17" fmla="*/ 2147483647 h 228"/>
                <a:gd name="T18" fmla="*/ 2147483647 w 89"/>
                <a:gd name="T19" fmla="*/ 2147483647 h 228"/>
                <a:gd name="T20" fmla="*/ 2147483647 w 89"/>
                <a:gd name="T21" fmla="*/ 2147483647 h 228"/>
                <a:gd name="T22" fmla="*/ 2147483647 w 89"/>
                <a:gd name="T23" fmla="*/ 2147483647 h 228"/>
                <a:gd name="T24" fmla="*/ 2147483647 w 89"/>
                <a:gd name="T25" fmla="*/ 2147483647 h 228"/>
                <a:gd name="T26" fmla="*/ 2147483647 w 89"/>
                <a:gd name="T27" fmla="*/ 2147483647 h 228"/>
                <a:gd name="T28" fmla="*/ 2147483647 w 89"/>
                <a:gd name="T29" fmla="*/ 2147483647 h 228"/>
                <a:gd name="T30" fmla="*/ 2147483647 w 89"/>
                <a:gd name="T31" fmla="*/ 2147483647 h 228"/>
                <a:gd name="T32" fmla="*/ 2147483647 w 89"/>
                <a:gd name="T33" fmla="*/ 2147483647 h 228"/>
                <a:gd name="T34" fmla="*/ 2147483647 w 89"/>
                <a:gd name="T35" fmla="*/ 2147483647 h 228"/>
                <a:gd name="T36" fmla="*/ 2147483647 w 89"/>
                <a:gd name="T37" fmla="*/ 2147483647 h 228"/>
                <a:gd name="T38" fmla="*/ 2147483647 w 89"/>
                <a:gd name="T39" fmla="*/ 2147483647 h 228"/>
                <a:gd name="T40" fmla="*/ 2147483647 w 89"/>
                <a:gd name="T41" fmla="*/ 2147483647 h 228"/>
                <a:gd name="T42" fmla="*/ 2147483647 w 89"/>
                <a:gd name="T43" fmla="*/ 0 h 228"/>
                <a:gd name="T44" fmla="*/ 2147483647 w 89"/>
                <a:gd name="T45" fmla="*/ 0 h 228"/>
                <a:gd name="T46" fmla="*/ 2147483647 w 89"/>
                <a:gd name="T47" fmla="*/ 2147483647 h 228"/>
                <a:gd name="T48" fmla="*/ 2147483647 w 89"/>
                <a:gd name="T49" fmla="*/ 2147483647 h 228"/>
                <a:gd name="T50" fmla="*/ 2147483647 w 89"/>
                <a:gd name="T51" fmla="*/ 2147483647 h 228"/>
                <a:gd name="T52" fmla="*/ 2147483647 w 89"/>
                <a:gd name="T53" fmla="*/ 2147483647 h 228"/>
                <a:gd name="T54" fmla="*/ 2147483647 w 89"/>
                <a:gd name="T55" fmla="*/ 2147483647 h 228"/>
                <a:gd name="T56" fmla="*/ 2147483647 w 89"/>
                <a:gd name="T57" fmla="*/ 2147483647 h 228"/>
                <a:gd name="T58" fmla="*/ 2147483647 w 89"/>
                <a:gd name="T59" fmla="*/ 2147483647 h 228"/>
                <a:gd name="T60" fmla="*/ 2147483647 w 89"/>
                <a:gd name="T61" fmla="*/ 2147483647 h 228"/>
                <a:gd name="T62" fmla="*/ 2147483647 w 89"/>
                <a:gd name="T63" fmla="*/ 2147483647 h 228"/>
                <a:gd name="T64" fmla="*/ 2147483647 w 89"/>
                <a:gd name="T65" fmla="*/ 2147483647 h 228"/>
                <a:gd name="T66" fmla="*/ 2147483647 w 89"/>
                <a:gd name="T67" fmla="*/ 2147483647 h 228"/>
                <a:gd name="T68" fmla="*/ 0 w 89"/>
                <a:gd name="T69" fmla="*/ 2147483647 h 228"/>
                <a:gd name="T70" fmla="*/ 0 w 89"/>
                <a:gd name="T71" fmla="*/ 2147483647 h 228"/>
                <a:gd name="T72" fmla="*/ 2147483647 w 89"/>
                <a:gd name="T73" fmla="*/ 2147483647 h 228"/>
                <a:gd name="T74" fmla="*/ 2147483647 w 89"/>
                <a:gd name="T75" fmla="*/ 2147483647 h 228"/>
                <a:gd name="T76" fmla="*/ 2147483647 w 89"/>
                <a:gd name="T77" fmla="*/ 2147483647 h 228"/>
                <a:gd name="T78" fmla="*/ 2147483647 w 89"/>
                <a:gd name="T79" fmla="*/ 2147483647 h 228"/>
                <a:gd name="T80" fmla="*/ 2147483647 w 89"/>
                <a:gd name="T81" fmla="*/ 2147483647 h 228"/>
                <a:gd name="T82" fmla="*/ 2147483647 w 89"/>
                <a:gd name="T83" fmla="*/ 2147483647 h 22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9"/>
                <a:gd name="T127" fmla="*/ 0 h 228"/>
                <a:gd name="T128" fmla="*/ 89 w 89"/>
                <a:gd name="T129" fmla="*/ 228 h 22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9" h="228">
                  <a:moveTo>
                    <a:pt x="19" y="218"/>
                  </a:moveTo>
                  <a:lnTo>
                    <a:pt x="27" y="209"/>
                  </a:lnTo>
                  <a:lnTo>
                    <a:pt x="40" y="202"/>
                  </a:lnTo>
                  <a:lnTo>
                    <a:pt x="50" y="198"/>
                  </a:lnTo>
                  <a:lnTo>
                    <a:pt x="55" y="189"/>
                  </a:lnTo>
                  <a:lnTo>
                    <a:pt x="55" y="176"/>
                  </a:lnTo>
                  <a:lnTo>
                    <a:pt x="54" y="156"/>
                  </a:lnTo>
                  <a:lnTo>
                    <a:pt x="55" y="144"/>
                  </a:lnTo>
                  <a:lnTo>
                    <a:pt x="58" y="136"/>
                  </a:lnTo>
                  <a:lnTo>
                    <a:pt x="63" y="134"/>
                  </a:lnTo>
                  <a:lnTo>
                    <a:pt x="79" y="131"/>
                  </a:lnTo>
                  <a:lnTo>
                    <a:pt x="84" y="127"/>
                  </a:lnTo>
                  <a:lnTo>
                    <a:pt x="86" y="119"/>
                  </a:lnTo>
                  <a:lnTo>
                    <a:pt x="88" y="106"/>
                  </a:lnTo>
                  <a:lnTo>
                    <a:pt x="89" y="92"/>
                  </a:lnTo>
                  <a:lnTo>
                    <a:pt x="89" y="79"/>
                  </a:lnTo>
                  <a:lnTo>
                    <a:pt x="88" y="68"/>
                  </a:lnTo>
                  <a:lnTo>
                    <a:pt x="86" y="59"/>
                  </a:lnTo>
                  <a:lnTo>
                    <a:pt x="86" y="15"/>
                  </a:lnTo>
                  <a:lnTo>
                    <a:pt x="85" y="6"/>
                  </a:lnTo>
                  <a:lnTo>
                    <a:pt x="81" y="2"/>
                  </a:lnTo>
                  <a:lnTo>
                    <a:pt x="75" y="0"/>
                  </a:lnTo>
                  <a:lnTo>
                    <a:pt x="55" y="0"/>
                  </a:lnTo>
                  <a:lnTo>
                    <a:pt x="47" y="2"/>
                  </a:lnTo>
                  <a:lnTo>
                    <a:pt x="42" y="6"/>
                  </a:lnTo>
                  <a:lnTo>
                    <a:pt x="37" y="14"/>
                  </a:lnTo>
                  <a:lnTo>
                    <a:pt x="33" y="26"/>
                  </a:lnTo>
                  <a:lnTo>
                    <a:pt x="27" y="44"/>
                  </a:lnTo>
                  <a:lnTo>
                    <a:pt x="22" y="65"/>
                  </a:lnTo>
                  <a:lnTo>
                    <a:pt x="17" y="92"/>
                  </a:lnTo>
                  <a:lnTo>
                    <a:pt x="12" y="119"/>
                  </a:lnTo>
                  <a:lnTo>
                    <a:pt x="6" y="148"/>
                  </a:lnTo>
                  <a:lnTo>
                    <a:pt x="4" y="176"/>
                  </a:lnTo>
                  <a:lnTo>
                    <a:pt x="1" y="198"/>
                  </a:lnTo>
                  <a:lnTo>
                    <a:pt x="0" y="215"/>
                  </a:lnTo>
                  <a:lnTo>
                    <a:pt x="0" y="220"/>
                  </a:lnTo>
                  <a:lnTo>
                    <a:pt x="1" y="223"/>
                  </a:lnTo>
                  <a:lnTo>
                    <a:pt x="4" y="227"/>
                  </a:lnTo>
                  <a:lnTo>
                    <a:pt x="6" y="228"/>
                  </a:lnTo>
                  <a:lnTo>
                    <a:pt x="9" y="228"/>
                  </a:lnTo>
                  <a:lnTo>
                    <a:pt x="14" y="226"/>
                  </a:lnTo>
                  <a:lnTo>
                    <a:pt x="19" y="218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25" name="Freeform 9"/>
            <p:cNvSpPr>
              <a:spLocks/>
            </p:cNvSpPr>
            <p:nvPr/>
          </p:nvSpPr>
          <p:spPr bwMode="auto">
            <a:xfrm>
              <a:off x="7345745" y="3675498"/>
              <a:ext cx="44821" cy="114816"/>
            </a:xfrm>
            <a:custGeom>
              <a:avLst/>
              <a:gdLst>
                <a:gd name="T0" fmla="*/ 2147483647 w 89"/>
                <a:gd name="T1" fmla="*/ 2147483647 h 228"/>
                <a:gd name="T2" fmla="*/ 2147483647 w 89"/>
                <a:gd name="T3" fmla="*/ 2147483647 h 228"/>
                <a:gd name="T4" fmla="*/ 2147483647 w 89"/>
                <a:gd name="T5" fmla="*/ 2147483647 h 228"/>
                <a:gd name="T6" fmla="*/ 2147483647 w 89"/>
                <a:gd name="T7" fmla="*/ 2147483647 h 228"/>
                <a:gd name="T8" fmla="*/ 2147483647 w 89"/>
                <a:gd name="T9" fmla="*/ 2147483647 h 228"/>
                <a:gd name="T10" fmla="*/ 2147483647 w 89"/>
                <a:gd name="T11" fmla="*/ 2147483647 h 228"/>
                <a:gd name="T12" fmla="*/ 2147483647 w 89"/>
                <a:gd name="T13" fmla="*/ 2147483647 h 228"/>
                <a:gd name="T14" fmla="*/ 2147483647 w 89"/>
                <a:gd name="T15" fmla="*/ 2147483647 h 228"/>
                <a:gd name="T16" fmla="*/ 2147483647 w 89"/>
                <a:gd name="T17" fmla="*/ 2147483647 h 228"/>
                <a:gd name="T18" fmla="*/ 2147483647 w 89"/>
                <a:gd name="T19" fmla="*/ 2147483647 h 228"/>
                <a:gd name="T20" fmla="*/ 2147483647 w 89"/>
                <a:gd name="T21" fmla="*/ 2147483647 h 228"/>
                <a:gd name="T22" fmla="*/ 2147483647 w 89"/>
                <a:gd name="T23" fmla="*/ 2147483647 h 228"/>
                <a:gd name="T24" fmla="*/ 2147483647 w 89"/>
                <a:gd name="T25" fmla="*/ 0 h 228"/>
                <a:gd name="T26" fmla="*/ 2147483647 w 89"/>
                <a:gd name="T27" fmla="*/ 0 h 228"/>
                <a:gd name="T28" fmla="*/ 2147483647 w 89"/>
                <a:gd name="T29" fmla="*/ 2147483647 h 228"/>
                <a:gd name="T30" fmla="*/ 2147483647 w 89"/>
                <a:gd name="T31" fmla="*/ 2147483647 h 228"/>
                <a:gd name="T32" fmla="*/ 2147483647 w 89"/>
                <a:gd name="T33" fmla="*/ 2147483647 h 228"/>
                <a:gd name="T34" fmla="*/ 2147483647 w 89"/>
                <a:gd name="T35" fmla="*/ 2147483647 h 228"/>
                <a:gd name="T36" fmla="*/ 2147483647 w 89"/>
                <a:gd name="T37" fmla="*/ 2147483647 h 228"/>
                <a:gd name="T38" fmla="*/ 0 w 89"/>
                <a:gd name="T39" fmla="*/ 2147483647 h 228"/>
                <a:gd name="T40" fmla="*/ 0 w 89"/>
                <a:gd name="T41" fmla="*/ 2147483647 h 228"/>
                <a:gd name="T42" fmla="*/ 2147483647 w 89"/>
                <a:gd name="T43" fmla="*/ 2147483647 h 228"/>
                <a:gd name="T44" fmla="*/ 2147483647 w 89"/>
                <a:gd name="T45" fmla="*/ 2147483647 h 228"/>
                <a:gd name="T46" fmla="*/ 2147483647 w 89"/>
                <a:gd name="T47" fmla="*/ 2147483647 h 228"/>
                <a:gd name="T48" fmla="*/ 2147483647 w 89"/>
                <a:gd name="T49" fmla="*/ 2147483647 h 228"/>
                <a:gd name="T50" fmla="*/ 2147483647 w 89"/>
                <a:gd name="T51" fmla="*/ 2147483647 h 228"/>
                <a:gd name="T52" fmla="*/ 2147483647 w 89"/>
                <a:gd name="T53" fmla="*/ 2147483647 h 228"/>
                <a:gd name="T54" fmla="*/ 2147483647 w 89"/>
                <a:gd name="T55" fmla="*/ 2147483647 h 228"/>
                <a:gd name="T56" fmla="*/ 2147483647 w 89"/>
                <a:gd name="T57" fmla="*/ 2147483647 h 228"/>
                <a:gd name="T58" fmla="*/ 2147483647 w 89"/>
                <a:gd name="T59" fmla="*/ 2147483647 h 228"/>
                <a:gd name="T60" fmla="*/ 2147483647 w 89"/>
                <a:gd name="T61" fmla="*/ 2147483647 h 228"/>
                <a:gd name="T62" fmla="*/ 2147483647 w 89"/>
                <a:gd name="T63" fmla="*/ 2147483647 h 228"/>
                <a:gd name="T64" fmla="*/ 2147483647 w 89"/>
                <a:gd name="T65" fmla="*/ 2147483647 h 228"/>
                <a:gd name="T66" fmla="*/ 2147483647 w 89"/>
                <a:gd name="T67" fmla="*/ 2147483647 h 228"/>
                <a:gd name="T68" fmla="*/ 2147483647 w 89"/>
                <a:gd name="T69" fmla="*/ 2147483647 h 228"/>
                <a:gd name="T70" fmla="*/ 2147483647 w 89"/>
                <a:gd name="T71" fmla="*/ 2147483647 h 228"/>
                <a:gd name="T72" fmla="*/ 2147483647 w 89"/>
                <a:gd name="T73" fmla="*/ 2147483647 h 228"/>
                <a:gd name="T74" fmla="*/ 2147483647 w 89"/>
                <a:gd name="T75" fmla="*/ 2147483647 h 228"/>
                <a:gd name="T76" fmla="*/ 2147483647 w 89"/>
                <a:gd name="T77" fmla="*/ 2147483647 h 228"/>
                <a:gd name="T78" fmla="*/ 2147483647 w 89"/>
                <a:gd name="T79" fmla="*/ 2147483647 h 228"/>
                <a:gd name="T80" fmla="*/ 2147483647 w 89"/>
                <a:gd name="T81" fmla="*/ 2147483647 h 228"/>
                <a:gd name="T82" fmla="*/ 2147483647 w 89"/>
                <a:gd name="T83" fmla="*/ 2147483647 h 22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9"/>
                <a:gd name="T127" fmla="*/ 0 h 228"/>
                <a:gd name="T128" fmla="*/ 89 w 89"/>
                <a:gd name="T129" fmla="*/ 228 h 22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9" h="228">
                  <a:moveTo>
                    <a:pt x="89" y="215"/>
                  </a:moveTo>
                  <a:lnTo>
                    <a:pt x="88" y="198"/>
                  </a:lnTo>
                  <a:lnTo>
                    <a:pt x="85" y="176"/>
                  </a:lnTo>
                  <a:lnTo>
                    <a:pt x="83" y="148"/>
                  </a:lnTo>
                  <a:lnTo>
                    <a:pt x="77" y="119"/>
                  </a:lnTo>
                  <a:lnTo>
                    <a:pt x="72" y="92"/>
                  </a:lnTo>
                  <a:lnTo>
                    <a:pt x="67" y="65"/>
                  </a:lnTo>
                  <a:lnTo>
                    <a:pt x="62" y="44"/>
                  </a:lnTo>
                  <a:lnTo>
                    <a:pt x="56" y="26"/>
                  </a:lnTo>
                  <a:lnTo>
                    <a:pt x="52" y="14"/>
                  </a:lnTo>
                  <a:lnTo>
                    <a:pt x="47" y="6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3" y="15"/>
                  </a:lnTo>
                  <a:lnTo>
                    <a:pt x="3" y="59"/>
                  </a:lnTo>
                  <a:lnTo>
                    <a:pt x="1" y="68"/>
                  </a:lnTo>
                  <a:lnTo>
                    <a:pt x="0" y="79"/>
                  </a:lnTo>
                  <a:lnTo>
                    <a:pt x="0" y="92"/>
                  </a:lnTo>
                  <a:lnTo>
                    <a:pt x="1" y="106"/>
                  </a:lnTo>
                  <a:lnTo>
                    <a:pt x="3" y="119"/>
                  </a:lnTo>
                  <a:lnTo>
                    <a:pt x="5" y="127"/>
                  </a:lnTo>
                  <a:lnTo>
                    <a:pt x="10" y="131"/>
                  </a:lnTo>
                  <a:lnTo>
                    <a:pt x="26" y="134"/>
                  </a:lnTo>
                  <a:lnTo>
                    <a:pt x="31" y="136"/>
                  </a:lnTo>
                  <a:lnTo>
                    <a:pt x="34" y="144"/>
                  </a:lnTo>
                  <a:lnTo>
                    <a:pt x="35" y="156"/>
                  </a:lnTo>
                  <a:lnTo>
                    <a:pt x="34" y="176"/>
                  </a:lnTo>
                  <a:lnTo>
                    <a:pt x="34" y="189"/>
                  </a:lnTo>
                  <a:lnTo>
                    <a:pt x="39" y="198"/>
                  </a:lnTo>
                  <a:lnTo>
                    <a:pt x="49" y="202"/>
                  </a:lnTo>
                  <a:lnTo>
                    <a:pt x="62" y="209"/>
                  </a:lnTo>
                  <a:lnTo>
                    <a:pt x="70" y="218"/>
                  </a:lnTo>
                  <a:lnTo>
                    <a:pt x="75" y="226"/>
                  </a:lnTo>
                  <a:lnTo>
                    <a:pt x="80" y="228"/>
                  </a:lnTo>
                  <a:lnTo>
                    <a:pt x="83" y="228"/>
                  </a:lnTo>
                  <a:lnTo>
                    <a:pt x="85" y="227"/>
                  </a:lnTo>
                  <a:lnTo>
                    <a:pt x="88" y="223"/>
                  </a:lnTo>
                  <a:lnTo>
                    <a:pt x="89" y="220"/>
                  </a:lnTo>
                  <a:lnTo>
                    <a:pt x="89" y="215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26" name="Freeform 10"/>
            <p:cNvSpPr>
              <a:spLocks/>
            </p:cNvSpPr>
            <p:nvPr/>
          </p:nvSpPr>
          <p:spPr bwMode="auto">
            <a:xfrm>
              <a:off x="6439261" y="3661901"/>
              <a:ext cx="99210" cy="123378"/>
            </a:xfrm>
            <a:custGeom>
              <a:avLst/>
              <a:gdLst>
                <a:gd name="T0" fmla="*/ 2147483647 w 197"/>
                <a:gd name="T1" fmla="*/ 2147483647 h 245"/>
                <a:gd name="T2" fmla="*/ 2147483647 w 197"/>
                <a:gd name="T3" fmla="*/ 2147483647 h 245"/>
                <a:gd name="T4" fmla="*/ 2147483647 w 197"/>
                <a:gd name="T5" fmla="*/ 2147483647 h 245"/>
                <a:gd name="T6" fmla="*/ 2147483647 w 197"/>
                <a:gd name="T7" fmla="*/ 2147483647 h 245"/>
                <a:gd name="T8" fmla="*/ 2147483647 w 197"/>
                <a:gd name="T9" fmla="*/ 2147483647 h 245"/>
                <a:gd name="T10" fmla="*/ 2147483647 w 197"/>
                <a:gd name="T11" fmla="*/ 2147483647 h 245"/>
                <a:gd name="T12" fmla="*/ 2147483647 w 197"/>
                <a:gd name="T13" fmla="*/ 2147483647 h 245"/>
                <a:gd name="T14" fmla="*/ 2147483647 w 197"/>
                <a:gd name="T15" fmla="*/ 2147483647 h 245"/>
                <a:gd name="T16" fmla="*/ 2147483647 w 197"/>
                <a:gd name="T17" fmla="*/ 2147483647 h 245"/>
                <a:gd name="T18" fmla="*/ 2147483647 w 197"/>
                <a:gd name="T19" fmla="*/ 2147483647 h 245"/>
                <a:gd name="T20" fmla="*/ 2147483647 w 197"/>
                <a:gd name="T21" fmla="*/ 2147483647 h 245"/>
                <a:gd name="T22" fmla="*/ 2147483647 w 197"/>
                <a:gd name="T23" fmla="*/ 0 h 245"/>
                <a:gd name="T24" fmla="*/ 2147483647 w 197"/>
                <a:gd name="T25" fmla="*/ 2147483647 h 245"/>
                <a:gd name="T26" fmla="*/ 2147483647 w 197"/>
                <a:gd name="T27" fmla="*/ 2147483647 h 245"/>
                <a:gd name="T28" fmla="*/ 2147483647 w 197"/>
                <a:gd name="T29" fmla="*/ 2147483647 h 245"/>
                <a:gd name="T30" fmla="*/ 2147483647 w 197"/>
                <a:gd name="T31" fmla="*/ 2147483647 h 245"/>
                <a:gd name="T32" fmla="*/ 2147483647 w 197"/>
                <a:gd name="T33" fmla="*/ 2147483647 h 245"/>
                <a:gd name="T34" fmla="*/ 2147483647 w 197"/>
                <a:gd name="T35" fmla="*/ 2147483647 h 245"/>
                <a:gd name="T36" fmla="*/ 2147483647 w 197"/>
                <a:gd name="T37" fmla="*/ 2147483647 h 245"/>
                <a:gd name="T38" fmla="*/ 2147483647 w 197"/>
                <a:gd name="T39" fmla="*/ 2147483647 h 245"/>
                <a:gd name="T40" fmla="*/ 2147483647 w 197"/>
                <a:gd name="T41" fmla="*/ 2147483647 h 245"/>
                <a:gd name="T42" fmla="*/ 2147483647 w 197"/>
                <a:gd name="T43" fmla="*/ 2147483647 h 245"/>
                <a:gd name="T44" fmla="*/ 2147483647 w 197"/>
                <a:gd name="T45" fmla="*/ 2147483647 h 245"/>
                <a:gd name="T46" fmla="*/ 2147483647 w 197"/>
                <a:gd name="T47" fmla="*/ 2147483647 h 245"/>
                <a:gd name="T48" fmla="*/ 2147483647 w 197"/>
                <a:gd name="T49" fmla="*/ 2147483647 h 245"/>
                <a:gd name="T50" fmla="*/ 0 w 197"/>
                <a:gd name="T51" fmla="*/ 2147483647 h 245"/>
                <a:gd name="T52" fmla="*/ 0 w 197"/>
                <a:gd name="T53" fmla="*/ 2147483647 h 245"/>
                <a:gd name="T54" fmla="*/ 2147483647 w 197"/>
                <a:gd name="T55" fmla="*/ 2147483647 h 245"/>
                <a:gd name="T56" fmla="*/ 2147483647 w 197"/>
                <a:gd name="T57" fmla="*/ 2147483647 h 245"/>
                <a:gd name="T58" fmla="*/ 2147483647 w 197"/>
                <a:gd name="T59" fmla="*/ 2147483647 h 245"/>
                <a:gd name="T60" fmla="*/ 2147483647 w 197"/>
                <a:gd name="T61" fmla="*/ 2147483647 h 245"/>
                <a:gd name="T62" fmla="*/ 2147483647 w 197"/>
                <a:gd name="T63" fmla="*/ 2147483647 h 245"/>
                <a:gd name="T64" fmla="*/ 2147483647 w 197"/>
                <a:gd name="T65" fmla="*/ 2147483647 h 245"/>
                <a:gd name="T66" fmla="*/ 2147483647 w 197"/>
                <a:gd name="T67" fmla="*/ 2147483647 h 245"/>
                <a:gd name="T68" fmla="*/ 2147483647 w 197"/>
                <a:gd name="T69" fmla="*/ 2147483647 h 245"/>
                <a:gd name="T70" fmla="*/ 2147483647 w 197"/>
                <a:gd name="T71" fmla="*/ 2147483647 h 245"/>
                <a:gd name="T72" fmla="*/ 2147483647 w 197"/>
                <a:gd name="T73" fmla="*/ 2147483647 h 245"/>
                <a:gd name="T74" fmla="*/ 2147483647 w 197"/>
                <a:gd name="T75" fmla="*/ 2147483647 h 245"/>
                <a:gd name="T76" fmla="*/ 2147483647 w 197"/>
                <a:gd name="T77" fmla="*/ 2147483647 h 24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7"/>
                <a:gd name="T118" fmla="*/ 0 h 245"/>
                <a:gd name="T119" fmla="*/ 197 w 197"/>
                <a:gd name="T120" fmla="*/ 245 h 24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7" h="245">
                  <a:moveTo>
                    <a:pt x="161" y="170"/>
                  </a:moveTo>
                  <a:lnTo>
                    <a:pt x="165" y="144"/>
                  </a:lnTo>
                  <a:lnTo>
                    <a:pt x="171" y="117"/>
                  </a:lnTo>
                  <a:lnTo>
                    <a:pt x="176" y="92"/>
                  </a:lnTo>
                  <a:lnTo>
                    <a:pt x="181" y="69"/>
                  </a:lnTo>
                  <a:lnTo>
                    <a:pt x="192" y="35"/>
                  </a:lnTo>
                  <a:lnTo>
                    <a:pt x="196" y="21"/>
                  </a:lnTo>
                  <a:lnTo>
                    <a:pt x="197" y="14"/>
                  </a:lnTo>
                  <a:lnTo>
                    <a:pt x="196" y="8"/>
                  </a:lnTo>
                  <a:lnTo>
                    <a:pt x="193" y="4"/>
                  </a:lnTo>
                  <a:lnTo>
                    <a:pt x="189" y="2"/>
                  </a:lnTo>
                  <a:lnTo>
                    <a:pt x="182" y="0"/>
                  </a:lnTo>
                  <a:lnTo>
                    <a:pt x="176" y="3"/>
                  </a:lnTo>
                  <a:lnTo>
                    <a:pt x="169" y="8"/>
                  </a:lnTo>
                  <a:lnTo>
                    <a:pt x="160" y="18"/>
                  </a:lnTo>
                  <a:lnTo>
                    <a:pt x="150" y="31"/>
                  </a:lnTo>
                  <a:lnTo>
                    <a:pt x="136" y="50"/>
                  </a:lnTo>
                  <a:lnTo>
                    <a:pt x="119" y="75"/>
                  </a:lnTo>
                  <a:lnTo>
                    <a:pt x="105" y="94"/>
                  </a:lnTo>
                  <a:lnTo>
                    <a:pt x="87" y="113"/>
                  </a:lnTo>
                  <a:lnTo>
                    <a:pt x="66" y="133"/>
                  </a:lnTo>
                  <a:lnTo>
                    <a:pt x="42" y="152"/>
                  </a:lnTo>
                  <a:lnTo>
                    <a:pt x="23" y="165"/>
                  </a:lnTo>
                  <a:lnTo>
                    <a:pt x="10" y="174"/>
                  </a:lnTo>
                  <a:lnTo>
                    <a:pt x="2" y="180"/>
                  </a:lnTo>
                  <a:lnTo>
                    <a:pt x="0" y="184"/>
                  </a:lnTo>
                  <a:lnTo>
                    <a:pt x="0" y="187"/>
                  </a:lnTo>
                  <a:lnTo>
                    <a:pt x="5" y="188"/>
                  </a:lnTo>
                  <a:lnTo>
                    <a:pt x="13" y="190"/>
                  </a:lnTo>
                  <a:lnTo>
                    <a:pt x="27" y="195"/>
                  </a:lnTo>
                  <a:lnTo>
                    <a:pt x="39" y="204"/>
                  </a:lnTo>
                  <a:lnTo>
                    <a:pt x="50" y="219"/>
                  </a:lnTo>
                  <a:lnTo>
                    <a:pt x="58" y="230"/>
                  </a:lnTo>
                  <a:lnTo>
                    <a:pt x="66" y="237"/>
                  </a:lnTo>
                  <a:lnTo>
                    <a:pt x="75" y="241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51" y="245"/>
                  </a:lnTo>
                  <a:lnTo>
                    <a:pt x="161" y="170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27" name="Freeform 11"/>
            <p:cNvSpPr>
              <a:spLocks/>
            </p:cNvSpPr>
            <p:nvPr/>
          </p:nvSpPr>
          <p:spPr bwMode="auto">
            <a:xfrm>
              <a:off x="7373443" y="3661901"/>
              <a:ext cx="99210" cy="123378"/>
            </a:xfrm>
            <a:custGeom>
              <a:avLst/>
              <a:gdLst>
                <a:gd name="T0" fmla="*/ 2147483647 w 197"/>
                <a:gd name="T1" fmla="*/ 2147483647 h 245"/>
                <a:gd name="T2" fmla="*/ 2147483647 w 197"/>
                <a:gd name="T3" fmla="*/ 2147483647 h 245"/>
                <a:gd name="T4" fmla="*/ 2147483647 w 197"/>
                <a:gd name="T5" fmla="*/ 2147483647 h 245"/>
                <a:gd name="T6" fmla="*/ 2147483647 w 197"/>
                <a:gd name="T7" fmla="*/ 2147483647 h 245"/>
                <a:gd name="T8" fmla="*/ 2147483647 w 197"/>
                <a:gd name="T9" fmla="*/ 2147483647 h 245"/>
                <a:gd name="T10" fmla="*/ 2147483647 w 197"/>
                <a:gd name="T11" fmla="*/ 2147483647 h 245"/>
                <a:gd name="T12" fmla="*/ 2147483647 w 197"/>
                <a:gd name="T13" fmla="*/ 2147483647 h 245"/>
                <a:gd name="T14" fmla="*/ 2147483647 w 197"/>
                <a:gd name="T15" fmla="*/ 2147483647 h 245"/>
                <a:gd name="T16" fmla="*/ 2147483647 w 197"/>
                <a:gd name="T17" fmla="*/ 2147483647 h 245"/>
                <a:gd name="T18" fmla="*/ 2147483647 w 197"/>
                <a:gd name="T19" fmla="*/ 2147483647 h 245"/>
                <a:gd name="T20" fmla="*/ 2147483647 w 197"/>
                <a:gd name="T21" fmla="*/ 2147483647 h 245"/>
                <a:gd name="T22" fmla="*/ 2147483647 w 197"/>
                <a:gd name="T23" fmla="*/ 2147483647 h 245"/>
                <a:gd name="T24" fmla="*/ 2147483647 w 197"/>
                <a:gd name="T25" fmla="*/ 2147483647 h 245"/>
                <a:gd name="T26" fmla="*/ 2147483647 w 197"/>
                <a:gd name="T27" fmla="*/ 2147483647 h 245"/>
                <a:gd name="T28" fmla="*/ 2147483647 w 197"/>
                <a:gd name="T29" fmla="*/ 2147483647 h 245"/>
                <a:gd name="T30" fmla="*/ 2147483647 w 197"/>
                <a:gd name="T31" fmla="*/ 2147483647 h 245"/>
                <a:gd name="T32" fmla="*/ 2147483647 w 197"/>
                <a:gd name="T33" fmla="*/ 2147483647 h 245"/>
                <a:gd name="T34" fmla="*/ 2147483647 w 197"/>
                <a:gd name="T35" fmla="*/ 2147483647 h 245"/>
                <a:gd name="T36" fmla="*/ 2147483647 w 197"/>
                <a:gd name="T37" fmla="*/ 2147483647 h 245"/>
                <a:gd name="T38" fmla="*/ 2147483647 w 197"/>
                <a:gd name="T39" fmla="*/ 2147483647 h 245"/>
                <a:gd name="T40" fmla="*/ 2147483647 w 197"/>
                <a:gd name="T41" fmla="*/ 0 h 245"/>
                <a:gd name="T42" fmla="*/ 2147483647 w 197"/>
                <a:gd name="T43" fmla="*/ 2147483647 h 245"/>
                <a:gd name="T44" fmla="*/ 2147483647 w 197"/>
                <a:gd name="T45" fmla="*/ 2147483647 h 245"/>
                <a:gd name="T46" fmla="*/ 2147483647 w 197"/>
                <a:gd name="T47" fmla="*/ 2147483647 h 245"/>
                <a:gd name="T48" fmla="*/ 0 w 197"/>
                <a:gd name="T49" fmla="*/ 2147483647 h 245"/>
                <a:gd name="T50" fmla="*/ 2147483647 w 197"/>
                <a:gd name="T51" fmla="*/ 2147483647 h 245"/>
                <a:gd name="T52" fmla="*/ 2147483647 w 197"/>
                <a:gd name="T53" fmla="*/ 2147483647 h 245"/>
                <a:gd name="T54" fmla="*/ 2147483647 w 197"/>
                <a:gd name="T55" fmla="*/ 2147483647 h 245"/>
                <a:gd name="T56" fmla="*/ 2147483647 w 197"/>
                <a:gd name="T57" fmla="*/ 2147483647 h 245"/>
                <a:gd name="T58" fmla="*/ 2147483647 w 197"/>
                <a:gd name="T59" fmla="*/ 2147483647 h 245"/>
                <a:gd name="T60" fmla="*/ 2147483647 w 197"/>
                <a:gd name="T61" fmla="*/ 2147483647 h 245"/>
                <a:gd name="T62" fmla="*/ 2147483647 w 197"/>
                <a:gd name="T63" fmla="*/ 2147483647 h 245"/>
                <a:gd name="T64" fmla="*/ 2147483647 w 197"/>
                <a:gd name="T65" fmla="*/ 2147483647 h 245"/>
                <a:gd name="T66" fmla="*/ 2147483647 w 197"/>
                <a:gd name="T67" fmla="*/ 2147483647 h 245"/>
                <a:gd name="T68" fmla="*/ 2147483647 w 197"/>
                <a:gd name="T69" fmla="*/ 2147483647 h 245"/>
                <a:gd name="T70" fmla="*/ 2147483647 w 197"/>
                <a:gd name="T71" fmla="*/ 2147483647 h 245"/>
                <a:gd name="T72" fmla="*/ 2147483647 w 197"/>
                <a:gd name="T73" fmla="*/ 2147483647 h 245"/>
                <a:gd name="T74" fmla="*/ 2147483647 w 197"/>
                <a:gd name="T75" fmla="*/ 2147483647 h 245"/>
                <a:gd name="T76" fmla="*/ 2147483647 w 197"/>
                <a:gd name="T77" fmla="*/ 2147483647 h 24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7"/>
                <a:gd name="T118" fmla="*/ 0 h 245"/>
                <a:gd name="T119" fmla="*/ 197 w 197"/>
                <a:gd name="T120" fmla="*/ 245 h 24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7" h="245">
                  <a:moveTo>
                    <a:pt x="147" y="217"/>
                  </a:moveTo>
                  <a:lnTo>
                    <a:pt x="158" y="204"/>
                  </a:lnTo>
                  <a:lnTo>
                    <a:pt x="170" y="195"/>
                  </a:lnTo>
                  <a:lnTo>
                    <a:pt x="184" y="190"/>
                  </a:lnTo>
                  <a:lnTo>
                    <a:pt x="192" y="188"/>
                  </a:lnTo>
                  <a:lnTo>
                    <a:pt x="197" y="187"/>
                  </a:lnTo>
                  <a:lnTo>
                    <a:pt x="197" y="184"/>
                  </a:lnTo>
                  <a:lnTo>
                    <a:pt x="195" y="180"/>
                  </a:lnTo>
                  <a:lnTo>
                    <a:pt x="187" y="174"/>
                  </a:lnTo>
                  <a:lnTo>
                    <a:pt x="174" y="165"/>
                  </a:lnTo>
                  <a:lnTo>
                    <a:pt x="155" y="152"/>
                  </a:lnTo>
                  <a:lnTo>
                    <a:pt x="131" y="133"/>
                  </a:lnTo>
                  <a:lnTo>
                    <a:pt x="110" y="113"/>
                  </a:lnTo>
                  <a:lnTo>
                    <a:pt x="91" y="94"/>
                  </a:lnTo>
                  <a:lnTo>
                    <a:pt x="78" y="75"/>
                  </a:lnTo>
                  <a:lnTo>
                    <a:pt x="61" y="50"/>
                  </a:lnTo>
                  <a:lnTo>
                    <a:pt x="47" y="31"/>
                  </a:lnTo>
                  <a:lnTo>
                    <a:pt x="37" y="18"/>
                  </a:lnTo>
                  <a:lnTo>
                    <a:pt x="28" y="8"/>
                  </a:lnTo>
                  <a:lnTo>
                    <a:pt x="21" y="3"/>
                  </a:lnTo>
                  <a:lnTo>
                    <a:pt x="15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4"/>
                  </a:lnTo>
                  <a:lnTo>
                    <a:pt x="1" y="21"/>
                  </a:lnTo>
                  <a:lnTo>
                    <a:pt x="5" y="35"/>
                  </a:lnTo>
                  <a:lnTo>
                    <a:pt x="16" y="69"/>
                  </a:lnTo>
                  <a:lnTo>
                    <a:pt x="21" y="92"/>
                  </a:lnTo>
                  <a:lnTo>
                    <a:pt x="26" y="117"/>
                  </a:lnTo>
                  <a:lnTo>
                    <a:pt x="32" y="144"/>
                  </a:lnTo>
                  <a:lnTo>
                    <a:pt x="36" y="170"/>
                  </a:lnTo>
                  <a:lnTo>
                    <a:pt x="46" y="245"/>
                  </a:lnTo>
                  <a:lnTo>
                    <a:pt x="89" y="244"/>
                  </a:lnTo>
                  <a:lnTo>
                    <a:pt x="109" y="242"/>
                  </a:lnTo>
                  <a:lnTo>
                    <a:pt x="122" y="240"/>
                  </a:lnTo>
                  <a:lnTo>
                    <a:pt x="133" y="236"/>
                  </a:lnTo>
                  <a:lnTo>
                    <a:pt x="139" y="229"/>
                  </a:lnTo>
                  <a:lnTo>
                    <a:pt x="147" y="217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28" name="Freeform 12"/>
            <p:cNvSpPr>
              <a:spLocks/>
            </p:cNvSpPr>
            <p:nvPr/>
          </p:nvSpPr>
          <p:spPr bwMode="auto">
            <a:xfrm>
              <a:off x="6424153" y="3676002"/>
              <a:ext cx="84605" cy="75537"/>
            </a:xfrm>
            <a:custGeom>
              <a:avLst/>
              <a:gdLst>
                <a:gd name="T0" fmla="*/ 2147483647 w 168"/>
                <a:gd name="T1" fmla="*/ 2147483647 h 150"/>
                <a:gd name="T2" fmla="*/ 2147483647 w 168"/>
                <a:gd name="T3" fmla="*/ 2147483647 h 150"/>
                <a:gd name="T4" fmla="*/ 2147483647 w 168"/>
                <a:gd name="T5" fmla="*/ 2147483647 h 150"/>
                <a:gd name="T6" fmla="*/ 2147483647 w 168"/>
                <a:gd name="T7" fmla="*/ 2147483647 h 150"/>
                <a:gd name="T8" fmla="*/ 2147483647 w 168"/>
                <a:gd name="T9" fmla="*/ 2147483647 h 150"/>
                <a:gd name="T10" fmla="*/ 2147483647 w 168"/>
                <a:gd name="T11" fmla="*/ 2147483647 h 150"/>
                <a:gd name="T12" fmla="*/ 2147483647 w 168"/>
                <a:gd name="T13" fmla="*/ 2147483647 h 150"/>
                <a:gd name="T14" fmla="*/ 2147483647 w 168"/>
                <a:gd name="T15" fmla="*/ 2147483647 h 150"/>
                <a:gd name="T16" fmla="*/ 2147483647 w 168"/>
                <a:gd name="T17" fmla="*/ 0 h 150"/>
                <a:gd name="T18" fmla="*/ 2147483647 w 168"/>
                <a:gd name="T19" fmla="*/ 2147483647 h 150"/>
                <a:gd name="T20" fmla="*/ 2147483647 w 168"/>
                <a:gd name="T21" fmla="*/ 2147483647 h 150"/>
                <a:gd name="T22" fmla="*/ 2147483647 w 168"/>
                <a:gd name="T23" fmla="*/ 2147483647 h 150"/>
                <a:gd name="T24" fmla="*/ 2147483647 w 168"/>
                <a:gd name="T25" fmla="*/ 2147483647 h 150"/>
                <a:gd name="T26" fmla="*/ 2147483647 w 168"/>
                <a:gd name="T27" fmla="*/ 2147483647 h 150"/>
                <a:gd name="T28" fmla="*/ 2147483647 w 168"/>
                <a:gd name="T29" fmla="*/ 2147483647 h 150"/>
                <a:gd name="T30" fmla="*/ 2147483647 w 168"/>
                <a:gd name="T31" fmla="*/ 2147483647 h 150"/>
                <a:gd name="T32" fmla="*/ 2147483647 w 168"/>
                <a:gd name="T33" fmla="*/ 2147483647 h 150"/>
                <a:gd name="T34" fmla="*/ 2147483647 w 168"/>
                <a:gd name="T35" fmla="*/ 2147483647 h 150"/>
                <a:gd name="T36" fmla="*/ 0 w 168"/>
                <a:gd name="T37" fmla="*/ 2147483647 h 150"/>
                <a:gd name="T38" fmla="*/ 0 w 168"/>
                <a:gd name="T39" fmla="*/ 2147483647 h 150"/>
                <a:gd name="T40" fmla="*/ 2147483647 w 168"/>
                <a:gd name="T41" fmla="*/ 2147483647 h 150"/>
                <a:gd name="T42" fmla="*/ 2147483647 w 168"/>
                <a:gd name="T43" fmla="*/ 2147483647 h 150"/>
                <a:gd name="T44" fmla="*/ 2147483647 w 168"/>
                <a:gd name="T45" fmla="*/ 2147483647 h 150"/>
                <a:gd name="T46" fmla="*/ 2147483647 w 168"/>
                <a:gd name="T47" fmla="*/ 2147483647 h 150"/>
                <a:gd name="T48" fmla="*/ 2147483647 w 168"/>
                <a:gd name="T49" fmla="*/ 2147483647 h 150"/>
                <a:gd name="T50" fmla="*/ 2147483647 w 168"/>
                <a:gd name="T51" fmla="*/ 2147483647 h 150"/>
                <a:gd name="T52" fmla="*/ 2147483647 w 168"/>
                <a:gd name="T53" fmla="*/ 2147483647 h 150"/>
                <a:gd name="T54" fmla="*/ 2147483647 w 168"/>
                <a:gd name="T55" fmla="*/ 2147483647 h 150"/>
                <a:gd name="T56" fmla="*/ 2147483647 w 168"/>
                <a:gd name="T57" fmla="*/ 2147483647 h 150"/>
                <a:gd name="T58" fmla="*/ 2147483647 w 168"/>
                <a:gd name="T59" fmla="*/ 2147483647 h 15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68"/>
                <a:gd name="T91" fmla="*/ 0 h 150"/>
                <a:gd name="T92" fmla="*/ 168 w 168"/>
                <a:gd name="T93" fmla="*/ 150 h 15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68" h="150">
                  <a:moveTo>
                    <a:pt x="114" y="78"/>
                  </a:moveTo>
                  <a:lnTo>
                    <a:pt x="127" y="63"/>
                  </a:lnTo>
                  <a:lnTo>
                    <a:pt x="141" y="46"/>
                  </a:lnTo>
                  <a:lnTo>
                    <a:pt x="152" y="30"/>
                  </a:lnTo>
                  <a:lnTo>
                    <a:pt x="168" y="4"/>
                  </a:lnTo>
                  <a:lnTo>
                    <a:pt x="128" y="3"/>
                  </a:lnTo>
                  <a:lnTo>
                    <a:pt x="111" y="1"/>
                  </a:lnTo>
                  <a:lnTo>
                    <a:pt x="85" y="1"/>
                  </a:lnTo>
                  <a:lnTo>
                    <a:pt x="78" y="0"/>
                  </a:lnTo>
                  <a:lnTo>
                    <a:pt x="73" y="3"/>
                  </a:lnTo>
                  <a:lnTo>
                    <a:pt x="71" y="12"/>
                  </a:lnTo>
                  <a:lnTo>
                    <a:pt x="71" y="26"/>
                  </a:lnTo>
                  <a:lnTo>
                    <a:pt x="69" y="50"/>
                  </a:lnTo>
                  <a:lnTo>
                    <a:pt x="60" y="71"/>
                  </a:lnTo>
                  <a:lnTo>
                    <a:pt x="46" y="89"/>
                  </a:lnTo>
                  <a:lnTo>
                    <a:pt x="25" y="104"/>
                  </a:lnTo>
                  <a:lnTo>
                    <a:pt x="13" y="112"/>
                  </a:lnTo>
                  <a:lnTo>
                    <a:pt x="5" y="121"/>
                  </a:lnTo>
                  <a:lnTo>
                    <a:pt x="0" y="131"/>
                  </a:lnTo>
                  <a:lnTo>
                    <a:pt x="0" y="142"/>
                  </a:lnTo>
                  <a:lnTo>
                    <a:pt x="5" y="150"/>
                  </a:lnTo>
                  <a:lnTo>
                    <a:pt x="9" y="150"/>
                  </a:lnTo>
                  <a:lnTo>
                    <a:pt x="17" y="146"/>
                  </a:lnTo>
                  <a:lnTo>
                    <a:pt x="28" y="139"/>
                  </a:lnTo>
                  <a:lnTo>
                    <a:pt x="43" y="131"/>
                  </a:lnTo>
                  <a:lnTo>
                    <a:pt x="57" y="121"/>
                  </a:lnTo>
                  <a:lnTo>
                    <a:pt x="73" y="110"/>
                  </a:lnTo>
                  <a:lnTo>
                    <a:pt x="89" y="99"/>
                  </a:lnTo>
                  <a:lnTo>
                    <a:pt x="102" y="88"/>
                  </a:lnTo>
                  <a:lnTo>
                    <a:pt x="114" y="78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29" name="Freeform 13"/>
            <p:cNvSpPr>
              <a:spLocks/>
            </p:cNvSpPr>
            <p:nvPr/>
          </p:nvSpPr>
          <p:spPr bwMode="auto">
            <a:xfrm>
              <a:off x="7403155" y="3676002"/>
              <a:ext cx="84605" cy="75034"/>
            </a:xfrm>
            <a:custGeom>
              <a:avLst/>
              <a:gdLst>
                <a:gd name="T0" fmla="*/ 2147483647 w 168"/>
                <a:gd name="T1" fmla="*/ 2147483647 h 149"/>
                <a:gd name="T2" fmla="*/ 2147483647 w 168"/>
                <a:gd name="T3" fmla="*/ 2147483647 h 149"/>
                <a:gd name="T4" fmla="*/ 2147483647 w 168"/>
                <a:gd name="T5" fmla="*/ 2147483647 h 149"/>
                <a:gd name="T6" fmla="*/ 2147483647 w 168"/>
                <a:gd name="T7" fmla="*/ 2147483647 h 149"/>
                <a:gd name="T8" fmla="*/ 2147483647 w 168"/>
                <a:gd name="T9" fmla="*/ 2147483647 h 149"/>
                <a:gd name="T10" fmla="*/ 2147483647 w 168"/>
                <a:gd name="T11" fmla="*/ 2147483647 h 149"/>
                <a:gd name="T12" fmla="*/ 2147483647 w 168"/>
                <a:gd name="T13" fmla="*/ 2147483647 h 149"/>
                <a:gd name="T14" fmla="*/ 2147483647 w 168"/>
                <a:gd name="T15" fmla="*/ 2147483647 h 149"/>
                <a:gd name="T16" fmla="*/ 2147483647 w 168"/>
                <a:gd name="T17" fmla="*/ 2147483647 h 149"/>
                <a:gd name="T18" fmla="*/ 2147483647 w 168"/>
                <a:gd name="T19" fmla="*/ 2147483647 h 149"/>
                <a:gd name="T20" fmla="*/ 2147483647 w 168"/>
                <a:gd name="T21" fmla="*/ 0 h 149"/>
                <a:gd name="T22" fmla="*/ 2147483647 w 168"/>
                <a:gd name="T23" fmla="*/ 2147483647 h 149"/>
                <a:gd name="T24" fmla="*/ 2147483647 w 168"/>
                <a:gd name="T25" fmla="*/ 2147483647 h 149"/>
                <a:gd name="T26" fmla="*/ 2147483647 w 168"/>
                <a:gd name="T27" fmla="*/ 2147483647 h 149"/>
                <a:gd name="T28" fmla="*/ 0 w 168"/>
                <a:gd name="T29" fmla="*/ 2147483647 h 149"/>
                <a:gd name="T30" fmla="*/ 2147483647 w 168"/>
                <a:gd name="T31" fmla="*/ 2147483647 h 149"/>
                <a:gd name="T32" fmla="*/ 2147483647 w 168"/>
                <a:gd name="T33" fmla="*/ 2147483647 h 149"/>
                <a:gd name="T34" fmla="*/ 2147483647 w 168"/>
                <a:gd name="T35" fmla="*/ 2147483647 h 149"/>
                <a:gd name="T36" fmla="*/ 2147483647 w 168"/>
                <a:gd name="T37" fmla="*/ 2147483647 h 149"/>
                <a:gd name="T38" fmla="*/ 2147483647 w 168"/>
                <a:gd name="T39" fmla="*/ 2147483647 h 149"/>
                <a:gd name="T40" fmla="*/ 2147483647 w 168"/>
                <a:gd name="T41" fmla="*/ 2147483647 h 149"/>
                <a:gd name="T42" fmla="*/ 2147483647 w 168"/>
                <a:gd name="T43" fmla="*/ 2147483647 h 149"/>
                <a:gd name="T44" fmla="*/ 2147483647 w 168"/>
                <a:gd name="T45" fmla="*/ 2147483647 h 149"/>
                <a:gd name="T46" fmla="*/ 2147483647 w 168"/>
                <a:gd name="T47" fmla="*/ 2147483647 h 149"/>
                <a:gd name="T48" fmla="*/ 2147483647 w 168"/>
                <a:gd name="T49" fmla="*/ 2147483647 h 149"/>
                <a:gd name="T50" fmla="*/ 2147483647 w 168"/>
                <a:gd name="T51" fmla="*/ 2147483647 h 149"/>
                <a:gd name="T52" fmla="*/ 2147483647 w 168"/>
                <a:gd name="T53" fmla="*/ 2147483647 h 14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8"/>
                <a:gd name="T82" fmla="*/ 0 h 149"/>
                <a:gd name="T83" fmla="*/ 168 w 168"/>
                <a:gd name="T84" fmla="*/ 149 h 14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8" h="149">
                  <a:moveTo>
                    <a:pt x="168" y="131"/>
                  </a:moveTo>
                  <a:lnTo>
                    <a:pt x="166" y="122"/>
                  </a:lnTo>
                  <a:lnTo>
                    <a:pt x="157" y="112"/>
                  </a:lnTo>
                  <a:lnTo>
                    <a:pt x="143" y="104"/>
                  </a:lnTo>
                  <a:lnTo>
                    <a:pt x="122" y="89"/>
                  </a:lnTo>
                  <a:lnTo>
                    <a:pt x="108" y="71"/>
                  </a:lnTo>
                  <a:lnTo>
                    <a:pt x="99" y="50"/>
                  </a:lnTo>
                  <a:lnTo>
                    <a:pt x="97" y="26"/>
                  </a:lnTo>
                  <a:lnTo>
                    <a:pt x="97" y="12"/>
                  </a:lnTo>
                  <a:lnTo>
                    <a:pt x="95" y="3"/>
                  </a:lnTo>
                  <a:lnTo>
                    <a:pt x="90" y="0"/>
                  </a:lnTo>
                  <a:lnTo>
                    <a:pt x="83" y="1"/>
                  </a:lnTo>
                  <a:lnTo>
                    <a:pt x="57" y="1"/>
                  </a:lnTo>
                  <a:lnTo>
                    <a:pt x="40" y="3"/>
                  </a:lnTo>
                  <a:lnTo>
                    <a:pt x="0" y="4"/>
                  </a:lnTo>
                  <a:lnTo>
                    <a:pt x="16" y="30"/>
                  </a:lnTo>
                  <a:lnTo>
                    <a:pt x="29" y="50"/>
                  </a:lnTo>
                  <a:lnTo>
                    <a:pt x="45" y="68"/>
                  </a:lnTo>
                  <a:lnTo>
                    <a:pt x="65" y="87"/>
                  </a:lnTo>
                  <a:lnTo>
                    <a:pt x="88" y="105"/>
                  </a:lnTo>
                  <a:lnTo>
                    <a:pt x="116" y="126"/>
                  </a:lnTo>
                  <a:lnTo>
                    <a:pt x="134" y="138"/>
                  </a:lnTo>
                  <a:lnTo>
                    <a:pt x="149" y="146"/>
                  </a:lnTo>
                  <a:lnTo>
                    <a:pt x="158" y="149"/>
                  </a:lnTo>
                  <a:lnTo>
                    <a:pt x="164" y="147"/>
                  </a:lnTo>
                  <a:lnTo>
                    <a:pt x="167" y="142"/>
                  </a:lnTo>
                  <a:lnTo>
                    <a:pt x="168" y="131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0" name="Freeform 20"/>
            <p:cNvSpPr>
              <a:spLocks/>
            </p:cNvSpPr>
            <p:nvPr/>
          </p:nvSpPr>
          <p:spPr bwMode="auto">
            <a:xfrm>
              <a:off x="6367750" y="3550106"/>
              <a:ext cx="63958" cy="37769"/>
            </a:xfrm>
            <a:custGeom>
              <a:avLst/>
              <a:gdLst>
                <a:gd name="T0" fmla="*/ 2147483647 w 127"/>
                <a:gd name="T1" fmla="*/ 2147483647 h 75"/>
                <a:gd name="T2" fmla="*/ 2147483647 w 127"/>
                <a:gd name="T3" fmla="*/ 2147483647 h 75"/>
                <a:gd name="T4" fmla="*/ 2147483647 w 127"/>
                <a:gd name="T5" fmla="*/ 2147483647 h 75"/>
                <a:gd name="T6" fmla="*/ 2147483647 w 127"/>
                <a:gd name="T7" fmla="*/ 2147483647 h 75"/>
                <a:gd name="T8" fmla="*/ 2147483647 w 127"/>
                <a:gd name="T9" fmla="*/ 2147483647 h 75"/>
                <a:gd name="T10" fmla="*/ 2147483647 w 127"/>
                <a:gd name="T11" fmla="*/ 2147483647 h 75"/>
                <a:gd name="T12" fmla="*/ 2147483647 w 127"/>
                <a:gd name="T13" fmla="*/ 2147483647 h 75"/>
                <a:gd name="T14" fmla="*/ 2147483647 w 127"/>
                <a:gd name="T15" fmla="*/ 2147483647 h 75"/>
                <a:gd name="T16" fmla="*/ 2147483647 w 127"/>
                <a:gd name="T17" fmla="*/ 2147483647 h 75"/>
                <a:gd name="T18" fmla="*/ 2147483647 w 127"/>
                <a:gd name="T19" fmla="*/ 2147483647 h 75"/>
                <a:gd name="T20" fmla="*/ 2147483647 w 127"/>
                <a:gd name="T21" fmla="*/ 2147483647 h 75"/>
                <a:gd name="T22" fmla="*/ 2147483647 w 127"/>
                <a:gd name="T23" fmla="*/ 2147483647 h 75"/>
                <a:gd name="T24" fmla="*/ 2147483647 w 127"/>
                <a:gd name="T25" fmla="*/ 2147483647 h 75"/>
                <a:gd name="T26" fmla="*/ 2147483647 w 127"/>
                <a:gd name="T27" fmla="*/ 0 h 75"/>
                <a:gd name="T28" fmla="*/ 2147483647 w 127"/>
                <a:gd name="T29" fmla="*/ 0 h 75"/>
                <a:gd name="T30" fmla="*/ 2147483647 w 127"/>
                <a:gd name="T31" fmla="*/ 2147483647 h 75"/>
                <a:gd name="T32" fmla="*/ 2147483647 w 127"/>
                <a:gd name="T33" fmla="*/ 2147483647 h 75"/>
                <a:gd name="T34" fmla="*/ 2147483647 w 127"/>
                <a:gd name="T35" fmla="*/ 2147483647 h 75"/>
                <a:gd name="T36" fmla="*/ 2147483647 w 127"/>
                <a:gd name="T37" fmla="*/ 2147483647 h 75"/>
                <a:gd name="T38" fmla="*/ 2147483647 w 127"/>
                <a:gd name="T39" fmla="*/ 2147483647 h 75"/>
                <a:gd name="T40" fmla="*/ 2147483647 w 127"/>
                <a:gd name="T41" fmla="*/ 2147483647 h 75"/>
                <a:gd name="T42" fmla="*/ 2147483647 w 127"/>
                <a:gd name="T43" fmla="*/ 2147483647 h 75"/>
                <a:gd name="T44" fmla="*/ 2147483647 w 127"/>
                <a:gd name="T45" fmla="*/ 2147483647 h 75"/>
                <a:gd name="T46" fmla="*/ 0 w 127"/>
                <a:gd name="T47" fmla="*/ 2147483647 h 75"/>
                <a:gd name="T48" fmla="*/ 0 w 127"/>
                <a:gd name="T49" fmla="*/ 2147483647 h 75"/>
                <a:gd name="T50" fmla="*/ 2147483647 w 127"/>
                <a:gd name="T51" fmla="*/ 2147483647 h 75"/>
                <a:gd name="T52" fmla="*/ 2147483647 w 127"/>
                <a:gd name="T53" fmla="*/ 2147483647 h 75"/>
                <a:gd name="T54" fmla="*/ 2147483647 w 127"/>
                <a:gd name="T55" fmla="*/ 2147483647 h 75"/>
                <a:gd name="T56" fmla="*/ 2147483647 w 127"/>
                <a:gd name="T57" fmla="*/ 2147483647 h 7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27"/>
                <a:gd name="T88" fmla="*/ 0 h 75"/>
                <a:gd name="T89" fmla="*/ 127 w 127"/>
                <a:gd name="T90" fmla="*/ 75 h 7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27" h="75">
                  <a:moveTo>
                    <a:pt x="80" y="65"/>
                  </a:moveTo>
                  <a:lnTo>
                    <a:pt x="88" y="60"/>
                  </a:lnTo>
                  <a:lnTo>
                    <a:pt x="98" y="56"/>
                  </a:lnTo>
                  <a:lnTo>
                    <a:pt x="109" y="54"/>
                  </a:lnTo>
                  <a:lnTo>
                    <a:pt x="114" y="54"/>
                  </a:lnTo>
                  <a:lnTo>
                    <a:pt x="119" y="53"/>
                  </a:lnTo>
                  <a:lnTo>
                    <a:pt x="122" y="52"/>
                  </a:lnTo>
                  <a:lnTo>
                    <a:pt x="125" y="49"/>
                  </a:lnTo>
                  <a:lnTo>
                    <a:pt x="127" y="41"/>
                  </a:lnTo>
                  <a:lnTo>
                    <a:pt x="127" y="36"/>
                  </a:lnTo>
                  <a:lnTo>
                    <a:pt x="126" y="20"/>
                  </a:lnTo>
                  <a:lnTo>
                    <a:pt x="123" y="10"/>
                  </a:lnTo>
                  <a:lnTo>
                    <a:pt x="117" y="3"/>
                  </a:lnTo>
                  <a:lnTo>
                    <a:pt x="108" y="0"/>
                  </a:lnTo>
                  <a:lnTo>
                    <a:pt x="95" y="0"/>
                  </a:lnTo>
                  <a:lnTo>
                    <a:pt x="77" y="4"/>
                  </a:lnTo>
                  <a:lnTo>
                    <a:pt x="62" y="8"/>
                  </a:lnTo>
                  <a:lnTo>
                    <a:pt x="46" y="11"/>
                  </a:lnTo>
                  <a:lnTo>
                    <a:pt x="31" y="12"/>
                  </a:lnTo>
                  <a:lnTo>
                    <a:pt x="21" y="14"/>
                  </a:lnTo>
                  <a:lnTo>
                    <a:pt x="12" y="14"/>
                  </a:lnTo>
                  <a:lnTo>
                    <a:pt x="5" y="16"/>
                  </a:lnTo>
                  <a:lnTo>
                    <a:pt x="3" y="21"/>
                  </a:lnTo>
                  <a:lnTo>
                    <a:pt x="0" y="31"/>
                  </a:lnTo>
                  <a:lnTo>
                    <a:pt x="0" y="75"/>
                  </a:lnTo>
                  <a:lnTo>
                    <a:pt x="35" y="75"/>
                  </a:lnTo>
                  <a:lnTo>
                    <a:pt x="55" y="74"/>
                  </a:lnTo>
                  <a:lnTo>
                    <a:pt x="71" y="71"/>
                  </a:lnTo>
                  <a:lnTo>
                    <a:pt x="80" y="65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1" name="Freeform 21"/>
            <p:cNvSpPr>
              <a:spLocks/>
            </p:cNvSpPr>
            <p:nvPr/>
          </p:nvSpPr>
          <p:spPr bwMode="auto">
            <a:xfrm>
              <a:off x="7480206" y="3550106"/>
              <a:ext cx="63958" cy="37769"/>
            </a:xfrm>
            <a:custGeom>
              <a:avLst/>
              <a:gdLst>
                <a:gd name="T0" fmla="*/ 2147483647 w 127"/>
                <a:gd name="T1" fmla="*/ 2147483647 h 75"/>
                <a:gd name="T2" fmla="*/ 2147483647 w 127"/>
                <a:gd name="T3" fmla="*/ 2147483647 h 75"/>
                <a:gd name="T4" fmla="*/ 2147483647 w 127"/>
                <a:gd name="T5" fmla="*/ 2147483647 h 75"/>
                <a:gd name="T6" fmla="*/ 2147483647 w 127"/>
                <a:gd name="T7" fmla="*/ 2147483647 h 75"/>
                <a:gd name="T8" fmla="*/ 2147483647 w 127"/>
                <a:gd name="T9" fmla="*/ 2147483647 h 75"/>
                <a:gd name="T10" fmla="*/ 2147483647 w 127"/>
                <a:gd name="T11" fmla="*/ 2147483647 h 75"/>
                <a:gd name="T12" fmla="*/ 2147483647 w 127"/>
                <a:gd name="T13" fmla="*/ 2147483647 h 75"/>
                <a:gd name="T14" fmla="*/ 2147483647 w 127"/>
                <a:gd name="T15" fmla="*/ 2147483647 h 75"/>
                <a:gd name="T16" fmla="*/ 2147483647 w 127"/>
                <a:gd name="T17" fmla="*/ 2147483647 h 75"/>
                <a:gd name="T18" fmla="*/ 2147483647 w 127"/>
                <a:gd name="T19" fmla="*/ 2147483647 h 75"/>
                <a:gd name="T20" fmla="*/ 2147483647 w 127"/>
                <a:gd name="T21" fmla="*/ 0 h 75"/>
                <a:gd name="T22" fmla="*/ 2147483647 w 127"/>
                <a:gd name="T23" fmla="*/ 0 h 75"/>
                <a:gd name="T24" fmla="*/ 2147483647 w 127"/>
                <a:gd name="T25" fmla="*/ 2147483647 h 75"/>
                <a:gd name="T26" fmla="*/ 2147483647 w 127"/>
                <a:gd name="T27" fmla="*/ 2147483647 h 75"/>
                <a:gd name="T28" fmla="*/ 2147483647 w 127"/>
                <a:gd name="T29" fmla="*/ 2147483647 h 75"/>
                <a:gd name="T30" fmla="*/ 0 w 127"/>
                <a:gd name="T31" fmla="*/ 2147483647 h 75"/>
                <a:gd name="T32" fmla="*/ 0 w 127"/>
                <a:gd name="T33" fmla="*/ 2147483647 h 75"/>
                <a:gd name="T34" fmla="*/ 2147483647 w 127"/>
                <a:gd name="T35" fmla="*/ 2147483647 h 75"/>
                <a:gd name="T36" fmla="*/ 2147483647 w 127"/>
                <a:gd name="T37" fmla="*/ 2147483647 h 75"/>
                <a:gd name="T38" fmla="*/ 2147483647 w 127"/>
                <a:gd name="T39" fmla="*/ 2147483647 h 75"/>
                <a:gd name="T40" fmla="*/ 2147483647 w 127"/>
                <a:gd name="T41" fmla="*/ 2147483647 h 75"/>
                <a:gd name="T42" fmla="*/ 2147483647 w 127"/>
                <a:gd name="T43" fmla="*/ 2147483647 h 75"/>
                <a:gd name="T44" fmla="*/ 2147483647 w 127"/>
                <a:gd name="T45" fmla="*/ 2147483647 h 75"/>
                <a:gd name="T46" fmla="*/ 2147483647 w 127"/>
                <a:gd name="T47" fmla="*/ 2147483647 h 75"/>
                <a:gd name="T48" fmla="*/ 2147483647 w 127"/>
                <a:gd name="T49" fmla="*/ 2147483647 h 75"/>
                <a:gd name="T50" fmla="*/ 2147483647 w 127"/>
                <a:gd name="T51" fmla="*/ 2147483647 h 75"/>
                <a:gd name="T52" fmla="*/ 2147483647 w 127"/>
                <a:gd name="T53" fmla="*/ 2147483647 h 75"/>
                <a:gd name="T54" fmla="*/ 2147483647 w 127"/>
                <a:gd name="T55" fmla="*/ 2147483647 h 75"/>
                <a:gd name="T56" fmla="*/ 2147483647 w 127"/>
                <a:gd name="T57" fmla="*/ 2147483647 h 75"/>
                <a:gd name="T58" fmla="*/ 2147483647 w 127"/>
                <a:gd name="T59" fmla="*/ 2147483647 h 7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7"/>
                <a:gd name="T91" fmla="*/ 0 h 75"/>
                <a:gd name="T92" fmla="*/ 127 w 127"/>
                <a:gd name="T93" fmla="*/ 75 h 7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7" h="75">
                  <a:moveTo>
                    <a:pt x="127" y="45"/>
                  </a:moveTo>
                  <a:lnTo>
                    <a:pt x="127" y="31"/>
                  </a:lnTo>
                  <a:lnTo>
                    <a:pt x="124" y="21"/>
                  </a:lnTo>
                  <a:lnTo>
                    <a:pt x="122" y="16"/>
                  </a:lnTo>
                  <a:lnTo>
                    <a:pt x="115" y="14"/>
                  </a:lnTo>
                  <a:lnTo>
                    <a:pt x="106" y="14"/>
                  </a:lnTo>
                  <a:lnTo>
                    <a:pt x="96" y="12"/>
                  </a:lnTo>
                  <a:lnTo>
                    <a:pt x="81" y="11"/>
                  </a:lnTo>
                  <a:lnTo>
                    <a:pt x="65" y="8"/>
                  </a:lnTo>
                  <a:lnTo>
                    <a:pt x="50" y="4"/>
                  </a:lnTo>
                  <a:lnTo>
                    <a:pt x="32" y="0"/>
                  </a:lnTo>
                  <a:lnTo>
                    <a:pt x="19" y="0"/>
                  </a:lnTo>
                  <a:lnTo>
                    <a:pt x="10" y="3"/>
                  </a:lnTo>
                  <a:lnTo>
                    <a:pt x="4" y="10"/>
                  </a:lnTo>
                  <a:lnTo>
                    <a:pt x="1" y="20"/>
                  </a:lnTo>
                  <a:lnTo>
                    <a:pt x="0" y="36"/>
                  </a:lnTo>
                  <a:lnTo>
                    <a:pt x="0" y="41"/>
                  </a:lnTo>
                  <a:lnTo>
                    <a:pt x="2" y="49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3" y="54"/>
                  </a:lnTo>
                  <a:lnTo>
                    <a:pt x="18" y="54"/>
                  </a:lnTo>
                  <a:lnTo>
                    <a:pt x="29" y="56"/>
                  </a:lnTo>
                  <a:lnTo>
                    <a:pt x="39" y="60"/>
                  </a:lnTo>
                  <a:lnTo>
                    <a:pt x="47" y="65"/>
                  </a:lnTo>
                  <a:lnTo>
                    <a:pt x="56" y="71"/>
                  </a:lnTo>
                  <a:lnTo>
                    <a:pt x="72" y="74"/>
                  </a:lnTo>
                  <a:lnTo>
                    <a:pt x="92" y="75"/>
                  </a:lnTo>
                  <a:lnTo>
                    <a:pt x="127" y="75"/>
                  </a:lnTo>
                  <a:lnTo>
                    <a:pt x="127" y="45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2" name="Freeform 22"/>
            <p:cNvSpPr>
              <a:spLocks/>
            </p:cNvSpPr>
            <p:nvPr/>
          </p:nvSpPr>
          <p:spPr bwMode="auto">
            <a:xfrm>
              <a:off x="6359692" y="3510827"/>
              <a:ext cx="63454" cy="41293"/>
            </a:xfrm>
            <a:custGeom>
              <a:avLst/>
              <a:gdLst>
                <a:gd name="T0" fmla="*/ 2147483647 w 126"/>
                <a:gd name="T1" fmla="*/ 2147483647 h 82"/>
                <a:gd name="T2" fmla="*/ 2147483647 w 126"/>
                <a:gd name="T3" fmla="*/ 2147483647 h 82"/>
                <a:gd name="T4" fmla="*/ 2147483647 w 126"/>
                <a:gd name="T5" fmla="*/ 2147483647 h 82"/>
                <a:gd name="T6" fmla="*/ 2147483647 w 126"/>
                <a:gd name="T7" fmla="*/ 2147483647 h 82"/>
                <a:gd name="T8" fmla="*/ 2147483647 w 126"/>
                <a:gd name="T9" fmla="*/ 2147483647 h 82"/>
                <a:gd name="T10" fmla="*/ 2147483647 w 126"/>
                <a:gd name="T11" fmla="*/ 2147483647 h 82"/>
                <a:gd name="T12" fmla="*/ 2147483647 w 126"/>
                <a:gd name="T13" fmla="*/ 2147483647 h 82"/>
                <a:gd name="T14" fmla="*/ 2147483647 w 126"/>
                <a:gd name="T15" fmla="*/ 2147483647 h 82"/>
                <a:gd name="T16" fmla="*/ 2147483647 w 126"/>
                <a:gd name="T17" fmla="*/ 2147483647 h 82"/>
                <a:gd name="T18" fmla="*/ 2147483647 w 126"/>
                <a:gd name="T19" fmla="*/ 2147483647 h 82"/>
                <a:gd name="T20" fmla="*/ 2147483647 w 126"/>
                <a:gd name="T21" fmla="*/ 2147483647 h 82"/>
                <a:gd name="T22" fmla="*/ 2147483647 w 126"/>
                <a:gd name="T23" fmla="*/ 0 h 82"/>
                <a:gd name="T24" fmla="*/ 2147483647 w 126"/>
                <a:gd name="T25" fmla="*/ 2147483647 h 82"/>
                <a:gd name="T26" fmla="*/ 2147483647 w 126"/>
                <a:gd name="T27" fmla="*/ 2147483647 h 82"/>
                <a:gd name="T28" fmla="*/ 2147483647 w 126"/>
                <a:gd name="T29" fmla="*/ 2147483647 h 82"/>
                <a:gd name="T30" fmla="*/ 2147483647 w 126"/>
                <a:gd name="T31" fmla="*/ 2147483647 h 82"/>
                <a:gd name="T32" fmla="*/ 2147483647 w 126"/>
                <a:gd name="T33" fmla="*/ 2147483647 h 82"/>
                <a:gd name="T34" fmla="*/ 2147483647 w 126"/>
                <a:gd name="T35" fmla="*/ 2147483647 h 82"/>
                <a:gd name="T36" fmla="*/ 2147483647 w 126"/>
                <a:gd name="T37" fmla="*/ 2147483647 h 82"/>
                <a:gd name="T38" fmla="*/ 2147483647 w 126"/>
                <a:gd name="T39" fmla="*/ 2147483647 h 82"/>
                <a:gd name="T40" fmla="*/ 2147483647 w 126"/>
                <a:gd name="T41" fmla="*/ 2147483647 h 82"/>
                <a:gd name="T42" fmla="*/ 2147483647 w 126"/>
                <a:gd name="T43" fmla="*/ 2147483647 h 82"/>
                <a:gd name="T44" fmla="*/ 2147483647 w 126"/>
                <a:gd name="T45" fmla="*/ 2147483647 h 82"/>
                <a:gd name="T46" fmla="*/ 2147483647 w 126"/>
                <a:gd name="T47" fmla="*/ 2147483647 h 82"/>
                <a:gd name="T48" fmla="*/ 2147483647 w 126"/>
                <a:gd name="T49" fmla="*/ 2147483647 h 82"/>
                <a:gd name="T50" fmla="*/ 0 w 126"/>
                <a:gd name="T51" fmla="*/ 2147483647 h 82"/>
                <a:gd name="T52" fmla="*/ 2147483647 w 126"/>
                <a:gd name="T53" fmla="*/ 2147483647 h 82"/>
                <a:gd name="T54" fmla="*/ 2147483647 w 126"/>
                <a:gd name="T55" fmla="*/ 2147483647 h 82"/>
                <a:gd name="T56" fmla="*/ 2147483647 w 126"/>
                <a:gd name="T57" fmla="*/ 2147483647 h 82"/>
                <a:gd name="T58" fmla="*/ 2147483647 w 126"/>
                <a:gd name="T59" fmla="*/ 2147483647 h 82"/>
                <a:gd name="T60" fmla="*/ 2147483647 w 126"/>
                <a:gd name="T61" fmla="*/ 2147483647 h 82"/>
                <a:gd name="T62" fmla="*/ 2147483647 w 126"/>
                <a:gd name="T63" fmla="*/ 2147483647 h 82"/>
                <a:gd name="T64" fmla="*/ 2147483647 w 126"/>
                <a:gd name="T65" fmla="*/ 2147483647 h 82"/>
                <a:gd name="T66" fmla="*/ 2147483647 w 126"/>
                <a:gd name="T67" fmla="*/ 2147483647 h 8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6"/>
                <a:gd name="T103" fmla="*/ 0 h 82"/>
                <a:gd name="T104" fmla="*/ 126 w 126"/>
                <a:gd name="T105" fmla="*/ 82 h 8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6" h="82">
                  <a:moveTo>
                    <a:pt x="108" y="68"/>
                  </a:moveTo>
                  <a:lnTo>
                    <a:pt x="120" y="63"/>
                  </a:lnTo>
                  <a:lnTo>
                    <a:pt x="126" y="56"/>
                  </a:lnTo>
                  <a:lnTo>
                    <a:pt x="126" y="49"/>
                  </a:lnTo>
                  <a:lnTo>
                    <a:pt x="121" y="44"/>
                  </a:lnTo>
                  <a:lnTo>
                    <a:pt x="108" y="39"/>
                  </a:lnTo>
                  <a:lnTo>
                    <a:pt x="96" y="34"/>
                  </a:lnTo>
                  <a:lnTo>
                    <a:pt x="86" y="25"/>
                  </a:lnTo>
                  <a:lnTo>
                    <a:pt x="76" y="14"/>
                  </a:lnTo>
                  <a:lnTo>
                    <a:pt x="70" y="5"/>
                  </a:lnTo>
                  <a:lnTo>
                    <a:pt x="65" y="1"/>
                  </a:lnTo>
                  <a:lnTo>
                    <a:pt x="61" y="0"/>
                  </a:lnTo>
                  <a:lnTo>
                    <a:pt x="55" y="2"/>
                  </a:lnTo>
                  <a:lnTo>
                    <a:pt x="49" y="7"/>
                  </a:lnTo>
                  <a:lnTo>
                    <a:pt x="41" y="14"/>
                  </a:lnTo>
                  <a:lnTo>
                    <a:pt x="32" y="18"/>
                  </a:lnTo>
                  <a:lnTo>
                    <a:pt x="25" y="19"/>
                  </a:lnTo>
                  <a:lnTo>
                    <a:pt x="22" y="19"/>
                  </a:lnTo>
                  <a:lnTo>
                    <a:pt x="19" y="23"/>
                  </a:lnTo>
                  <a:lnTo>
                    <a:pt x="19" y="31"/>
                  </a:lnTo>
                  <a:lnTo>
                    <a:pt x="20" y="35"/>
                  </a:lnTo>
                  <a:lnTo>
                    <a:pt x="21" y="43"/>
                  </a:lnTo>
                  <a:lnTo>
                    <a:pt x="19" y="52"/>
                  </a:lnTo>
                  <a:lnTo>
                    <a:pt x="12" y="60"/>
                  </a:lnTo>
                  <a:lnTo>
                    <a:pt x="3" y="69"/>
                  </a:lnTo>
                  <a:lnTo>
                    <a:pt x="0" y="76"/>
                  </a:lnTo>
                  <a:lnTo>
                    <a:pt x="1" y="80"/>
                  </a:lnTo>
                  <a:lnTo>
                    <a:pt x="11" y="82"/>
                  </a:lnTo>
                  <a:lnTo>
                    <a:pt x="24" y="82"/>
                  </a:lnTo>
                  <a:lnTo>
                    <a:pt x="44" y="81"/>
                  </a:lnTo>
                  <a:lnTo>
                    <a:pt x="62" y="78"/>
                  </a:lnTo>
                  <a:lnTo>
                    <a:pt x="80" y="74"/>
                  </a:lnTo>
                  <a:lnTo>
                    <a:pt x="96" y="72"/>
                  </a:lnTo>
                  <a:lnTo>
                    <a:pt x="108" y="68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3" name="Freeform 23"/>
            <p:cNvSpPr>
              <a:spLocks/>
            </p:cNvSpPr>
            <p:nvPr/>
          </p:nvSpPr>
          <p:spPr bwMode="auto">
            <a:xfrm>
              <a:off x="7488768" y="3510827"/>
              <a:ext cx="63454" cy="41293"/>
            </a:xfrm>
            <a:custGeom>
              <a:avLst/>
              <a:gdLst>
                <a:gd name="T0" fmla="*/ 2147483647 w 126"/>
                <a:gd name="T1" fmla="*/ 2147483647 h 82"/>
                <a:gd name="T2" fmla="*/ 2147483647 w 126"/>
                <a:gd name="T3" fmla="*/ 2147483647 h 82"/>
                <a:gd name="T4" fmla="*/ 2147483647 w 126"/>
                <a:gd name="T5" fmla="*/ 2147483647 h 82"/>
                <a:gd name="T6" fmla="*/ 2147483647 w 126"/>
                <a:gd name="T7" fmla="*/ 2147483647 h 82"/>
                <a:gd name="T8" fmla="*/ 2147483647 w 126"/>
                <a:gd name="T9" fmla="*/ 2147483647 h 82"/>
                <a:gd name="T10" fmla="*/ 2147483647 w 126"/>
                <a:gd name="T11" fmla="*/ 2147483647 h 82"/>
                <a:gd name="T12" fmla="*/ 2147483647 w 126"/>
                <a:gd name="T13" fmla="*/ 2147483647 h 82"/>
                <a:gd name="T14" fmla="*/ 2147483647 w 126"/>
                <a:gd name="T15" fmla="*/ 2147483647 h 82"/>
                <a:gd name="T16" fmla="*/ 2147483647 w 126"/>
                <a:gd name="T17" fmla="*/ 2147483647 h 82"/>
                <a:gd name="T18" fmla="*/ 2147483647 w 126"/>
                <a:gd name="T19" fmla="*/ 2147483647 h 82"/>
                <a:gd name="T20" fmla="*/ 2147483647 w 126"/>
                <a:gd name="T21" fmla="*/ 2147483647 h 82"/>
                <a:gd name="T22" fmla="*/ 2147483647 w 126"/>
                <a:gd name="T23" fmla="*/ 2147483647 h 82"/>
                <a:gd name="T24" fmla="*/ 2147483647 w 126"/>
                <a:gd name="T25" fmla="*/ 2147483647 h 82"/>
                <a:gd name="T26" fmla="*/ 2147483647 w 126"/>
                <a:gd name="T27" fmla="*/ 2147483647 h 82"/>
                <a:gd name="T28" fmla="*/ 2147483647 w 126"/>
                <a:gd name="T29" fmla="*/ 2147483647 h 82"/>
                <a:gd name="T30" fmla="*/ 2147483647 w 126"/>
                <a:gd name="T31" fmla="*/ 0 h 82"/>
                <a:gd name="T32" fmla="*/ 2147483647 w 126"/>
                <a:gd name="T33" fmla="*/ 2147483647 h 82"/>
                <a:gd name="T34" fmla="*/ 2147483647 w 126"/>
                <a:gd name="T35" fmla="*/ 2147483647 h 82"/>
                <a:gd name="T36" fmla="*/ 2147483647 w 126"/>
                <a:gd name="T37" fmla="*/ 2147483647 h 82"/>
                <a:gd name="T38" fmla="*/ 2147483647 w 126"/>
                <a:gd name="T39" fmla="*/ 2147483647 h 82"/>
                <a:gd name="T40" fmla="*/ 2147483647 w 126"/>
                <a:gd name="T41" fmla="*/ 2147483647 h 82"/>
                <a:gd name="T42" fmla="*/ 2147483647 w 126"/>
                <a:gd name="T43" fmla="*/ 2147483647 h 82"/>
                <a:gd name="T44" fmla="*/ 2147483647 w 126"/>
                <a:gd name="T45" fmla="*/ 2147483647 h 82"/>
                <a:gd name="T46" fmla="*/ 2147483647 w 126"/>
                <a:gd name="T47" fmla="*/ 2147483647 h 82"/>
                <a:gd name="T48" fmla="*/ 0 w 126"/>
                <a:gd name="T49" fmla="*/ 2147483647 h 82"/>
                <a:gd name="T50" fmla="*/ 0 w 126"/>
                <a:gd name="T51" fmla="*/ 2147483647 h 82"/>
                <a:gd name="T52" fmla="*/ 2147483647 w 126"/>
                <a:gd name="T53" fmla="*/ 2147483647 h 82"/>
                <a:gd name="T54" fmla="*/ 2147483647 w 126"/>
                <a:gd name="T55" fmla="*/ 2147483647 h 82"/>
                <a:gd name="T56" fmla="*/ 2147483647 w 126"/>
                <a:gd name="T57" fmla="*/ 2147483647 h 82"/>
                <a:gd name="T58" fmla="*/ 2147483647 w 126"/>
                <a:gd name="T59" fmla="*/ 2147483647 h 82"/>
                <a:gd name="T60" fmla="*/ 2147483647 w 126"/>
                <a:gd name="T61" fmla="*/ 2147483647 h 82"/>
                <a:gd name="T62" fmla="*/ 2147483647 w 126"/>
                <a:gd name="T63" fmla="*/ 2147483647 h 82"/>
                <a:gd name="T64" fmla="*/ 2147483647 w 126"/>
                <a:gd name="T65" fmla="*/ 2147483647 h 82"/>
                <a:gd name="T66" fmla="*/ 2147483647 w 126"/>
                <a:gd name="T67" fmla="*/ 2147483647 h 82"/>
                <a:gd name="T68" fmla="*/ 2147483647 w 126"/>
                <a:gd name="T69" fmla="*/ 2147483647 h 82"/>
                <a:gd name="T70" fmla="*/ 2147483647 w 126"/>
                <a:gd name="T71" fmla="*/ 2147483647 h 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26"/>
                <a:gd name="T109" fmla="*/ 0 h 82"/>
                <a:gd name="T110" fmla="*/ 126 w 126"/>
                <a:gd name="T111" fmla="*/ 82 h 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26" h="82">
                  <a:moveTo>
                    <a:pt x="126" y="77"/>
                  </a:moveTo>
                  <a:lnTo>
                    <a:pt x="126" y="74"/>
                  </a:lnTo>
                  <a:lnTo>
                    <a:pt x="121" y="67"/>
                  </a:lnTo>
                  <a:lnTo>
                    <a:pt x="114" y="60"/>
                  </a:lnTo>
                  <a:lnTo>
                    <a:pt x="107" y="52"/>
                  </a:lnTo>
                  <a:lnTo>
                    <a:pt x="105" y="43"/>
                  </a:lnTo>
                  <a:lnTo>
                    <a:pt x="106" y="35"/>
                  </a:lnTo>
                  <a:lnTo>
                    <a:pt x="107" y="31"/>
                  </a:lnTo>
                  <a:lnTo>
                    <a:pt x="107" y="23"/>
                  </a:lnTo>
                  <a:lnTo>
                    <a:pt x="104" y="19"/>
                  </a:lnTo>
                  <a:lnTo>
                    <a:pt x="101" y="19"/>
                  </a:lnTo>
                  <a:lnTo>
                    <a:pt x="94" y="18"/>
                  </a:lnTo>
                  <a:lnTo>
                    <a:pt x="85" y="14"/>
                  </a:lnTo>
                  <a:lnTo>
                    <a:pt x="77" y="7"/>
                  </a:lnTo>
                  <a:lnTo>
                    <a:pt x="71" y="2"/>
                  </a:lnTo>
                  <a:lnTo>
                    <a:pt x="65" y="0"/>
                  </a:lnTo>
                  <a:lnTo>
                    <a:pt x="61" y="1"/>
                  </a:lnTo>
                  <a:lnTo>
                    <a:pt x="56" y="5"/>
                  </a:lnTo>
                  <a:lnTo>
                    <a:pt x="50" y="14"/>
                  </a:lnTo>
                  <a:lnTo>
                    <a:pt x="40" y="25"/>
                  </a:lnTo>
                  <a:lnTo>
                    <a:pt x="29" y="34"/>
                  </a:lnTo>
                  <a:lnTo>
                    <a:pt x="17" y="39"/>
                  </a:lnTo>
                  <a:lnTo>
                    <a:pt x="10" y="42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5" y="59"/>
                  </a:lnTo>
                  <a:lnTo>
                    <a:pt x="15" y="64"/>
                  </a:lnTo>
                  <a:lnTo>
                    <a:pt x="30" y="70"/>
                  </a:lnTo>
                  <a:lnTo>
                    <a:pt x="47" y="74"/>
                  </a:lnTo>
                  <a:lnTo>
                    <a:pt x="65" y="78"/>
                  </a:lnTo>
                  <a:lnTo>
                    <a:pt x="84" y="81"/>
                  </a:lnTo>
                  <a:lnTo>
                    <a:pt x="100" y="82"/>
                  </a:lnTo>
                  <a:lnTo>
                    <a:pt x="113" y="82"/>
                  </a:lnTo>
                  <a:lnTo>
                    <a:pt x="122" y="81"/>
                  </a:lnTo>
                  <a:lnTo>
                    <a:pt x="126" y="77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4" name="Freeform 28"/>
            <p:cNvSpPr>
              <a:spLocks/>
            </p:cNvSpPr>
            <p:nvPr/>
          </p:nvSpPr>
          <p:spPr bwMode="auto">
            <a:xfrm>
              <a:off x="6288181" y="3426729"/>
              <a:ext cx="63454" cy="41293"/>
            </a:xfrm>
            <a:custGeom>
              <a:avLst/>
              <a:gdLst>
                <a:gd name="T0" fmla="*/ 2147483647 w 126"/>
                <a:gd name="T1" fmla="*/ 2147483647 h 82"/>
                <a:gd name="T2" fmla="*/ 2147483647 w 126"/>
                <a:gd name="T3" fmla="*/ 2147483647 h 82"/>
                <a:gd name="T4" fmla="*/ 2147483647 w 126"/>
                <a:gd name="T5" fmla="*/ 2147483647 h 82"/>
                <a:gd name="T6" fmla="*/ 2147483647 w 126"/>
                <a:gd name="T7" fmla="*/ 2147483647 h 82"/>
                <a:gd name="T8" fmla="*/ 2147483647 w 126"/>
                <a:gd name="T9" fmla="*/ 2147483647 h 82"/>
                <a:gd name="T10" fmla="*/ 2147483647 w 126"/>
                <a:gd name="T11" fmla="*/ 2147483647 h 82"/>
                <a:gd name="T12" fmla="*/ 2147483647 w 126"/>
                <a:gd name="T13" fmla="*/ 2147483647 h 82"/>
                <a:gd name="T14" fmla="*/ 2147483647 w 126"/>
                <a:gd name="T15" fmla="*/ 2147483647 h 82"/>
                <a:gd name="T16" fmla="*/ 2147483647 w 126"/>
                <a:gd name="T17" fmla="*/ 2147483647 h 82"/>
                <a:gd name="T18" fmla="*/ 2147483647 w 126"/>
                <a:gd name="T19" fmla="*/ 2147483647 h 82"/>
                <a:gd name="T20" fmla="*/ 2147483647 w 126"/>
                <a:gd name="T21" fmla="*/ 2147483647 h 82"/>
                <a:gd name="T22" fmla="*/ 2147483647 w 126"/>
                <a:gd name="T23" fmla="*/ 2147483647 h 82"/>
                <a:gd name="T24" fmla="*/ 2147483647 w 126"/>
                <a:gd name="T25" fmla="*/ 2147483647 h 82"/>
                <a:gd name="T26" fmla="*/ 2147483647 w 126"/>
                <a:gd name="T27" fmla="*/ 2147483647 h 82"/>
                <a:gd name="T28" fmla="*/ 2147483647 w 126"/>
                <a:gd name="T29" fmla="*/ 2147483647 h 82"/>
                <a:gd name="T30" fmla="*/ 2147483647 w 126"/>
                <a:gd name="T31" fmla="*/ 0 h 82"/>
                <a:gd name="T32" fmla="*/ 2147483647 w 126"/>
                <a:gd name="T33" fmla="*/ 2147483647 h 82"/>
                <a:gd name="T34" fmla="*/ 2147483647 w 126"/>
                <a:gd name="T35" fmla="*/ 2147483647 h 82"/>
                <a:gd name="T36" fmla="*/ 2147483647 w 126"/>
                <a:gd name="T37" fmla="*/ 2147483647 h 82"/>
                <a:gd name="T38" fmla="*/ 2147483647 w 126"/>
                <a:gd name="T39" fmla="*/ 2147483647 h 82"/>
                <a:gd name="T40" fmla="*/ 2147483647 w 126"/>
                <a:gd name="T41" fmla="*/ 2147483647 h 82"/>
                <a:gd name="T42" fmla="*/ 0 w 126"/>
                <a:gd name="T43" fmla="*/ 2147483647 h 82"/>
                <a:gd name="T44" fmla="*/ 2147483647 w 126"/>
                <a:gd name="T45" fmla="*/ 2147483647 h 82"/>
                <a:gd name="T46" fmla="*/ 2147483647 w 126"/>
                <a:gd name="T47" fmla="*/ 2147483647 h 82"/>
                <a:gd name="T48" fmla="*/ 2147483647 w 126"/>
                <a:gd name="T49" fmla="*/ 2147483647 h 82"/>
                <a:gd name="T50" fmla="*/ 2147483647 w 126"/>
                <a:gd name="T51" fmla="*/ 2147483647 h 82"/>
                <a:gd name="T52" fmla="*/ 2147483647 w 126"/>
                <a:gd name="T53" fmla="*/ 2147483647 h 82"/>
                <a:gd name="T54" fmla="*/ 2147483647 w 126"/>
                <a:gd name="T55" fmla="*/ 2147483647 h 82"/>
                <a:gd name="T56" fmla="*/ 2147483647 w 126"/>
                <a:gd name="T57" fmla="*/ 2147483647 h 82"/>
                <a:gd name="T58" fmla="*/ 2147483647 w 126"/>
                <a:gd name="T59" fmla="*/ 2147483647 h 82"/>
                <a:gd name="T60" fmla="*/ 2147483647 w 126"/>
                <a:gd name="T61" fmla="*/ 2147483647 h 82"/>
                <a:gd name="T62" fmla="*/ 2147483647 w 126"/>
                <a:gd name="T63" fmla="*/ 2147483647 h 82"/>
                <a:gd name="T64" fmla="*/ 2147483647 w 126"/>
                <a:gd name="T65" fmla="*/ 2147483647 h 82"/>
                <a:gd name="T66" fmla="*/ 2147483647 w 126"/>
                <a:gd name="T67" fmla="*/ 2147483647 h 82"/>
                <a:gd name="T68" fmla="*/ 2147483647 w 126"/>
                <a:gd name="T69" fmla="*/ 2147483647 h 82"/>
                <a:gd name="T70" fmla="*/ 2147483647 w 126"/>
                <a:gd name="T71" fmla="*/ 2147483647 h 82"/>
                <a:gd name="T72" fmla="*/ 2147483647 w 126"/>
                <a:gd name="T73" fmla="*/ 2147483647 h 8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6"/>
                <a:gd name="T112" fmla="*/ 0 h 82"/>
                <a:gd name="T113" fmla="*/ 126 w 126"/>
                <a:gd name="T114" fmla="*/ 82 h 8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6" h="82">
                  <a:moveTo>
                    <a:pt x="101" y="59"/>
                  </a:moveTo>
                  <a:lnTo>
                    <a:pt x="105" y="52"/>
                  </a:lnTo>
                  <a:lnTo>
                    <a:pt x="109" y="47"/>
                  </a:lnTo>
                  <a:lnTo>
                    <a:pt x="113" y="44"/>
                  </a:lnTo>
                  <a:lnTo>
                    <a:pt x="116" y="42"/>
                  </a:lnTo>
                  <a:lnTo>
                    <a:pt x="118" y="40"/>
                  </a:lnTo>
                  <a:lnTo>
                    <a:pt x="121" y="40"/>
                  </a:lnTo>
                  <a:lnTo>
                    <a:pt x="122" y="42"/>
                  </a:lnTo>
                  <a:lnTo>
                    <a:pt x="124" y="40"/>
                  </a:lnTo>
                  <a:lnTo>
                    <a:pt x="125" y="38"/>
                  </a:lnTo>
                  <a:lnTo>
                    <a:pt x="126" y="34"/>
                  </a:lnTo>
                  <a:lnTo>
                    <a:pt x="126" y="29"/>
                  </a:lnTo>
                  <a:lnTo>
                    <a:pt x="124" y="15"/>
                  </a:lnTo>
                  <a:lnTo>
                    <a:pt x="117" y="6"/>
                  </a:lnTo>
                  <a:lnTo>
                    <a:pt x="107" y="1"/>
                  </a:lnTo>
                  <a:lnTo>
                    <a:pt x="94" y="0"/>
                  </a:lnTo>
                  <a:lnTo>
                    <a:pt x="75" y="1"/>
                  </a:lnTo>
                  <a:lnTo>
                    <a:pt x="55" y="6"/>
                  </a:lnTo>
                  <a:lnTo>
                    <a:pt x="32" y="14"/>
                  </a:lnTo>
                  <a:lnTo>
                    <a:pt x="15" y="22"/>
                  </a:lnTo>
                  <a:lnTo>
                    <a:pt x="4" y="27"/>
                  </a:lnTo>
                  <a:lnTo>
                    <a:pt x="0" y="33"/>
                  </a:lnTo>
                  <a:lnTo>
                    <a:pt x="3" y="39"/>
                  </a:lnTo>
                  <a:lnTo>
                    <a:pt x="8" y="46"/>
                  </a:lnTo>
                  <a:lnTo>
                    <a:pt x="12" y="50"/>
                  </a:lnTo>
                  <a:lnTo>
                    <a:pt x="17" y="54"/>
                  </a:lnTo>
                  <a:lnTo>
                    <a:pt x="25" y="59"/>
                  </a:lnTo>
                  <a:lnTo>
                    <a:pt x="32" y="59"/>
                  </a:lnTo>
                  <a:lnTo>
                    <a:pt x="36" y="61"/>
                  </a:lnTo>
                  <a:lnTo>
                    <a:pt x="38" y="64"/>
                  </a:lnTo>
                  <a:lnTo>
                    <a:pt x="42" y="67"/>
                  </a:lnTo>
                  <a:lnTo>
                    <a:pt x="46" y="71"/>
                  </a:lnTo>
                  <a:lnTo>
                    <a:pt x="57" y="80"/>
                  </a:lnTo>
                  <a:lnTo>
                    <a:pt x="69" y="82"/>
                  </a:lnTo>
                  <a:lnTo>
                    <a:pt x="79" y="80"/>
                  </a:lnTo>
                  <a:lnTo>
                    <a:pt x="91" y="72"/>
                  </a:lnTo>
                  <a:lnTo>
                    <a:pt x="101" y="59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5" name="Freeform 29"/>
            <p:cNvSpPr>
              <a:spLocks/>
            </p:cNvSpPr>
            <p:nvPr/>
          </p:nvSpPr>
          <p:spPr bwMode="auto">
            <a:xfrm>
              <a:off x="7560279" y="3426729"/>
              <a:ext cx="63454" cy="41293"/>
            </a:xfrm>
            <a:custGeom>
              <a:avLst/>
              <a:gdLst>
                <a:gd name="T0" fmla="*/ 2147483647 w 126"/>
                <a:gd name="T1" fmla="*/ 2147483647 h 82"/>
                <a:gd name="T2" fmla="*/ 2147483647 w 126"/>
                <a:gd name="T3" fmla="*/ 2147483647 h 82"/>
                <a:gd name="T4" fmla="*/ 2147483647 w 126"/>
                <a:gd name="T5" fmla="*/ 2147483647 h 82"/>
                <a:gd name="T6" fmla="*/ 2147483647 w 126"/>
                <a:gd name="T7" fmla="*/ 2147483647 h 82"/>
                <a:gd name="T8" fmla="*/ 2147483647 w 126"/>
                <a:gd name="T9" fmla="*/ 2147483647 h 82"/>
                <a:gd name="T10" fmla="*/ 2147483647 w 126"/>
                <a:gd name="T11" fmla="*/ 2147483647 h 82"/>
                <a:gd name="T12" fmla="*/ 2147483647 w 126"/>
                <a:gd name="T13" fmla="*/ 2147483647 h 82"/>
                <a:gd name="T14" fmla="*/ 2147483647 w 126"/>
                <a:gd name="T15" fmla="*/ 2147483647 h 82"/>
                <a:gd name="T16" fmla="*/ 2147483647 w 126"/>
                <a:gd name="T17" fmla="*/ 2147483647 h 82"/>
                <a:gd name="T18" fmla="*/ 2147483647 w 126"/>
                <a:gd name="T19" fmla="*/ 2147483647 h 82"/>
                <a:gd name="T20" fmla="*/ 2147483647 w 126"/>
                <a:gd name="T21" fmla="*/ 2147483647 h 82"/>
                <a:gd name="T22" fmla="*/ 2147483647 w 126"/>
                <a:gd name="T23" fmla="*/ 2147483647 h 82"/>
                <a:gd name="T24" fmla="*/ 2147483647 w 126"/>
                <a:gd name="T25" fmla="*/ 2147483647 h 82"/>
                <a:gd name="T26" fmla="*/ 2147483647 w 126"/>
                <a:gd name="T27" fmla="*/ 2147483647 h 82"/>
                <a:gd name="T28" fmla="*/ 2147483647 w 126"/>
                <a:gd name="T29" fmla="*/ 2147483647 h 82"/>
                <a:gd name="T30" fmla="*/ 2147483647 w 126"/>
                <a:gd name="T31" fmla="*/ 2147483647 h 82"/>
                <a:gd name="T32" fmla="*/ 2147483647 w 126"/>
                <a:gd name="T33" fmla="*/ 0 h 82"/>
                <a:gd name="T34" fmla="*/ 2147483647 w 126"/>
                <a:gd name="T35" fmla="*/ 2147483647 h 82"/>
                <a:gd name="T36" fmla="*/ 2147483647 w 126"/>
                <a:gd name="T37" fmla="*/ 2147483647 h 82"/>
                <a:gd name="T38" fmla="*/ 2147483647 w 126"/>
                <a:gd name="T39" fmla="*/ 2147483647 h 82"/>
                <a:gd name="T40" fmla="*/ 0 w 126"/>
                <a:gd name="T41" fmla="*/ 2147483647 h 82"/>
                <a:gd name="T42" fmla="*/ 0 w 126"/>
                <a:gd name="T43" fmla="*/ 2147483647 h 82"/>
                <a:gd name="T44" fmla="*/ 2147483647 w 126"/>
                <a:gd name="T45" fmla="*/ 2147483647 h 82"/>
                <a:gd name="T46" fmla="*/ 2147483647 w 126"/>
                <a:gd name="T47" fmla="*/ 2147483647 h 82"/>
                <a:gd name="T48" fmla="*/ 2147483647 w 126"/>
                <a:gd name="T49" fmla="*/ 2147483647 h 82"/>
                <a:gd name="T50" fmla="*/ 2147483647 w 126"/>
                <a:gd name="T51" fmla="*/ 2147483647 h 82"/>
                <a:gd name="T52" fmla="*/ 2147483647 w 126"/>
                <a:gd name="T53" fmla="*/ 2147483647 h 82"/>
                <a:gd name="T54" fmla="*/ 2147483647 w 126"/>
                <a:gd name="T55" fmla="*/ 2147483647 h 82"/>
                <a:gd name="T56" fmla="*/ 2147483647 w 126"/>
                <a:gd name="T57" fmla="*/ 2147483647 h 82"/>
                <a:gd name="T58" fmla="*/ 2147483647 w 126"/>
                <a:gd name="T59" fmla="*/ 2147483647 h 82"/>
                <a:gd name="T60" fmla="*/ 2147483647 w 126"/>
                <a:gd name="T61" fmla="*/ 2147483647 h 82"/>
                <a:gd name="T62" fmla="*/ 2147483647 w 126"/>
                <a:gd name="T63" fmla="*/ 2147483647 h 82"/>
                <a:gd name="T64" fmla="*/ 2147483647 w 126"/>
                <a:gd name="T65" fmla="*/ 2147483647 h 82"/>
                <a:gd name="T66" fmla="*/ 2147483647 w 126"/>
                <a:gd name="T67" fmla="*/ 2147483647 h 82"/>
                <a:gd name="T68" fmla="*/ 2147483647 w 126"/>
                <a:gd name="T69" fmla="*/ 2147483647 h 82"/>
                <a:gd name="T70" fmla="*/ 2147483647 w 126"/>
                <a:gd name="T71" fmla="*/ 2147483647 h 82"/>
                <a:gd name="T72" fmla="*/ 2147483647 w 126"/>
                <a:gd name="T73" fmla="*/ 2147483647 h 8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6"/>
                <a:gd name="T112" fmla="*/ 0 h 82"/>
                <a:gd name="T113" fmla="*/ 126 w 126"/>
                <a:gd name="T114" fmla="*/ 82 h 8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6" h="82">
                  <a:moveTo>
                    <a:pt x="80" y="71"/>
                  </a:moveTo>
                  <a:lnTo>
                    <a:pt x="84" y="67"/>
                  </a:lnTo>
                  <a:lnTo>
                    <a:pt x="88" y="64"/>
                  </a:lnTo>
                  <a:lnTo>
                    <a:pt x="90" y="61"/>
                  </a:lnTo>
                  <a:lnTo>
                    <a:pt x="94" y="59"/>
                  </a:lnTo>
                  <a:lnTo>
                    <a:pt x="101" y="59"/>
                  </a:lnTo>
                  <a:lnTo>
                    <a:pt x="109" y="54"/>
                  </a:lnTo>
                  <a:lnTo>
                    <a:pt x="114" y="50"/>
                  </a:lnTo>
                  <a:lnTo>
                    <a:pt x="118" y="46"/>
                  </a:lnTo>
                  <a:lnTo>
                    <a:pt x="123" y="39"/>
                  </a:lnTo>
                  <a:lnTo>
                    <a:pt x="126" y="33"/>
                  </a:lnTo>
                  <a:lnTo>
                    <a:pt x="122" y="27"/>
                  </a:lnTo>
                  <a:lnTo>
                    <a:pt x="111" y="22"/>
                  </a:lnTo>
                  <a:lnTo>
                    <a:pt x="94" y="14"/>
                  </a:lnTo>
                  <a:lnTo>
                    <a:pt x="71" y="6"/>
                  </a:lnTo>
                  <a:lnTo>
                    <a:pt x="51" y="1"/>
                  </a:lnTo>
                  <a:lnTo>
                    <a:pt x="32" y="0"/>
                  </a:lnTo>
                  <a:lnTo>
                    <a:pt x="19" y="1"/>
                  </a:lnTo>
                  <a:lnTo>
                    <a:pt x="9" y="6"/>
                  </a:lnTo>
                  <a:lnTo>
                    <a:pt x="2" y="15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4" y="42"/>
                  </a:lnTo>
                  <a:lnTo>
                    <a:pt x="5" y="40"/>
                  </a:lnTo>
                  <a:lnTo>
                    <a:pt x="8" y="40"/>
                  </a:lnTo>
                  <a:lnTo>
                    <a:pt x="10" y="42"/>
                  </a:lnTo>
                  <a:lnTo>
                    <a:pt x="13" y="44"/>
                  </a:lnTo>
                  <a:lnTo>
                    <a:pt x="17" y="47"/>
                  </a:lnTo>
                  <a:lnTo>
                    <a:pt x="21" y="52"/>
                  </a:lnTo>
                  <a:lnTo>
                    <a:pt x="25" y="59"/>
                  </a:lnTo>
                  <a:lnTo>
                    <a:pt x="35" y="72"/>
                  </a:lnTo>
                  <a:lnTo>
                    <a:pt x="47" y="80"/>
                  </a:lnTo>
                  <a:lnTo>
                    <a:pt x="57" y="82"/>
                  </a:lnTo>
                  <a:lnTo>
                    <a:pt x="69" y="80"/>
                  </a:lnTo>
                  <a:lnTo>
                    <a:pt x="80" y="71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6" name="Freeform 32"/>
            <p:cNvSpPr>
              <a:spLocks/>
            </p:cNvSpPr>
            <p:nvPr/>
          </p:nvSpPr>
          <p:spPr bwMode="auto">
            <a:xfrm>
              <a:off x="6286166" y="3400543"/>
              <a:ext cx="44317" cy="35754"/>
            </a:xfrm>
            <a:custGeom>
              <a:avLst/>
              <a:gdLst>
                <a:gd name="T0" fmla="*/ 2147483647 w 88"/>
                <a:gd name="T1" fmla="*/ 2147483647 h 71"/>
                <a:gd name="T2" fmla="*/ 2147483647 w 88"/>
                <a:gd name="T3" fmla="*/ 2147483647 h 71"/>
                <a:gd name="T4" fmla="*/ 2147483647 w 88"/>
                <a:gd name="T5" fmla="*/ 2147483647 h 71"/>
                <a:gd name="T6" fmla="*/ 2147483647 w 88"/>
                <a:gd name="T7" fmla="*/ 2147483647 h 71"/>
                <a:gd name="T8" fmla="*/ 2147483647 w 88"/>
                <a:gd name="T9" fmla="*/ 2147483647 h 71"/>
                <a:gd name="T10" fmla="*/ 2147483647 w 88"/>
                <a:gd name="T11" fmla="*/ 0 h 71"/>
                <a:gd name="T12" fmla="*/ 2147483647 w 88"/>
                <a:gd name="T13" fmla="*/ 2147483647 h 71"/>
                <a:gd name="T14" fmla="*/ 2147483647 w 88"/>
                <a:gd name="T15" fmla="*/ 2147483647 h 71"/>
                <a:gd name="T16" fmla="*/ 2147483647 w 88"/>
                <a:gd name="T17" fmla="*/ 2147483647 h 71"/>
                <a:gd name="T18" fmla="*/ 2147483647 w 88"/>
                <a:gd name="T19" fmla="*/ 2147483647 h 71"/>
                <a:gd name="T20" fmla="*/ 2147483647 w 88"/>
                <a:gd name="T21" fmla="*/ 2147483647 h 71"/>
                <a:gd name="T22" fmla="*/ 2147483647 w 88"/>
                <a:gd name="T23" fmla="*/ 2147483647 h 71"/>
                <a:gd name="T24" fmla="*/ 2147483647 w 88"/>
                <a:gd name="T25" fmla="*/ 2147483647 h 71"/>
                <a:gd name="T26" fmla="*/ 2147483647 w 88"/>
                <a:gd name="T27" fmla="*/ 2147483647 h 71"/>
                <a:gd name="T28" fmla="*/ 2147483647 w 88"/>
                <a:gd name="T29" fmla="*/ 2147483647 h 71"/>
                <a:gd name="T30" fmla="*/ 2147483647 w 88"/>
                <a:gd name="T31" fmla="*/ 2147483647 h 71"/>
                <a:gd name="T32" fmla="*/ 0 w 88"/>
                <a:gd name="T33" fmla="*/ 2147483647 h 71"/>
                <a:gd name="T34" fmla="*/ 2147483647 w 88"/>
                <a:gd name="T35" fmla="*/ 2147483647 h 71"/>
                <a:gd name="T36" fmla="*/ 2147483647 w 88"/>
                <a:gd name="T37" fmla="*/ 2147483647 h 71"/>
                <a:gd name="T38" fmla="*/ 2147483647 w 88"/>
                <a:gd name="T39" fmla="*/ 2147483647 h 71"/>
                <a:gd name="T40" fmla="*/ 2147483647 w 88"/>
                <a:gd name="T41" fmla="*/ 2147483647 h 71"/>
                <a:gd name="T42" fmla="*/ 2147483647 w 88"/>
                <a:gd name="T43" fmla="*/ 2147483647 h 7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8"/>
                <a:gd name="T67" fmla="*/ 0 h 71"/>
                <a:gd name="T68" fmla="*/ 88 w 88"/>
                <a:gd name="T69" fmla="*/ 71 h 7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8" h="71">
                  <a:moveTo>
                    <a:pt x="88" y="35"/>
                  </a:moveTo>
                  <a:lnTo>
                    <a:pt x="88" y="31"/>
                  </a:lnTo>
                  <a:lnTo>
                    <a:pt x="86" y="23"/>
                  </a:lnTo>
                  <a:lnTo>
                    <a:pt x="82" y="14"/>
                  </a:lnTo>
                  <a:lnTo>
                    <a:pt x="77" y="4"/>
                  </a:lnTo>
                  <a:lnTo>
                    <a:pt x="71" y="0"/>
                  </a:lnTo>
                  <a:lnTo>
                    <a:pt x="67" y="2"/>
                  </a:lnTo>
                  <a:lnTo>
                    <a:pt x="61" y="10"/>
                  </a:lnTo>
                  <a:lnTo>
                    <a:pt x="53" y="17"/>
                  </a:lnTo>
                  <a:lnTo>
                    <a:pt x="44" y="21"/>
                  </a:lnTo>
                  <a:lnTo>
                    <a:pt x="31" y="20"/>
                  </a:lnTo>
                  <a:lnTo>
                    <a:pt x="19" y="17"/>
                  </a:lnTo>
                  <a:lnTo>
                    <a:pt x="12" y="19"/>
                  </a:lnTo>
                  <a:lnTo>
                    <a:pt x="9" y="24"/>
                  </a:lnTo>
                  <a:lnTo>
                    <a:pt x="8" y="37"/>
                  </a:lnTo>
                  <a:lnTo>
                    <a:pt x="4" y="53"/>
                  </a:lnTo>
                  <a:lnTo>
                    <a:pt x="0" y="71"/>
                  </a:lnTo>
                  <a:lnTo>
                    <a:pt x="42" y="54"/>
                  </a:lnTo>
                  <a:lnTo>
                    <a:pt x="59" y="48"/>
                  </a:lnTo>
                  <a:lnTo>
                    <a:pt x="74" y="41"/>
                  </a:lnTo>
                  <a:lnTo>
                    <a:pt x="84" y="37"/>
                  </a:lnTo>
                  <a:lnTo>
                    <a:pt x="88" y="35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7" name="Freeform 33"/>
            <p:cNvSpPr>
              <a:spLocks/>
            </p:cNvSpPr>
            <p:nvPr/>
          </p:nvSpPr>
          <p:spPr bwMode="auto">
            <a:xfrm>
              <a:off x="7581430" y="3400543"/>
              <a:ext cx="42303" cy="33740"/>
            </a:xfrm>
            <a:custGeom>
              <a:avLst/>
              <a:gdLst>
                <a:gd name="T0" fmla="*/ 2147483647 w 84"/>
                <a:gd name="T1" fmla="*/ 2147483647 h 67"/>
                <a:gd name="T2" fmla="*/ 2147483647 w 84"/>
                <a:gd name="T3" fmla="*/ 2147483647 h 67"/>
                <a:gd name="T4" fmla="*/ 2147483647 w 84"/>
                <a:gd name="T5" fmla="*/ 2147483647 h 67"/>
                <a:gd name="T6" fmla="*/ 2147483647 w 84"/>
                <a:gd name="T7" fmla="*/ 2147483647 h 67"/>
                <a:gd name="T8" fmla="*/ 2147483647 w 84"/>
                <a:gd name="T9" fmla="*/ 2147483647 h 67"/>
                <a:gd name="T10" fmla="*/ 2147483647 w 84"/>
                <a:gd name="T11" fmla="*/ 2147483647 h 67"/>
                <a:gd name="T12" fmla="*/ 2147483647 w 84"/>
                <a:gd name="T13" fmla="*/ 2147483647 h 67"/>
                <a:gd name="T14" fmla="*/ 2147483647 w 84"/>
                <a:gd name="T15" fmla="*/ 2147483647 h 67"/>
                <a:gd name="T16" fmla="*/ 2147483647 w 84"/>
                <a:gd name="T17" fmla="*/ 2147483647 h 67"/>
                <a:gd name="T18" fmla="*/ 2147483647 w 84"/>
                <a:gd name="T19" fmla="*/ 0 h 67"/>
                <a:gd name="T20" fmla="*/ 2147483647 w 84"/>
                <a:gd name="T21" fmla="*/ 2147483647 h 67"/>
                <a:gd name="T22" fmla="*/ 2147483647 w 84"/>
                <a:gd name="T23" fmla="*/ 2147483647 h 67"/>
                <a:gd name="T24" fmla="*/ 2147483647 w 84"/>
                <a:gd name="T25" fmla="*/ 2147483647 h 67"/>
                <a:gd name="T26" fmla="*/ 0 w 84"/>
                <a:gd name="T27" fmla="*/ 2147483647 h 67"/>
                <a:gd name="T28" fmla="*/ 0 w 84"/>
                <a:gd name="T29" fmla="*/ 2147483647 h 67"/>
                <a:gd name="T30" fmla="*/ 2147483647 w 84"/>
                <a:gd name="T31" fmla="*/ 2147483647 h 67"/>
                <a:gd name="T32" fmla="*/ 2147483647 w 84"/>
                <a:gd name="T33" fmla="*/ 2147483647 h 67"/>
                <a:gd name="T34" fmla="*/ 2147483647 w 84"/>
                <a:gd name="T35" fmla="*/ 2147483647 h 67"/>
                <a:gd name="T36" fmla="*/ 2147483647 w 84"/>
                <a:gd name="T37" fmla="*/ 2147483647 h 67"/>
                <a:gd name="T38" fmla="*/ 2147483647 w 84"/>
                <a:gd name="T39" fmla="*/ 2147483647 h 67"/>
                <a:gd name="T40" fmla="*/ 2147483647 w 84"/>
                <a:gd name="T41" fmla="*/ 2147483647 h 67"/>
                <a:gd name="T42" fmla="*/ 2147483647 w 84"/>
                <a:gd name="T43" fmla="*/ 2147483647 h 67"/>
                <a:gd name="T44" fmla="*/ 2147483647 w 84"/>
                <a:gd name="T45" fmla="*/ 2147483647 h 67"/>
                <a:gd name="T46" fmla="*/ 2147483647 w 84"/>
                <a:gd name="T47" fmla="*/ 2147483647 h 67"/>
                <a:gd name="T48" fmla="*/ 2147483647 w 84"/>
                <a:gd name="T49" fmla="*/ 2147483647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4"/>
                <a:gd name="T76" fmla="*/ 0 h 67"/>
                <a:gd name="T77" fmla="*/ 84 w 84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4" h="67">
                  <a:moveTo>
                    <a:pt x="81" y="40"/>
                  </a:moveTo>
                  <a:lnTo>
                    <a:pt x="79" y="27"/>
                  </a:lnTo>
                  <a:lnTo>
                    <a:pt x="73" y="20"/>
                  </a:lnTo>
                  <a:lnTo>
                    <a:pt x="67" y="17"/>
                  </a:lnTo>
                  <a:lnTo>
                    <a:pt x="56" y="20"/>
                  </a:lnTo>
                  <a:lnTo>
                    <a:pt x="44" y="21"/>
                  </a:lnTo>
                  <a:lnTo>
                    <a:pt x="35" y="17"/>
                  </a:lnTo>
                  <a:lnTo>
                    <a:pt x="27" y="10"/>
                  </a:lnTo>
                  <a:lnTo>
                    <a:pt x="21" y="2"/>
                  </a:lnTo>
                  <a:lnTo>
                    <a:pt x="17" y="0"/>
                  </a:lnTo>
                  <a:lnTo>
                    <a:pt x="11" y="4"/>
                  </a:lnTo>
                  <a:lnTo>
                    <a:pt x="6" y="14"/>
                  </a:lnTo>
                  <a:lnTo>
                    <a:pt x="2" y="23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5" y="37"/>
                  </a:lnTo>
                  <a:lnTo>
                    <a:pt x="14" y="42"/>
                  </a:lnTo>
                  <a:lnTo>
                    <a:pt x="27" y="48"/>
                  </a:lnTo>
                  <a:lnTo>
                    <a:pt x="43" y="53"/>
                  </a:lnTo>
                  <a:lnTo>
                    <a:pt x="57" y="60"/>
                  </a:lnTo>
                  <a:lnTo>
                    <a:pt x="71" y="63"/>
                  </a:lnTo>
                  <a:lnTo>
                    <a:pt x="80" y="66"/>
                  </a:lnTo>
                  <a:lnTo>
                    <a:pt x="84" y="67"/>
                  </a:lnTo>
                  <a:lnTo>
                    <a:pt x="84" y="53"/>
                  </a:lnTo>
                  <a:lnTo>
                    <a:pt x="81" y="40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8" name="Freeform 36"/>
            <p:cNvSpPr>
              <a:spLocks/>
            </p:cNvSpPr>
            <p:nvPr/>
          </p:nvSpPr>
          <p:spPr bwMode="auto">
            <a:xfrm>
              <a:off x="6266023" y="3296302"/>
              <a:ext cx="36259" cy="45322"/>
            </a:xfrm>
            <a:custGeom>
              <a:avLst/>
              <a:gdLst>
                <a:gd name="T0" fmla="*/ 2147483647 w 72"/>
                <a:gd name="T1" fmla="*/ 2147483647 h 90"/>
                <a:gd name="T2" fmla="*/ 2147483647 w 72"/>
                <a:gd name="T3" fmla="*/ 2147483647 h 90"/>
                <a:gd name="T4" fmla="*/ 2147483647 w 72"/>
                <a:gd name="T5" fmla="*/ 2147483647 h 90"/>
                <a:gd name="T6" fmla="*/ 2147483647 w 72"/>
                <a:gd name="T7" fmla="*/ 2147483647 h 90"/>
                <a:gd name="T8" fmla="*/ 2147483647 w 72"/>
                <a:gd name="T9" fmla="*/ 2147483647 h 90"/>
                <a:gd name="T10" fmla="*/ 2147483647 w 72"/>
                <a:gd name="T11" fmla="*/ 2147483647 h 90"/>
                <a:gd name="T12" fmla="*/ 2147483647 w 72"/>
                <a:gd name="T13" fmla="*/ 2147483647 h 90"/>
                <a:gd name="T14" fmla="*/ 2147483647 w 72"/>
                <a:gd name="T15" fmla="*/ 2147483647 h 90"/>
                <a:gd name="T16" fmla="*/ 2147483647 w 72"/>
                <a:gd name="T17" fmla="*/ 2147483647 h 90"/>
                <a:gd name="T18" fmla="*/ 2147483647 w 72"/>
                <a:gd name="T19" fmla="*/ 2147483647 h 90"/>
                <a:gd name="T20" fmla="*/ 2147483647 w 72"/>
                <a:gd name="T21" fmla="*/ 2147483647 h 90"/>
                <a:gd name="T22" fmla="*/ 2147483647 w 72"/>
                <a:gd name="T23" fmla="*/ 2147483647 h 90"/>
                <a:gd name="T24" fmla="*/ 2147483647 w 72"/>
                <a:gd name="T25" fmla="*/ 2147483647 h 90"/>
                <a:gd name="T26" fmla="*/ 2147483647 w 72"/>
                <a:gd name="T27" fmla="*/ 2147483647 h 90"/>
                <a:gd name="T28" fmla="*/ 2147483647 w 72"/>
                <a:gd name="T29" fmla="*/ 2147483647 h 90"/>
                <a:gd name="T30" fmla="*/ 2147483647 w 72"/>
                <a:gd name="T31" fmla="*/ 2147483647 h 90"/>
                <a:gd name="T32" fmla="*/ 2147483647 w 72"/>
                <a:gd name="T33" fmla="*/ 2147483647 h 90"/>
                <a:gd name="T34" fmla="*/ 2147483647 w 72"/>
                <a:gd name="T35" fmla="*/ 2147483647 h 90"/>
                <a:gd name="T36" fmla="*/ 2147483647 w 72"/>
                <a:gd name="T37" fmla="*/ 0 h 90"/>
                <a:gd name="T38" fmla="*/ 2147483647 w 72"/>
                <a:gd name="T39" fmla="*/ 0 h 90"/>
                <a:gd name="T40" fmla="*/ 2147483647 w 72"/>
                <a:gd name="T41" fmla="*/ 2147483647 h 90"/>
                <a:gd name="T42" fmla="*/ 2147483647 w 72"/>
                <a:gd name="T43" fmla="*/ 2147483647 h 90"/>
                <a:gd name="T44" fmla="*/ 2147483647 w 72"/>
                <a:gd name="T45" fmla="*/ 2147483647 h 90"/>
                <a:gd name="T46" fmla="*/ 2147483647 w 72"/>
                <a:gd name="T47" fmla="*/ 2147483647 h 90"/>
                <a:gd name="T48" fmla="*/ 2147483647 w 72"/>
                <a:gd name="T49" fmla="*/ 2147483647 h 90"/>
                <a:gd name="T50" fmla="*/ 2147483647 w 72"/>
                <a:gd name="T51" fmla="*/ 2147483647 h 90"/>
                <a:gd name="T52" fmla="*/ 0 w 72"/>
                <a:gd name="T53" fmla="*/ 2147483647 h 90"/>
                <a:gd name="T54" fmla="*/ 2147483647 w 72"/>
                <a:gd name="T55" fmla="*/ 2147483647 h 90"/>
                <a:gd name="T56" fmla="*/ 2147483647 w 72"/>
                <a:gd name="T57" fmla="*/ 2147483647 h 90"/>
                <a:gd name="T58" fmla="*/ 2147483647 w 72"/>
                <a:gd name="T59" fmla="*/ 2147483647 h 90"/>
                <a:gd name="T60" fmla="*/ 2147483647 w 72"/>
                <a:gd name="T61" fmla="*/ 2147483647 h 90"/>
                <a:gd name="T62" fmla="*/ 2147483647 w 72"/>
                <a:gd name="T63" fmla="*/ 2147483647 h 90"/>
                <a:gd name="T64" fmla="*/ 2147483647 w 72"/>
                <a:gd name="T65" fmla="*/ 2147483647 h 90"/>
                <a:gd name="T66" fmla="*/ 2147483647 w 72"/>
                <a:gd name="T67" fmla="*/ 2147483647 h 90"/>
                <a:gd name="T68" fmla="*/ 2147483647 w 72"/>
                <a:gd name="T69" fmla="*/ 2147483647 h 90"/>
                <a:gd name="T70" fmla="*/ 2147483647 w 72"/>
                <a:gd name="T71" fmla="*/ 2147483647 h 90"/>
                <a:gd name="T72" fmla="*/ 2147483647 w 72"/>
                <a:gd name="T73" fmla="*/ 2147483647 h 90"/>
                <a:gd name="T74" fmla="*/ 2147483647 w 72"/>
                <a:gd name="T75" fmla="*/ 2147483647 h 90"/>
                <a:gd name="T76" fmla="*/ 2147483647 w 72"/>
                <a:gd name="T77" fmla="*/ 2147483647 h 90"/>
                <a:gd name="T78" fmla="*/ 2147483647 w 72"/>
                <a:gd name="T79" fmla="*/ 2147483647 h 90"/>
                <a:gd name="T80" fmla="*/ 2147483647 w 72"/>
                <a:gd name="T81" fmla="*/ 2147483647 h 90"/>
                <a:gd name="T82" fmla="*/ 2147483647 w 72"/>
                <a:gd name="T83" fmla="*/ 2147483647 h 90"/>
                <a:gd name="T84" fmla="*/ 2147483647 w 72"/>
                <a:gd name="T85" fmla="*/ 2147483647 h 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2"/>
                <a:gd name="T130" fmla="*/ 0 h 90"/>
                <a:gd name="T131" fmla="*/ 72 w 72"/>
                <a:gd name="T132" fmla="*/ 90 h 9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2" h="90">
                  <a:moveTo>
                    <a:pt x="72" y="56"/>
                  </a:moveTo>
                  <a:lnTo>
                    <a:pt x="71" y="22"/>
                  </a:lnTo>
                  <a:lnTo>
                    <a:pt x="36" y="42"/>
                  </a:lnTo>
                  <a:lnTo>
                    <a:pt x="27" y="47"/>
                  </a:lnTo>
                  <a:lnTo>
                    <a:pt x="14" y="55"/>
                  </a:lnTo>
                  <a:lnTo>
                    <a:pt x="9" y="56"/>
                  </a:lnTo>
                  <a:lnTo>
                    <a:pt x="6" y="58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10" y="50"/>
                  </a:lnTo>
                  <a:lnTo>
                    <a:pt x="15" y="46"/>
                  </a:lnTo>
                  <a:lnTo>
                    <a:pt x="22" y="41"/>
                  </a:lnTo>
                  <a:lnTo>
                    <a:pt x="30" y="35"/>
                  </a:lnTo>
                  <a:lnTo>
                    <a:pt x="42" y="26"/>
                  </a:lnTo>
                  <a:lnTo>
                    <a:pt x="49" y="20"/>
                  </a:lnTo>
                  <a:lnTo>
                    <a:pt x="51" y="13"/>
                  </a:lnTo>
                  <a:lnTo>
                    <a:pt x="49" y="6"/>
                  </a:lnTo>
                  <a:lnTo>
                    <a:pt x="47" y="2"/>
                  </a:lnTo>
                  <a:lnTo>
                    <a:pt x="44" y="0"/>
                  </a:lnTo>
                  <a:lnTo>
                    <a:pt x="39" y="0"/>
                  </a:lnTo>
                  <a:lnTo>
                    <a:pt x="31" y="5"/>
                  </a:lnTo>
                  <a:lnTo>
                    <a:pt x="25" y="9"/>
                  </a:lnTo>
                  <a:lnTo>
                    <a:pt x="17" y="12"/>
                  </a:lnTo>
                  <a:lnTo>
                    <a:pt x="10" y="12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5"/>
                  </a:lnTo>
                  <a:lnTo>
                    <a:pt x="1" y="55"/>
                  </a:lnTo>
                  <a:lnTo>
                    <a:pt x="1" y="68"/>
                  </a:lnTo>
                  <a:lnTo>
                    <a:pt x="4" y="75"/>
                  </a:lnTo>
                  <a:lnTo>
                    <a:pt x="7" y="77"/>
                  </a:lnTo>
                  <a:lnTo>
                    <a:pt x="14" y="77"/>
                  </a:lnTo>
                  <a:lnTo>
                    <a:pt x="19" y="79"/>
                  </a:lnTo>
                  <a:lnTo>
                    <a:pt x="25" y="81"/>
                  </a:lnTo>
                  <a:lnTo>
                    <a:pt x="26" y="84"/>
                  </a:lnTo>
                  <a:lnTo>
                    <a:pt x="28" y="88"/>
                  </a:lnTo>
                  <a:lnTo>
                    <a:pt x="38" y="89"/>
                  </a:lnTo>
                  <a:lnTo>
                    <a:pt x="49" y="90"/>
                  </a:lnTo>
                  <a:lnTo>
                    <a:pt x="60" y="89"/>
                  </a:lnTo>
                  <a:lnTo>
                    <a:pt x="68" y="87"/>
                  </a:lnTo>
                  <a:lnTo>
                    <a:pt x="71" y="81"/>
                  </a:lnTo>
                  <a:lnTo>
                    <a:pt x="72" y="72"/>
                  </a:lnTo>
                  <a:lnTo>
                    <a:pt x="72" y="56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9" name="Freeform 37"/>
            <p:cNvSpPr>
              <a:spLocks/>
            </p:cNvSpPr>
            <p:nvPr/>
          </p:nvSpPr>
          <p:spPr bwMode="auto">
            <a:xfrm>
              <a:off x="7609632" y="3296302"/>
              <a:ext cx="36259" cy="45322"/>
            </a:xfrm>
            <a:custGeom>
              <a:avLst/>
              <a:gdLst>
                <a:gd name="T0" fmla="*/ 2147483647 w 72"/>
                <a:gd name="T1" fmla="*/ 2147483647 h 90"/>
                <a:gd name="T2" fmla="*/ 2147483647 w 72"/>
                <a:gd name="T3" fmla="*/ 2147483647 h 90"/>
                <a:gd name="T4" fmla="*/ 2147483647 w 72"/>
                <a:gd name="T5" fmla="*/ 2147483647 h 90"/>
                <a:gd name="T6" fmla="*/ 2147483647 w 72"/>
                <a:gd name="T7" fmla="*/ 2147483647 h 90"/>
                <a:gd name="T8" fmla="*/ 2147483647 w 72"/>
                <a:gd name="T9" fmla="*/ 2147483647 h 90"/>
                <a:gd name="T10" fmla="*/ 2147483647 w 72"/>
                <a:gd name="T11" fmla="*/ 2147483647 h 90"/>
                <a:gd name="T12" fmla="*/ 2147483647 w 72"/>
                <a:gd name="T13" fmla="*/ 2147483647 h 90"/>
                <a:gd name="T14" fmla="*/ 2147483647 w 72"/>
                <a:gd name="T15" fmla="*/ 2147483647 h 90"/>
                <a:gd name="T16" fmla="*/ 2147483647 w 72"/>
                <a:gd name="T17" fmla="*/ 2147483647 h 90"/>
                <a:gd name="T18" fmla="*/ 2147483647 w 72"/>
                <a:gd name="T19" fmla="*/ 2147483647 h 90"/>
                <a:gd name="T20" fmla="*/ 2147483647 w 72"/>
                <a:gd name="T21" fmla="*/ 2147483647 h 90"/>
                <a:gd name="T22" fmla="*/ 2147483647 w 72"/>
                <a:gd name="T23" fmla="*/ 2147483647 h 90"/>
                <a:gd name="T24" fmla="*/ 2147483647 w 72"/>
                <a:gd name="T25" fmla="*/ 2147483647 h 90"/>
                <a:gd name="T26" fmla="*/ 2147483647 w 72"/>
                <a:gd name="T27" fmla="*/ 2147483647 h 90"/>
                <a:gd name="T28" fmla="*/ 2147483647 w 72"/>
                <a:gd name="T29" fmla="*/ 2147483647 h 90"/>
                <a:gd name="T30" fmla="*/ 2147483647 w 72"/>
                <a:gd name="T31" fmla="*/ 0 h 90"/>
                <a:gd name="T32" fmla="*/ 2147483647 w 72"/>
                <a:gd name="T33" fmla="*/ 0 h 90"/>
                <a:gd name="T34" fmla="*/ 2147483647 w 72"/>
                <a:gd name="T35" fmla="*/ 2147483647 h 90"/>
                <a:gd name="T36" fmla="*/ 2147483647 w 72"/>
                <a:gd name="T37" fmla="*/ 2147483647 h 90"/>
                <a:gd name="T38" fmla="*/ 2147483647 w 72"/>
                <a:gd name="T39" fmla="*/ 2147483647 h 90"/>
                <a:gd name="T40" fmla="*/ 2147483647 w 72"/>
                <a:gd name="T41" fmla="*/ 2147483647 h 90"/>
                <a:gd name="T42" fmla="*/ 2147483647 w 72"/>
                <a:gd name="T43" fmla="*/ 2147483647 h 90"/>
                <a:gd name="T44" fmla="*/ 2147483647 w 72"/>
                <a:gd name="T45" fmla="*/ 2147483647 h 90"/>
                <a:gd name="T46" fmla="*/ 2147483647 w 72"/>
                <a:gd name="T47" fmla="*/ 2147483647 h 90"/>
                <a:gd name="T48" fmla="*/ 2147483647 w 72"/>
                <a:gd name="T49" fmla="*/ 2147483647 h 90"/>
                <a:gd name="T50" fmla="*/ 2147483647 w 72"/>
                <a:gd name="T51" fmla="*/ 2147483647 h 90"/>
                <a:gd name="T52" fmla="*/ 2147483647 w 72"/>
                <a:gd name="T53" fmla="*/ 2147483647 h 90"/>
                <a:gd name="T54" fmla="*/ 2147483647 w 72"/>
                <a:gd name="T55" fmla="*/ 2147483647 h 90"/>
                <a:gd name="T56" fmla="*/ 2147483647 w 72"/>
                <a:gd name="T57" fmla="*/ 2147483647 h 90"/>
                <a:gd name="T58" fmla="*/ 2147483647 w 72"/>
                <a:gd name="T59" fmla="*/ 2147483647 h 90"/>
                <a:gd name="T60" fmla="*/ 2147483647 w 72"/>
                <a:gd name="T61" fmla="*/ 2147483647 h 90"/>
                <a:gd name="T62" fmla="*/ 2147483647 w 72"/>
                <a:gd name="T63" fmla="*/ 2147483647 h 90"/>
                <a:gd name="T64" fmla="*/ 2147483647 w 72"/>
                <a:gd name="T65" fmla="*/ 2147483647 h 90"/>
                <a:gd name="T66" fmla="*/ 2147483647 w 72"/>
                <a:gd name="T67" fmla="*/ 2147483647 h 90"/>
                <a:gd name="T68" fmla="*/ 0 w 72"/>
                <a:gd name="T69" fmla="*/ 2147483647 h 90"/>
                <a:gd name="T70" fmla="*/ 0 w 72"/>
                <a:gd name="T71" fmla="*/ 2147483647 h 90"/>
                <a:gd name="T72" fmla="*/ 2147483647 w 72"/>
                <a:gd name="T73" fmla="*/ 2147483647 h 90"/>
                <a:gd name="T74" fmla="*/ 2147483647 w 72"/>
                <a:gd name="T75" fmla="*/ 2147483647 h 90"/>
                <a:gd name="T76" fmla="*/ 2147483647 w 72"/>
                <a:gd name="T77" fmla="*/ 2147483647 h 90"/>
                <a:gd name="T78" fmla="*/ 2147483647 w 72"/>
                <a:gd name="T79" fmla="*/ 2147483647 h 90"/>
                <a:gd name="T80" fmla="*/ 2147483647 w 72"/>
                <a:gd name="T81" fmla="*/ 2147483647 h 90"/>
                <a:gd name="T82" fmla="*/ 2147483647 w 72"/>
                <a:gd name="T83" fmla="*/ 2147483647 h 90"/>
                <a:gd name="T84" fmla="*/ 2147483647 w 72"/>
                <a:gd name="T85" fmla="*/ 2147483647 h 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2"/>
                <a:gd name="T130" fmla="*/ 0 h 90"/>
                <a:gd name="T131" fmla="*/ 72 w 72"/>
                <a:gd name="T132" fmla="*/ 90 h 9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2" h="90">
                  <a:moveTo>
                    <a:pt x="46" y="84"/>
                  </a:moveTo>
                  <a:lnTo>
                    <a:pt x="47" y="81"/>
                  </a:lnTo>
                  <a:lnTo>
                    <a:pt x="53" y="79"/>
                  </a:lnTo>
                  <a:lnTo>
                    <a:pt x="58" y="77"/>
                  </a:lnTo>
                  <a:lnTo>
                    <a:pt x="65" y="77"/>
                  </a:lnTo>
                  <a:lnTo>
                    <a:pt x="68" y="75"/>
                  </a:lnTo>
                  <a:lnTo>
                    <a:pt x="71" y="68"/>
                  </a:lnTo>
                  <a:lnTo>
                    <a:pt x="71" y="55"/>
                  </a:lnTo>
                  <a:lnTo>
                    <a:pt x="72" y="35"/>
                  </a:lnTo>
                  <a:lnTo>
                    <a:pt x="71" y="21"/>
                  </a:lnTo>
                  <a:lnTo>
                    <a:pt x="67" y="13"/>
                  </a:lnTo>
                  <a:lnTo>
                    <a:pt x="62" y="12"/>
                  </a:lnTo>
                  <a:lnTo>
                    <a:pt x="55" y="12"/>
                  </a:lnTo>
                  <a:lnTo>
                    <a:pt x="47" y="9"/>
                  </a:lnTo>
                  <a:lnTo>
                    <a:pt x="41" y="5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5" y="2"/>
                  </a:lnTo>
                  <a:lnTo>
                    <a:pt x="23" y="6"/>
                  </a:lnTo>
                  <a:lnTo>
                    <a:pt x="21" y="13"/>
                  </a:lnTo>
                  <a:lnTo>
                    <a:pt x="23" y="20"/>
                  </a:lnTo>
                  <a:lnTo>
                    <a:pt x="30" y="26"/>
                  </a:lnTo>
                  <a:lnTo>
                    <a:pt x="42" y="35"/>
                  </a:lnTo>
                  <a:lnTo>
                    <a:pt x="50" y="41"/>
                  </a:lnTo>
                  <a:lnTo>
                    <a:pt x="57" y="46"/>
                  </a:lnTo>
                  <a:lnTo>
                    <a:pt x="62" y="50"/>
                  </a:lnTo>
                  <a:lnTo>
                    <a:pt x="68" y="56"/>
                  </a:lnTo>
                  <a:lnTo>
                    <a:pt x="68" y="58"/>
                  </a:lnTo>
                  <a:lnTo>
                    <a:pt x="66" y="58"/>
                  </a:lnTo>
                  <a:lnTo>
                    <a:pt x="63" y="56"/>
                  </a:lnTo>
                  <a:lnTo>
                    <a:pt x="58" y="55"/>
                  </a:lnTo>
                  <a:lnTo>
                    <a:pt x="45" y="47"/>
                  </a:lnTo>
                  <a:lnTo>
                    <a:pt x="36" y="42"/>
                  </a:lnTo>
                  <a:lnTo>
                    <a:pt x="1" y="22"/>
                  </a:lnTo>
                  <a:lnTo>
                    <a:pt x="0" y="56"/>
                  </a:lnTo>
                  <a:lnTo>
                    <a:pt x="0" y="72"/>
                  </a:lnTo>
                  <a:lnTo>
                    <a:pt x="1" y="81"/>
                  </a:lnTo>
                  <a:lnTo>
                    <a:pt x="4" y="87"/>
                  </a:lnTo>
                  <a:lnTo>
                    <a:pt x="12" y="89"/>
                  </a:lnTo>
                  <a:lnTo>
                    <a:pt x="23" y="90"/>
                  </a:lnTo>
                  <a:lnTo>
                    <a:pt x="34" y="89"/>
                  </a:lnTo>
                  <a:lnTo>
                    <a:pt x="44" y="88"/>
                  </a:lnTo>
                  <a:lnTo>
                    <a:pt x="46" y="84"/>
                  </a:lnTo>
                  <a:close/>
                </a:path>
              </a:pathLst>
            </a:custGeom>
            <a:solidFill>
              <a:srgbClr val="355216"/>
            </a:solidFill>
            <a:ln w="0">
              <a:solidFill>
                <a:srgbClr val="334F1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03" name="Group 131"/>
            <p:cNvGrpSpPr/>
            <p:nvPr/>
          </p:nvGrpSpPr>
          <p:grpSpPr bwMode="auto">
            <a:xfrm>
              <a:off x="6264512" y="2649704"/>
              <a:ext cx="575617" cy="841483"/>
              <a:chOff x="3185842" y="2476271"/>
              <a:chExt cx="1185672" cy="1733383"/>
            </a:xfrm>
            <a:gradFill flip="none" rotWithShape="1"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path path="shape">
                <a:fillToRect l="50000" t="50000" r="50000" b="50000"/>
              </a:path>
              <a:tileRect/>
            </a:gradFill>
          </p:grpSpPr>
          <p:sp>
            <p:nvSpPr>
              <p:cNvPr id="354" name="Freeform 26"/>
              <p:cNvSpPr>
                <a:spLocks/>
              </p:cNvSpPr>
              <p:nvPr/>
            </p:nvSpPr>
            <p:spPr bwMode="auto">
              <a:xfrm>
                <a:off x="3854921" y="3614225"/>
                <a:ext cx="356842" cy="595429"/>
              </a:xfrm>
              <a:custGeom>
                <a:avLst/>
                <a:gdLst/>
                <a:ahLst/>
                <a:cxnLst>
                  <a:cxn ang="0">
                    <a:pos x="80" y="469"/>
                  </a:cxn>
                  <a:cxn ang="0">
                    <a:pos x="104" y="417"/>
                  </a:cxn>
                  <a:cxn ang="0">
                    <a:pos x="129" y="381"/>
                  </a:cxn>
                  <a:cxn ang="0">
                    <a:pos x="150" y="368"/>
                  </a:cxn>
                  <a:cxn ang="0">
                    <a:pos x="159" y="381"/>
                  </a:cxn>
                  <a:cxn ang="0">
                    <a:pos x="159" y="415"/>
                  </a:cxn>
                  <a:cxn ang="0">
                    <a:pos x="149" y="461"/>
                  </a:cxn>
                  <a:cxn ang="0">
                    <a:pos x="138" y="510"/>
                  </a:cxn>
                  <a:cxn ang="0">
                    <a:pos x="138" y="540"/>
                  </a:cxn>
                  <a:cxn ang="0">
                    <a:pos x="150" y="552"/>
                  </a:cxn>
                  <a:cxn ang="0">
                    <a:pos x="174" y="544"/>
                  </a:cxn>
                  <a:cxn ang="0">
                    <a:pos x="189" y="519"/>
                  </a:cxn>
                  <a:cxn ang="0">
                    <a:pos x="204" y="469"/>
                  </a:cxn>
                  <a:cxn ang="0">
                    <a:pos x="216" y="429"/>
                  </a:cxn>
                  <a:cxn ang="0">
                    <a:pos x="234" y="371"/>
                  </a:cxn>
                  <a:cxn ang="0">
                    <a:pos x="293" y="217"/>
                  </a:cxn>
                  <a:cxn ang="0">
                    <a:pos x="314" y="163"/>
                  </a:cxn>
                  <a:cxn ang="0">
                    <a:pos x="329" y="125"/>
                  </a:cxn>
                  <a:cxn ang="0">
                    <a:pos x="336" y="97"/>
                  </a:cxn>
                  <a:cxn ang="0">
                    <a:pos x="343" y="42"/>
                  </a:cxn>
                  <a:cxn ang="0">
                    <a:pos x="343" y="12"/>
                  </a:cxn>
                  <a:cxn ang="0">
                    <a:pos x="338" y="0"/>
                  </a:cxn>
                  <a:cxn ang="0">
                    <a:pos x="318" y="12"/>
                  </a:cxn>
                  <a:cxn ang="0">
                    <a:pos x="289" y="42"/>
                  </a:cxn>
                  <a:cxn ang="0">
                    <a:pos x="255" y="88"/>
                  </a:cxn>
                  <a:cxn ang="0">
                    <a:pos x="220" y="143"/>
                  </a:cxn>
                  <a:cxn ang="0">
                    <a:pos x="181" y="209"/>
                  </a:cxn>
                  <a:cxn ang="0">
                    <a:pos x="146" y="266"/>
                  </a:cxn>
                  <a:cxn ang="0">
                    <a:pos x="113" y="306"/>
                  </a:cxn>
                  <a:cxn ang="0">
                    <a:pos x="80" y="339"/>
                  </a:cxn>
                  <a:cxn ang="0">
                    <a:pos x="57" y="366"/>
                  </a:cxn>
                  <a:cxn ang="0">
                    <a:pos x="47" y="380"/>
                  </a:cxn>
                  <a:cxn ang="0">
                    <a:pos x="43" y="394"/>
                  </a:cxn>
                  <a:cxn ang="0">
                    <a:pos x="32" y="421"/>
                  </a:cxn>
                  <a:cxn ang="0">
                    <a:pos x="12" y="463"/>
                  </a:cxn>
                  <a:cxn ang="0">
                    <a:pos x="0" y="513"/>
                  </a:cxn>
                  <a:cxn ang="0">
                    <a:pos x="5" y="552"/>
                  </a:cxn>
                  <a:cxn ang="0">
                    <a:pos x="21" y="572"/>
                  </a:cxn>
                  <a:cxn ang="0">
                    <a:pos x="33" y="570"/>
                  </a:cxn>
                  <a:cxn ang="0">
                    <a:pos x="47" y="552"/>
                  </a:cxn>
                  <a:cxn ang="0">
                    <a:pos x="62" y="521"/>
                  </a:cxn>
                </a:cxnLst>
                <a:rect l="0" t="0" r="r" b="b"/>
                <a:pathLst>
                  <a:path w="344" h="574">
                    <a:moveTo>
                      <a:pt x="68" y="502"/>
                    </a:moveTo>
                    <a:lnTo>
                      <a:pt x="80" y="469"/>
                    </a:lnTo>
                    <a:lnTo>
                      <a:pt x="92" y="442"/>
                    </a:lnTo>
                    <a:lnTo>
                      <a:pt x="104" y="417"/>
                    </a:lnTo>
                    <a:lnTo>
                      <a:pt x="117" y="396"/>
                    </a:lnTo>
                    <a:lnTo>
                      <a:pt x="129" y="381"/>
                    </a:lnTo>
                    <a:lnTo>
                      <a:pt x="139" y="372"/>
                    </a:lnTo>
                    <a:lnTo>
                      <a:pt x="150" y="368"/>
                    </a:lnTo>
                    <a:lnTo>
                      <a:pt x="156" y="372"/>
                    </a:lnTo>
                    <a:lnTo>
                      <a:pt x="159" y="381"/>
                    </a:lnTo>
                    <a:lnTo>
                      <a:pt x="160" y="396"/>
                    </a:lnTo>
                    <a:lnTo>
                      <a:pt x="159" y="415"/>
                    </a:lnTo>
                    <a:lnTo>
                      <a:pt x="155" y="438"/>
                    </a:lnTo>
                    <a:lnTo>
                      <a:pt x="149" y="461"/>
                    </a:lnTo>
                    <a:lnTo>
                      <a:pt x="142" y="488"/>
                    </a:lnTo>
                    <a:lnTo>
                      <a:pt x="138" y="510"/>
                    </a:lnTo>
                    <a:lnTo>
                      <a:pt x="137" y="527"/>
                    </a:lnTo>
                    <a:lnTo>
                      <a:pt x="138" y="540"/>
                    </a:lnTo>
                    <a:lnTo>
                      <a:pt x="143" y="549"/>
                    </a:lnTo>
                    <a:lnTo>
                      <a:pt x="150" y="552"/>
                    </a:lnTo>
                    <a:lnTo>
                      <a:pt x="163" y="551"/>
                    </a:lnTo>
                    <a:lnTo>
                      <a:pt x="174" y="544"/>
                    </a:lnTo>
                    <a:lnTo>
                      <a:pt x="181" y="535"/>
                    </a:lnTo>
                    <a:lnTo>
                      <a:pt x="189" y="519"/>
                    </a:lnTo>
                    <a:lnTo>
                      <a:pt x="197" y="497"/>
                    </a:lnTo>
                    <a:lnTo>
                      <a:pt x="204" y="469"/>
                    </a:lnTo>
                    <a:lnTo>
                      <a:pt x="209" y="451"/>
                    </a:lnTo>
                    <a:lnTo>
                      <a:pt x="216" y="429"/>
                    </a:lnTo>
                    <a:lnTo>
                      <a:pt x="225" y="401"/>
                    </a:lnTo>
                    <a:lnTo>
                      <a:pt x="234" y="371"/>
                    </a:lnTo>
                    <a:lnTo>
                      <a:pt x="258" y="308"/>
                    </a:lnTo>
                    <a:lnTo>
                      <a:pt x="293" y="217"/>
                    </a:lnTo>
                    <a:lnTo>
                      <a:pt x="305" y="189"/>
                    </a:lnTo>
                    <a:lnTo>
                      <a:pt x="314" y="163"/>
                    </a:lnTo>
                    <a:lnTo>
                      <a:pt x="323" y="142"/>
                    </a:lnTo>
                    <a:lnTo>
                      <a:pt x="329" y="125"/>
                    </a:lnTo>
                    <a:lnTo>
                      <a:pt x="333" y="113"/>
                    </a:lnTo>
                    <a:lnTo>
                      <a:pt x="336" y="97"/>
                    </a:lnTo>
                    <a:lnTo>
                      <a:pt x="340" y="79"/>
                    </a:lnTo>
                    <a:lnTo>
                      <a:pt x="343" y="42"/>
                    </a:lnTo>
                    <a:lnTo>
                      <a:pt x="344" y="25"/>
                    </a:lnTo>
                    <a:lnTo>
                      <a:pt x="343" y="12"/>
                    </a:lnTo>
                    <a:lnTo>
                      <a:pt x="340" y="3"/>
                    </a:lnTo>
                    <a:lnTo>
                      <a:pt x="338" y="0"/>
                    </a:lnTo>
                    <a:lnTo>
                      <a:pt x="330" y="3"/>
                    </a:lnTo>
                    <a:lnTo>
                      <a:pt x="318" y="12"/>
                    </a:lnTo>
                    <a:lnTo>
                      <a:pt x="305" y="25"/>
                    </a:lnTo>
                    <a:lnTo>
                      <a:pt x="289" y="42"/>
                    </a:lnTo>
                    <a:lnTo>
                      <a:pt x="273" y="63"/>
                    </a:lnTo>
                    <a:lnTo>
                      <a:pt x="255" y="88"/>
                    </a:lnTo>
                    <a:lnTo>
                      <a:pt x="237" y="115"/>
                    </a:lnTo>
                    <a:lnTo>
                      <a:pt x="220" y="143"/>
                    </a:lnTo>
                    <a:lnTo>
                      <a:pt x="201" y="174"/>
                    </a:lnTo>
                    <a:lnTo>
                      <a:pt x="181" y="209"/>
                    </a:lnTo>
                    <a:lnTo>
                      <a:pt x="163" y="239"/>
                    </a:lnTo>
                    <a:lnTo>
                      <a:pt x="146" y="266"/>
                    </a:lnTo>
                    <a:lnTo>
                      <a:pt x="129" y="288"/>
                    </a:lnTo>
                    <a:lnTo>
                      <a:pt x="113" y="306"/>
                    </a:lnTo>
                    <a:lnTo>
                      <a:pt x="96" y="325"/>
                    </a:lnTo>
                    <a:lnTo>
                      <a:pt x="80" y="339"/>
                    </a:lnTo>
                    <a:lnTo>
                      <a:pt x="67" y="354"/>
                    </a:lnTo>
                    <a:lnTo>
                      <a:pt x="57" y="366"/>
                    </a:lnTo>
                    <a:lnTo>
                      <a:pt x="50" y="375"/>
                    </a:lnTo>
                    <a:lnTo>
                      <a:pt x="47" y="380"/>
                    </a:lnTo>
                    <a:lnTo>
                      <a:pt x="46" y="385"/>
                    </a:lnTo>
                    <a:lnTo>
                      <a:pt x="43" y="394"/>
                    </a:lnTo>
                    <a:lnTo>
                      <a:pt x="38" y="406"/>
                    </a:lnTo>
                    <a:lnTo>
                      <a:pt x="32" y="421"/>
                    </a:lnTo>
                    <a:lnTo>
                      <a:pt x="24" y="435"/>
                    </a:lnTo>
                    <a:lnTo>
                      <a:pt x="12" y="463"/>
                    </a:lnTo>
                    <a:lnTo>
                      <a:pt x="4" y="489"/>
                    </a:lnTo>
                    <a:lnTo>
                      <a:pt x="0" y="513"/>
                    </a:lnTo>
                    <a:lnTo>
                      <a:pt x="0" y="534"/>
                    </a:lnTo>
                    <a:lnTo>
                      <a:pt x="5" y="552"/>
                    </a:lnTo>
                    <a:lnTo>
                      <a:pt x="13" y="565"/>
                    </a:lnTo>
                    <a:lnTo>
                      <a:pt x="21" y="572"/>
                    </a:lnTo>
                    <a:lnTo>
                      <a:pt x="26" y="574"/>
                    </a:lnTo>
                    <a:lnTo>
                      <a:pt x="33" y="570"/>
                    </a:lnTo>
                    <a:lnTo>
                      <a:pt x="41" y="561"/>
                    </a:lnTo>
                    <a:lnTo>
                      <a:pt x="47" y="552"/>
                    </a:lnTo>
                    <a:lnTo>
                      <a:pt x="54" y="538"/>
                    </a:lnTo>
                    <a:lnTo>
                      <a:pt x="62" y="521"/>
                    </a:lnTo>
                    <a:lnTo>
                      <a:pt x="68" y="50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5" name="Freeform 30"/>
              <p:cNvSpPr>
                <a:spLocks/>
              </p:cNvSpPr>
              <p:nvPr/>
            </p:nvSpPr>
            <p:spPr bwMode="auto">
              <a:xfrm>
                <a:off x="3750151" y="3451364"/>
                <a:ext cx="621363" cy="687752"/>
              </a:xfrm>
              <a:custGeom>
                <a:avLst/>
                <a:gdLst/>
                <a:ahLst/>
                <a:cxnLst>
                  <a:cxn ang="0">
                    <a:pos x="406" y="540"/>
                  </a:cxn>
                  <a:cxn ang="0">
                    <a:pos x="449" y="452"/>
                  </a:cxn>
                  <a:cxn ang="0">
                    <a:pos x="523" y="286"/>
                  </a:cxn>
                  <a:cxn ang="0">
                    <a:pos x="547" y="219"/>
                  </a:cxn>
                  <a:cxn ang="0">
                    <a:pos x="578" y="153"/>
                  </a:cxn>
                  <a:cxn ang="0">
                    <a:pos x="566" y="101"/>
                  </a:cxn>
                  <a:cxn ang="0">
                    <a:pos x="554" y="46"/>
                  </a:cxn>
                  <a:cxn ang="0">
                    <a:pos x="524" y="0"/>
                  </a:cxn>
                  <a:cxn ang="0">
                    <a:pos x="451" y="32"/>
                  </a:cxn>
                  <a:cxn ang="0">
                    <a:pos x="397" y="39"/>
                  </a:cxn>
                  <a:cxn ang="0">
                    <a:pos x="323" y="64"/>
                  </a:cxn>
                  <a:cxn ang="0">
                    <a:pos x="250" y="106"/>
                  </a:cxn>
                  <a:cxn ang="0">
                    <a:pos x="204" y="149"/>
                  </a:cxn>
                  <a:cxn ang="0">
                    <a:pos x="160" y="202"/>
                  </a:cxn>
                  <a:cxn ang="0">
                    <a:pos x="108" y="260"/>
                  </a:cxn>
                  <a:cxn ang="0">
                    <a:pos x="39" y="286"/>
                  </a:cxn>
                  <a:cxn ang="0">
                    <a:pos x="4" y="387"/>
                  </a:cxn>
                  <a:cxn ang="0">
                    <a:pos x="18" y="434"/>
                  </a:cxn>
                  <a:cxn ang="0">
                    <a:pos x="54" y="432"/>
                  </a:cxn>
                  <a:cxn ang="0">
                    <a:pos x="122" y="375"/>
                  </a:cxn>
                  <a:cxn ang="0">
                    <a:pos x="197" y="321"/>
                  </a:cxn>
                  <a:cxn ang="0">
                    <a:pos x="247" y="310"/>
                  </a:cxn>
                  <a:cxn ang="0">
                    <a:pos x="278" y="327"/>
                  </a:cxn>
                  <a:cxn ang="0">
                    <a:pos x="285" y="332"/>
                  </a:cxn>
                  <a:cxn ang="0">
                    <a:pos x="278" y="331"/>
                  </a:cxn>
                  <a:cxn ang="0">
                    <a:pos x="235" y="320"/>
                  </a:cxn>
                  <a:cxn ang="0">
                    <a:pos x="188" y="337"/>
                  </a:cxn>
                  <a:cxn ang="0">
                    <a:pos x="142" y="371"/>
                  </a:cxn>
                  <a:cxn ang="0">
                    <a:pos x="88" y="419"/>
                  </a:cxn>
                  <a:cxn ang="0">
                    <a:pos x="63" y="444"/>
                  </a:cxn>
                  <a:cxn ang="0">
                    <a:pos x="83" y="444"/>
                  </a:cxn>
                  <a:cxn ang="0">
                    <a:pos x="106" y="465"/>
                  </a:cxn>
                  <a:cxn ang="0">
                    <a:pos x="100" y="486"/>
                  </a:cxn>
                  <a:cxn ang="0">
                    <a:pos x="64" y="523"/>
                  </a:cxn>
                  <a:cxn ang="0">
                    <a:pos x="45" y="558"/>
                  </a:cxn>
                  <a:cxn ang="0">
                    <a:pos x="58" y="565"/>
                  </a:cxn>
                  <a:cxn ang="0">
                    <a:pos x="95" y="550"/>
                  </a:cxn>
                  <a:cxn ang="0">
                    <a:pos x="160" y="503"/>
                  </a:cxn>
                  <a:cxn ang="0">
                    <a:pos x="232" y="421"/>
                  </a:cxn>
                  <a:cxn ang="0">
                    <a:pos x="297" y="321"/>
                  </a:cxn>
                  <a:cxn ang="0">
                    <a:pos x="343" y="247"/>
                  </a:cxn>
                  <a:cxn ang="0">
                    <a:pos x="395" y="185"/>
                  </a:cxn>
                  <a:cxn ang="0">
                    <a:pos x="487" y="88"/>
                  </a:cxn>
                  <a:cxn ang="0">
                    <a:pos x="515" y="35"/>
                  </a:cxn>
                  <a:cxn ang="0">
                    <a:pos x="529" y="15"/>
                  </a:cxn>
                  <a:cxn ang="0">
                    <a:pos x="522" y="44"/>
                  </a:cxn>
                  <a:cxn ang="0">
                    <a:pos x="483" y="110"/>
                  </a:cxn>
                  <a:cxn ang="0">
                    <a:pos x="460" y="147"/>
                  </a:cxn>
                  <a:cxn ang="0">
                    <a:pos x="453" y="210"/>
                  </a:cxn>
                  <a:cxn ang="0">
                    <a:pos x="444" y="269"/>
                  </a:cxn>
                  <a:cxn ang="0">
                    <a:pos x="422" y="335"/>
                  </a:cxn>
                  <a:cxn ang="0">
                    <a:pos x="380" y="441"/>
                  </a:cxn>
                  <a:cxn ang="0">
                    <a:pos x="335" y="557"/>
                  </a:cxn>
                  <a:cxn ang="0">
                    <a:pos x="313" y="630"/>
                  </a:cxn>
                  <a:cxn ang="0">
                    <a:pos x="311" y="663"/>
                  </a:cxn>
                  <a:cxn ang="0">
                    <a:pos x="349" y="625"/>
                  </a:cxn>
                </a:cxnLst>
                <a:rect l="0" t="0" r="r" b="b"/>
                <a:pathLst>
                  <a:path w="599" h="663">
                    <a:moveTo>
                      <a:pt x="384" y="578"/>
                    </a:moveTo>
                    <a:lnTo>
                      <a:pt x="394" y="562"/>
                    </a:lnTo>
                    <a:lnTo>
                      <a:pt x="406" y="540"/>
                    </a:lnTo>
                    <a:lnTo>
                      <a:pt x="419" y="515"/>
                    </a:lnTo>
                    <a:lnTo>
                      <a:pt x="434" y="484"/>
                    </a:lnTo>
                    <a:lnTo>
                      <a:pt x="449" y="452"/>
                    </a:lnTo>
                    <a:lnTo>
                      <a:pt x="497" y="349"/>
                    </a:lnTo>
                    <a:lnTo>
                      <a:pt x="510" y="316"/>
                    </a:lnTo>
                    <a:lnTo>
                      <a:pt x="523" y="286"/>
                    </a:lnTo>
                    <a:lnTo>
                      <a:pt x="533" y="258"/>
                    </a:lnTo>
                    <a:lnTo>
                      <a:pt x="541" y="236"/>
                    </a:lnTo>
                    <a:lnTo>
                      <a:pt x="547" y="219"/>
                    </a:lnTo>
                    <a:lnTo>
                      <a:pt x="556" y="190"/>
                    </a:lnTo>
                    <a:lnTo>
                      <a:pt x="566" y="168"/>
                    </a:lnTo>
                    <a:lnTo>
                      <a:pt x="578" y="153"/>
                    </a:lnTo>
                    <a:lnTo>
                      <a:pt x="599" y="136"/>
                    </a:lnTo>
                    <a:lnTo>
                      <a:pt x="578" y="115"/>
                    </a:lnTo>
                    <a:lnTo>
                      <a:pt x="566" y="101"/>
                    </a:lnTo>
                    <a:lnTo>
                      <a:pt x="558" y="84"/>
                    </a:lnTo>
                    <a:lnTo>
                      <a:pt x="557" y="64"/>
                    </a:lnTo>
                    <a:lnTo>
                      <a:pt x="554" y="46"/>
                    </a:lnTo>
                    <a:lnTo>
                      <a:pt x="549" y="31"/>
                    </a:lnTo>
                    <a:lnTo>
                      <a:pt x="541" y="18"/>
                    </a:lnTo>
                    <a:lnTo>
                      <a:pt x="524" y="0"/>
                    </a:lnTo>
                    <a:lnTo>
                      <a:pt x="487" y="19"/>
                    </a:lnTo>
                    <a:lnTo>
                      <a:pt x="469" y="27"/>
                    </a:lnTo>
                    <a:lnTo>
                      <a:pt x="451" y="32"/>
                    </a:lnTo>
                    <a:lnTo>
                      <a:pt x="432" y="36"/>
                    </a:lnTo>
                    <a:lnTo>
                      <a:pt x="415" y="38"/>
                    </a:lnTo>
                    <a:lnTo>
                      <a:pt x="397" y="39"/>
                    </a:lnTo>
                    <a:lnTo>
                      <a:pt x="374" y="46"/>
                    </a:lnTo>
                    <a:lnTo>
                      <a:pt x="349" y="53"/>
                    </a:lnTo>
                    <a:lnTo>
                      <a:pt x="323" y="64"/>
                    </a:lnTo>
                    <a:lnTo>
                      <a:pt x="297" y="77"/>
                    </a:lnTo>
                    <a:lnTo>
                      <a:pt x="272" y="92"/>
                    </a:lnTo>
                    <a:lnTo>
                      <a:pt x="250" y="106"/>
                    </a:lnTo>
                    <a:lnTo>
                      <a:pt x="230" y="122"/>
                    </a:lnTo>
                    <a:lnTo>
                      <a:pt x="218" y="134"/>
                    </a:lnTo>
                    <a:lnTo>
                      <a:pt x="204" y="149"/>
                    </a:lnTo>
                    <a:lnTo>
                      <a:pt x="189" y="166"/>
                    </a:lnTo>
                    <a:lnTo>
                      <a:pt x="173" y="185"/>
                    </a:lnTo>
                    <a:lnTo>
                      <a:pt x="160" y="202"/>
                    </a:lnTo>
                    <a:lnTo>
                      <a:pt x="142" y="227"/>
                    </a:lnTo>
                    <a:lnTo>
                      <a:pt x="125" y="245"/>
                    </a:lnTo>
                    <a:lnTo>
                      <a:pt x="108" y="260"/>
                    </a:lnTo>
                    <a:lnTo>
                      <a:pt x="88" y="272"/>
                    </a:lnTo>
                    <a:lnTo>
                      <a:pt x="66" y="279"/>
                    </a:lnTo>
                    <a:lnTo>
                      <a:pt x="39" y="286"/>
                    </a:lnTo>
                    <a:lnTo>
                      <a:pt x="0" y="294"/>
                    </a:lnTo>
                    <a:lnTo>
                      <a:pt x="3" y="360"/>
                    </a:lnTo>
                    <a:lnTo>
                      <a:pt x="4" y="387"/>
                    </a:lnTo>
                    <a:lnTo>
                      <a:pt x="8" y="408"/>
                    </a:lnTo>
                    <a:lnTo>
                      <a:pt x="12" y="424"/>
                    </a:lnTo>
                    <a:lnTo>
                      <a:pt x="18" y="434"/>
                    </a:lnTo>
                    <a:lnTo>
                      <a:pt x="27" y="438"/>
                    </a:lnTo>
                    <a:lnTo>
                      <a:pt x="39" y="437"/>
                    </a:lnTo>
                    <a:lnTo>
                      <a:pt x="54" y="432"/>
                    </a:lnTo>
                    <a:lnTo>
                      <a:pt x="71" y="420"/>
                    </a:lnTo>
                    <a:lnTo>
                      <a:pt x="91" y="403"/>
                    </a:lnTo>
                    <a:lnTo>
                      <a:pt x="122" y="375"/>
                    </a:lnTo>
                    <a:lnTo>
                      <a:pt x="151" y="352"/>
                    </a:lnTo>
                    <a:lnTo>
                      <a:pt x="175" y="335"/>
                    </a:lnTo>
                    <a:lnTo>
                      <a:pt x="197" y="321"/>
                    </a:lnTo>
                    <a:lnTo>
                      <a:pt x="215" y="314"/>
                    </a:lnTo>
                    <a:lnTo>
                      <a:pt x="232" y="310"/>
                    </a:lnTo>
                    <a:lnTo>
                      <a:pt x="247" y="310"/>
                    </a:lnTo>
                    <a:lnTo>
                      <a:pt x="260" y="315"/>
                    </a:lnTo>
                    <a:lnTo>
                      <a:pt x="273" y="323"/>
                    </a:lnTo>
                    <a:lnTo>
                      <a:pt x="278" y="327"/>
                    </a:lnTo>
                    <a:lnTo>
                      <a:pt x="282" y="329"/>
                    </a:lnTo>
                    <a:lnTo>
                      <a:pt x="284" y="332"/>
                    </a:lnTo>
                    <a:lnTo>
                      <a:pt x="285" y="332"/>
                    </a:lnTo>
                    <a:lnTo>
                      <a:pt x="284" y="333"/>
                    </a:lnTo>
                    <a:lnTo>
                      <a:pt x="282" y="332"/>
                    </a:lnTo>
                    <a:lnTo>
                      <a:pt x="278" y="331"/>
                    </a:lnTo>
                    <a:lnTo>
                      <a:pt x="273" y="329"/>
                    </a:lnTo>
                    <a:lnTo>
                      <a:pt x="252" y="323"/>
                    </a:lnTo>
                    <a:lnTo>
                      <a:pt x="235" y="320"/>
                    </a:lnTo>
                    <a:lnTo>
                      <a:pt x="221" y="321"/>
                    </a:lnTo>
                    <a:lnTo>
                      <a:pt x="205" y="327"/>
                    </a:lnTo>
                    <a:lnTo>
                      <a:pt x="188" y="337"/>
                    </a:lnTo>
                    <a:lnTo>
                      <a:pt x="179" y="342"/>
                    </a:lnTo>
                    <a:lnTo>
                      <a:pt x="168" y="350"/>
                    </a:lnTo>
                    <a:lnTo>
                      <a:pt x="142" y="371"/>
                    </a:lnTo>
                    <a:lnTo>
                      <a:pt x="113" y="395"/>
                    </a:lnTo>
                    <a:lnTo>
                      <a:pt x="100" y="407"/>
                    </a:lnTo>
                    <a:lnTo>
                      <a:pt x="88" y="419"/>
                    </a:lnTo>
                    <a:lnTo>
                      <a:pt x="77" y="428"/>
                    </a:lnTo>
                    <a:lnTo>
                      <a:pt x="64" y="441"/>
                    </a:lnTo>
                    <a:lnTo>
                      <a:pt x="63" y="444"/>
                    </a:lnTo>
                    <a:lnTo>
                      <a:pt x="67" y="442"/>
                    </a:lnTo>
                    <a:lnTo>
                      <a:pt x="73" y="441"/>
                    </a:lnTo>
                    <a:lnTo>
                      <a:pt x="83" y="444"/>
                    </a:lnTo>
                    <a:lnTo>
                      <a:pt x="92" y="449"/>
                    </a:lnTo>
                    <a:lnTo>
                      <a:pt x="101" y="457"/>
                    </a:lnTo>
                    <a:lnTo>
                      <a:pt x="106" y="465"/>
                    </a:lnTo>
                    <a:lnTo>
                      <a:pt x="109" y="471"/>
                    </a:lnTo>
                    <a:lnTo>
                      <a:pt x="106" y="477"/>
                    </a:lnTo>
                    <a:lnTo>
                      <a:pt x="100" y="486"/>
                    </a:lnTo>
                    <a:lnTo>
                      <a:pt x="89" y="496"/>
                    </a:lnTo>
                    <a:lnTo>
                      <a:pt x="77" y="509"/>
                    </a:lnTo>
                    <a:lnTo>
                      <a:pt x="64" y="523"/>
                    </a:lnTo>
                    <a:lnTo>
                      <a:pt x="54" y="536"/>
                    </a:lnTo>
                    <a:lnTo>
                      <a:pt x="47" y="547"/>
                    </a:lnTo>
                    <a:lnTo>
                      <a:pt x="45" y="558"/>
                    </a:lnTo>
                    <a:lnTo>
                      <a:pt x="46" y="563"/>
                    </a:lnTo>
                    <a:lnTo>
                      <a:pt x="52" y="566"/>
                    </a:lnTo>
                    <a:lnTo>
                      <a:pt x="58" y="565"/>
                    </a:lnTo>
                    <a:lnTo>
                      <a:pt x="67" y="562"/>
                    </a:lnTo>
                    <a:lnTo>
                      <a:pt x="80" y="557"/>
                    </a:lnTo>
                    <a:lnTo>
                      <a:pt x="95" y="550"/>
                    </a:lnTo>
                    <a:lnTo>
                      <a:pt x="114" y="540"/>
                    </a:lnTo>
                    <a:lnTo>
                      <a:pt x="137" y="524"/>
                    </a:lnTo>
                    <a:lnTo>
                      <a:pt x="160" y="503"/>
                    </a:lnTo>
                    <a:lnTo>
                      <a:pt x="184" y="479"/>
                    </a:lnTo>
                    <a:lnTo>
                      <a:pt x="209" y="452"/>
                    </a:lnTo>
                    <a:lnTo>
                      <a:pt x="232" y="421"/>
                    </a:lnTo>
                    <a:lnTo>
                      <a:pt x="256" y="388"/>
                    </a:lnTo>
                    <a:lnTo>
                      <a:pt x="277" y="356"/>
                    </a:lnTo>
                    <a:lnTo>
                      <a:pt x="297" y="321"/>
                    </a:lnTo>
                    <a:lnTo>
                      <a:pt x="313" y="293"/>
                    </a:lnTo>
                    <a:lnTo>
                      <a:pt x="328" y="268"/>
                    </a:lnTo>
                    <a:lnTo>
                      <a:pt x="343" y="247"/>
                    </a:lnTo>
                    <a:lnTo>
                      <a:pt x="357" y="227"/>
                    </a:lnTo>
                    <a:lnTo>
                      <a:pt x="374" y="207"/>
                    </a:lnTo>
                    <a:lnTo>
                      <a:pt x="395" y="185"/>
                    </a:lnTo>
                    <a:lnTo>
                      <a:pt x="447" y="134"/>
                    </a:lnTo>
                    <a:lnTo>
                      <a:pt x="469" y="109"/>
                    </a:lnTo>
                    <a:lnTo>
                      <a:pt x="487" y="88"/>
                    </a:lnTo>
                    <a:lnTo>
                      <a:pt x="501" y="68"/>
                    </a:lnTo>
                    <a:lnTo>
                      <a:pt x="508" y="51"/>
                    </a:lnTo>
                    <a:lnTo>
                      <a:pt x="515" y="35"/>
                    </a:lnTo>
                    <a:lnTo>
                      <a:pt x="522" y="23"/>
                    </a:lnTo>
                    <a:lnTo>
                      <a:pt x="527" y="17"/>
                    </a:lnTo>
                    <a:lnTo>
                      <a:pt x="529" y="15"/>
                    </a:lnTo>
                    <a:lnTo>
                      <a:pt x="529" y="21"/>
                    </a:lnTo>
                    <a:lnTo>
                      <a:pt x="527" y="31"/>
                    </a:lnTo>
                    <a:lnTo>
                      <a:pt x="522" y="44"/>
                    </a:lnTo>
                    <a:lnTo>
                      <a:pt x="503" y="78"/>
                    </a:lnTo>
                    <a:lnTo>
                      <a:pt x="493" y="95"/>
                    </a:lnTo>
                    <a:lnTo>
                      <a:pt x="483" y="110"/>
                    </a:lnTo>
                    <a:lnTo>
                      <a:pt x="473" y="123"/>
                    </a:lnTo>
                    <a:lnTo>
                      <a:pt x="465" y="135"/>
                    </a:lnTo>
                    <a:lnTo>
                      <a:pt x="460" y="147"/>
                    </a:lnTo>
                    <a:lnTo>
                      <a:pt x="456" y="159"/>
                    </a:lnTo>
                    <a:lnTo>
                      <a:pt x="453" y="174"/>
                    </a:lnTo>
                    <a:lnTo>
                      <a:pt x="453" y="210"/>
                    </a:lnTo>
                    <a:lnTo>
                      <a:pt x="451" y="239"/>
                    </a:lnTo>
                    <a:lnTo>
                      <a:pt x="448" y="253"/>
                    </a:lnTo>
                    <a:lnTo>
                      <a:pt x="444" y="269"/>
                    </a:lnTo>
                    <a:lnTo>
                      <a:pt x="437" y="287"/>
                    </a:lnTo>
                    <a:lnTo>
                      <a:pt x="431" y="310"/>
                    </a:lnTo>
                    <a:lnTo>
                      <a:pt x="422" y="335"/>
                    </a:lnTo>
                    <a:lnTo>
                      <a:pt x="410" y="365"/>
                    </a:lnTo>
                    <a:lnTo>
                      <a:pt x="397" y="400"/>
                    </a:lnTo>
                    <a:lnTo>
                      <a:pt x="380" y="441"/>
                    </a:lnTo>
                    <a:lnTo>
                      <a:pt x="363" y="484"/>
                    </a:lnTo>
                    <a:lnTo>
                      <a:pt x="348" y="524"/>
                    </a:lnTo>
                    <a:lnTo>
                      <a:pt x="335" y="557"/>
                    </a:lnTo>
                    <a:lnTo>
                      <a:pt x="326" y="586"/>
                    </a:lnTo>
                    <a:lnTo>
                      <a:pt x="318" y="609"/>
                    </a:lnTo>
                    <a:lnTo>
                      <a:pt x="313" y="630"/>
                    </a:lnTo>
                    <a:lnTo>
                      <a:pt x="310" y="646"/>
                    </a:lnTo>
                    <a:lnTo>
                      <a:pt x="309" y="659"/>
                    </a:lnTo>
                    <a:lnTo>
                      <a:pt x="311" y="663"/>
                    </a:lnTo>
                    <a:lnTo>
                      <a:pt x="317" y="662"/>
                    </a:lnTo>
                    <a:lnTo>
                      <a:pt x="336" y="642"/>
                    </a:lnTo>
                    <a:lnTo>
                      <a:pt x="349" y="625"/>
                    </a:lnTo>
                    <a:lnTo>
                      <a:pt x="366" y="604"/>
                    </a:lnTo>
                    <a:lnTo>
                      <a:pt x="384" y="57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6" name="Freeform 40"/>
              <p:cNvSpPr>
                <a:spLocks/>
              </p:cNvSpPr>
              <p:nvPr/>
            </p:nvSpPr>
            <p:spPr bwMode="auto">
              <a:xfrm>
                <a:off x="3598701" y="3358004"/>
                <a:ext cx="680490" cy="385888"/>
              </a:xfrm>
              <a:custGeom>
                <a:avLst/>
                <a:gdLst/>
                <a:ahLst/>
                <a:cxnLst>
                  <a:cxn ang="0">
                    <a:pos x="243" y="343"/>
                  </a:cxn>
                  <a:cxn ang="0">
                    <a:pos x="272" y="319"/>
                  </a:cxn>
                  <a:cxn ang="0">
                    <a:pos x="306" y="276"/>
                  </a:cxn>
                  <a:cxn ang="0">
                    <a:pos x="373" y="201"/>
                  </a:cxn>
                  <a:cxn ang="0">
                    <a:pos x="448" y="151"/>
                  </a:cxn>
                  <a:cxn ang="0">
                    <a:pos x="532" y="121"/>
                  </a:cxn>
                  <a:cxn ang="0">
                    <a:pos x="603" y="111"/>
                  </a:cxn>
                  <a:cxn ang="0">
                    <a:pos x="639" y="96"/>
                  </a:cxn>
                  <a:cxn ang="0">
                    <a:pos x="656" y="75"/>
                  </a:cxn>
                  <a:cxn ang="0">
                    <a:pos x="650" y="51"/>
                  </a:cxn>
                  <a:cxn ang="0">
                    <a:pos x="631" y="33"/>
                  </a:cxn>
                  <a:cxn ang="0">
                    <a:pos x="623" y="13"/>
                  </a:cxn>
                  <a:cxn ang="0">
                    <a:pos x="619" y="2"/>
                  </a:cxn>
                  <a:cxn ang="0">
                    <a:pos x="599" y="0"/>
                  </a:cxn>
                  <a:cxn ang="0">
                    <a:pos x="566" y="5"/>
                  </a:cxn>
                  <a:cxn ang="0">
                    <a:pos x="527" y="13"/>
                  </a:cxn>
                  <a:cxn ang="0">
                    <a:pos x="478" y="25"/>
                  </a:cxn>
                  <a:cxn ang="0">
                    <a:pos x="368" y="50"/>
                  </a:cxn>
                  <a:cxn ang="0">
                    <a:pos x="317" y="54"/>
                  </a:cxn>
                  <a:cxn ang="0">
                    <a:pos x="244" y="58"/>
                  </a:cxn>
                  <a:cxn ang="0">
                    <a:pos x="158" y="61"/>
                  </a:cxn>
                  <a:cxn ang="0">
                    <a:pos x="87" y="63"/>
                  </a:cxn>
                  <a:cxn ang="0">
                    <a:pos x="36" y="66"/>
                  </a:cxn>
                  <a:cxn ang="0">
                    <a:pos x="12" y="69"/>
                  </a:cxn>
                  <a:cxn ang="0">
                    <a:pos x="0" y="86"/>
                  </a:cxn>
                  <a:cxn ang="0">
                    <a:pos x="9" y="122"/>
                  </a:cxn>
                  <a:cxn ang="0">
                    <a:pos x="32" y="167"/>
                  </a:cxn>
                  <a:cxn ang="0">
                    <a:pos x="51" y="212"/>
                  </a:cxn>
                  <a:cxn ang="0">
                    <a:pos x="72" y="268"/>
                  </a:cxn>
                  <a:cxn ang="0">
                    <a:pos x="99" y="325"/>
                  </a:cxn>
                  <a:cxn ang="0">
                    <a:pos x="125" y="360"/>
                  </a:cxn>
                  <a:cxn ang="0">
                    <a:pos x="141" y="372"/>
                  </a:cxn>
                  <a:cxn ang="0">
                    <a:pos x="166" y="371"/>
                  </a:cxn>
                  <a:cxn ang="0">
                    <a:pos x="196" y="363"/>
                  </a:cxn>
                  <a:cxn ang="0">
                    <a:pos x="229" y="351"/>
                  </a:cxn>
                </a:cxnLst>
                <a:rect l="0" t="0" r="r" b="b"/>
                <a:pathLst>
                  <a:path w="656" h="372">
                    <a:moveTo>
                      <a:pt x="229" y="351"/>
                    </a:moveTo>
                    <a:lnTo>
                      <a:pt x="243" y="343"/>
                    </a:lnTo>
                    <a:lnTo>
                      <a:pt x="256" y="334"/>
                    </a:lnTo>
                    <a:lnTo>
                      <a:pt x="272" y="319"/>
                    </a:lnTo>
                    <a:lnTo>
                      <a:pt x="288" y="301"/>
                    </a:lnTo>
                    <a:lnTo>
                      <a:pt x="306" y="276"/>
                    </a:lnTo>
                    <a:lnTo>
                      <a:pt x="339" y="235"/>
                    </a:lnTo>
                    <a:lnTo>
                      <a:pt x="373" y="201"/>
                    </a:lnTo>
                    <a:lnTo>
                      <a:pt x="410" y="174"/>
                    </a:lnTo>
                    <a:lnTo>
                      <a:pt x="448" y="151"/>
                    </a:lnTo>
                    <a:lnTo>
                      <a:pt x="489" y="133"/>
                    </a:lnTo>
                    <a:lnTo>
                      <a:pt x="532" y="121"/>
                    </a:lnTo>
                    <a:lnTo>
                      <a:pt x="580" y="115"/>
                    </a:lnTo>
                    <a:lnTo>
                      <a:pt x="603" y="111"/>
                    </a:lnTo>
                    <a:lnTo>
                      <a:pt x="623" y="105"/>
                    </a:lnTo>
                    <a:lnTo>
                      <a:pt x="639" y="96"/>
                    </a:lnTo>
                    <a:lnTo>
                      <a:pt x="649" y="86"/>
                    </a:lnTo>
                    <a:lnTo>
                      <a:pt x="656" y="75"/>
                    </a:lnTo>
                    <a:lnTo>
                      <a:pt x="656" y="63"/>
                    </a:lnTo>
                    <a:lnTo>
                      <a:pt x="650" y="51"/>
                    </a:lnTo>
                    <a:lnTo>
                      <a:pt x="639" y="41"/>
                    </a:lnTo>
                    <a:lnTo>
                      <a:pt x="631" y="33"/>
                    </a:lnTo>
                    <a:lnTo>
                      <a:pt x="625" y="23"/>
                    </a:lnTo>
                    <a:lnTo>
                      <a:pt x="623" y="13"/>
                    </a:lnTo>
                    <a:lnTo>
                      <a:pt x="622" y="7"/>
                    </a:lnTo>
                    <a:lnTo>
                      <a:pt x="619" y="2"/>
                    </a:lnTo>
                    <a:lnTo>
                      <a:pt x="612" y="0"/>
                    </a:lnTo>
                    <a:lnTo>
                      <a:pt x="599" y="0"/>
                    </a:lnTo>
                    <a:lnTo>
                      <a:pt x="581" y="3"/>
                    </a:lnTo>
                    <a:lnTo>
                      <a:pt x="566" y="5"/>
                    </a:lnTo>
                    <a:lnTo>
                      <a:pt x="548" y="8"/>
                    </a:lnTo>
                    <a:lnTo>
                      <a:pt x="527" y="13"/>
                    </a:lnTo>
                    <a:lnTo>
                      <a:pt x="503" y="19"/>
                    </a:lnTo>
                    <a:lnTo>
                      <a:pt x="478" y="25"/>
                    </a:lnTo>
                    <a:lnTo>
                      <a:pt x="431" y="38"/>
                    </a:lnTo>
                    <a:lnTo>
                      <a:pt x="368" y="50"/>
                    </a:lnTo>
                    <a:lnTo>
                      <a:pt x="344" y="53"/>
                    </a:lnTo>
                    <a:lnTo>
                      <a:pt x="317" y="54"/>
                    </a:lnTo>
                    <a:lnTo>
                      <a:pt x="284" y="55"/>
                    </a:lnTo>
                    <a:lnTo>
                      <a:pt x="244" y="58"/>
                    </a:lnTo>
                    <a:lnTo>
                      <a:pt x="197" y="59"/>
                    </a:lnTo>
                    <a:lnTo>
                      <a:pt x="158" y="61"/>
                    </a:lnTo>
                    <a:lnTo>
                      <a:pt x="120" y="62"/>
                    </a:lnTo>
                    <a:lnTo>
                      <a:pt x="87" y="63"/>
                    </a:lnTo>
                    <a:lnTo>
                      <a:pt x="58" y="65"/>
                    </a:lnTo>
                    <a:lnTo>
                      <a:pt x="36" y="66"/>
                    </a:lnTo>
                    <a:lnTo>
                      <a:pt x="20" y="67"/>
                    </a:lnTo>
                    <a:lnTo>
                      <a:pt x="12" y="69"/>
                    </a:lnTo>
                    <a:lnTo>
                      <a:pt x="4" y="75"/>
                    </a:lnTo>
                    <a:lnTo>
                      <a:pt x="0" y="86"/>
                    </a:lnTo>
                    <a:lnTo>
                      <a:pt x="3" y="101"/>
                    </a:lnTo>
                    <a:lnTo>
                      <a:pt x="9" y="122"/>
                    </a:lnTo>
                    <a:lnTo>
                      <a:pt x="22" y="147"/>
                    </a:lnTo>
                    <a:lnTo>
                      <a:pt x="32" y="167"/>
                    </a:lnTo>
                    <a:lnTo>
                      <a:pt x="42" y="189"/>
                    </a:lnTo>
                    <a:lnTo>
                      <a:pt x="51" y="212"/>
                    </a:lnTo>
                    <a:lnTo>
                      <a:pt x="59" y="231"/>
                    </a:lnTo>
                    <a:lnTo>
                      <a:pt x="72" y="268"/>
                    </a:lnTo>
                    <a:lnTo>
                      <a:pt x="84" y="298"/>
                    </a:lnTo>
                    <a:lnTo>
                      <a:pt x="99" y="325"/>
                    </a:lnTo>
                    <a:lnTo>
                      <a:pt x="116" y="350"/>
                    </a:lnTo>
                    <a:lnTo>
                      <a:pt x="125" y="360"/>
                    </a:lnTo>
                    <a:lnTo>
                      <a:pt x="133" y="368"/>
                    </a:lnTo>
                    <a:lnTo>
                      <a:pt x="141" y="372"/>
                    </a:lnTo>
                    <a:lnTo>
                      <a:pt x="151" y="372"/>
                    </a:lnTo>
                    <a:lnTo>
                      <a:pt x="166" y="371"/>
                    </a:lnTo>
                    <a:lnTo>
                      <a:pt x="180" y="368"/>
                    </a:lnTo>
                    <a:lnTo>
                      <a:pt x="196" y="363"/>
                    </a:lnTo>
                    <a:lnTo>
                      <a:pt x="213" y="358"/>
                    </a:lnTo>
                    <a:lnTo>
                      <a:pt x="229" y="35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7" name="Freeform 46"/>
              <p:cNvSpPr>
                <a:spLocks/>
              </p:cNvSpPr>
              <p:nvPr/>
            </p:nvSpPr>
            <p:spPr bwMode="auto">
              <a:xfrm>
                <a:off x="3381898" y="3031244"/>
                <a:ext cx="846463" cy="369290"/>
              </a:xfrm>
              <a:custGeom>
                <a:avLst/>
                <a:gdLst/>
                <a:ahLst/>
                <a:cxnLst>
                  <a:cxn ang="0">
                    <a:pos x="669" y="320"/>
                  </a:cxn>
                  <a:cxn ang="0">
                    <a:pos x="723" y="307"/>
                  </a:cxn>
                  <a:cxn ang="0">
                    <a:pos x="766" y="301"/>
                  </a:cxn>
                  <a:cxn ang="0">
                    <a:pos x="808" y="294"/>
                  </a:cxn>
                  <a:cxn ang="0">
                    <a:pos x="816" y="286"/>
                  </a:cxn>
                  <a:cxn ang="0">
                    <a:pos x="790" y="277"/>
                  </a:cxn>
                  <a:cxn ang="0">
                    <a:pos x="731" y="267"/>
                  </a:cxn>
                  <a:cxn ang="0">
                    <a:pos x="640" y="253"/>
                  </a:cxn>
                  <a:cxn ang="0">
                    <a:pos x="528" y="240"/>
                  </a:cxn>
                  <a:cxn ang="0">
                    <a:pos x="436" y="221"/>
                  </a:cxn>
                  <a:cxn ang="0">
                    <a:pos x="364" y="194"/>
                  </a:cxn>
                  <a:cxn ang="0">
                    <a:pos x="308" y="156"/>
                  </a:cxn>
                  <a:cxn ang="0">
                    <a:pos x="260" y="106"/>
                  </a:cxn>
                  <a:cxn ang="0">
                    <a:pos x="231" y="69"/>
                  </a:cxn>
                  <a:cxn ang="0">
                    <a:pos x="204" y="41"/>
                  </a:cxn>
                  <a:cxn ang="0">
                    <a:pos x="189" y="34"/>
                  </a:cxn>
                  <a:cxn ang="0">
                    <a:pos x="172" y="33"/>
                  </a:cxn>
                  <a:cxn ang="0">
                    <a:pos x="137" y="26"/>
                  </a:cxn>
                  <a:cxn ang="0">
                    <a:pos x="88" y="14"/>
                  </a:cxn>
                  <a:cxn ang="0">
                    <a:pos x="36" y="2"/>
                  </a:cxn>
                  <a:cxn ang="0">
                    <a:pos x="7" y="0"/>
                  </a:cxn>
                  <a:cxn ang="0">
                    <a:pos x="0" y="10"/>
                  </a:cxn>
                  <a:cxn ang="0">
                    <a:pos x="13" y="31"/>
                  </a:cxn>
                  <a:cxn ang="0">
                    <a:pos x="38" y="62"/>
                  </a:cxn>
                  <a:cxn ang="0">
                    <a:pos x="51" y="89"/>
                  </a:cxn>
                  <a:cxn ang="0">
                    <a:pos x="57" y="134"/>
                  </a:cxn>
                  <a:cxn ang="0">
                    <a:pos x="88" y="193"/>
                  </a:cxn>
                  <a:cxn ang="0">
                    <a:pos x="114" y="201"/>
                  </a:cxn>
                  <a:cxn ang="0">
                    <a:pos x="132" y="215"/>
                  </a:cxn>
                  <a:cxn ang="0">
                    <a:pos x="137" y="231"/>
                  </a:cxn>
                  <a:cxn ang="0">
                    <a:pos x="128" y="242"/>
                  </a:cxn>
                  <a:cxn ang="0">
                    <a:pos x="97" y="246"/>
                  </a:cxn>
                  <a:cxn ang="0">
                    <a:pos x="92" y="256"/>
                  </a:cxn>
                  <a:cxn ang="0">
                    <a:pos x="108" y="271"/>
                  </a:cxn>
                  <a:cxn ang="0">
                    <a:pos x="134" y="281"/>
                  </a:cxn>
                  <a:cxn ang="0">
                    <a:pos x="178" y="286"/>
                  </a:cxn>
                  <a:cxn ang="0">
                    <a:pos x="234" y="310"/>
                  </a:cxn>
                  <a:cxn ang="0">
                    <a:pos x="284" y="356"/>
                  </a:cxn>
                  <a:cxn ang="0">
                    <a:pos x="472" y="351"/>
                  </a:cxn>
                  <a:cxn ang="0">
                    <a:pos x="536" y="348"/>
                  </a:cxn>
                  <a:cxn ang="0">
                    <a:pos x="581" y="343"/>
                  </a:cxn>
                  <a:cxn ang="0">
                    <a:pos x="622" y="334"/>
                  </a:cxn>
                </a:cxnLst>
                <a:rect l="0" t="0" r="r" b="b"/>
                <a:pathLst>
                  <a:path w="816" h="356">
                    <a:moveTo>
                      <a:pt x="644" y="327"/>
                    </a:moveTo>
                    <a:lnTo>
                      <a:pt x="669" y="320"/>
                    </a:lnTo>
                    <a:lnTo>
                      <a:pt x="697" y="314"/>
                    </a:lnTo>
                    <a:lnTo>
                      <a:pt x="723" y="307"/>
                    </a:lnTo>
                    <a:lnTo>
                      <a:pt x="746" y="303"/>
                    </a:lnTo>
                    <a:lnTo>
                      <a:pt x="766" y="301"/>
                    </a:lnTo>
                    <a:lnTo>
                      <a:pt x="791" y="298"/>
                    </a:lnTo>
                    <a:lnTo>
                      <a:pt x="808" y="294"/>
                    </a:lnTo>
                    <a:lnTo>
                      <a:pt x="816" y="292"/>
                    </a:lnTo>
                    <a:lnTo>
                      <a:pt x="816" y="286"/>
                    </a:lnTo>
                    <a:lnTo>
                      <a:pt x="807" y="282"/>
                    </a:lnTo>
                    <a:lnTo>
                      <a:pt x="790" y="277"/>
                    </a:lnTo>
                    <a:lnTo>
                      <a:pt x="765" y="272"/>
                    </a:lnTo>
                    <a:lnTo>
                      <a:pt x="731" y="267"/>
                    </a:lnTo>
                    <a:lnTo>
                      <a:pt x="690" y="260"/>
                    </a:lnTo>
                    <a:lnTo>
                      <a:pt x="640" y="253"/>
                    </a:lnTo>
                    <a:lnTo>
                      <a:pt x="584" y="247"/>
                    </a:lnTo>
                    <a:lnTo>
                      <a:pt x="528" y="240"/>
                    </a:lnTo>
                    <a:lnTo>
                      <a:pt x="478" y="231"/>
                    </a:lnTo>
                    <a:lnTo>
                      <a:pt x="436" y="221"/>
                    </a:lnTo>
                    <a:lnTo>
                      <a:pt x="398" y="209"/>
                    </a:lnTo>
                    <a:lnTo>
                      <a:pt x="364" y="194"/>
                    </a:lnTo>
                    <a:lnTo>
                      <a:pt x="334" y="177"/>
                    </a:lnTo>
                    <a:lnTo>
                      <a:pt x="308" y="156"/>
                    </a:lnTo>
                    <a:lnTo>
                      <a:pt x="283" y="134"/>
                    </a:lnTo>
                    <a:lnTo>
                      <a:pt x="260" y="106"/>
                    </a:lnTo>
                    <a:lnTo>
                      <a:pt x="245" y="85"/>
                    </a:lnTo>
                    <a:lnTo>
                      <a:pt x="231" y="69"/>
                    </a:lnTo>
                    <a:lnTo>
                      <a:pt x="220" y="56"/>
                    </a:lnTo>
                    <a:lnTo>
                      <a:pt x="204" y="41"/>
                    </a:lnTo>
                    <a:lnTo>
                      <a:pt x="196" y="37"/>
                    </a:lnTo>
                    <a:lnTo>
                      <a:pt x="189" y="34"/>
                    </a:lnTo>
                    <a:lnTo>
                      <a:pt x="181" y="34"/>
                    </a:lnTo>
                    <a:lnTo>
                      <a:pt x="172" y="33"/>
                    </a:lnTo>
                    <a:lnTo>
                      <a:pt x="156" y="30"/>
                    </a:lnTo>
                    <a:lnTo>
                      <a:pt x="137" y="26"/>
                    </a:lnTo>
                    <a:lnTo>
                      <a:pt x="113" y="21"/>
                    </a:lnTo>
                    <a:lnTo>
                      <a:pt x="88" y="14"/>
                    </a:lnTo>
                    <a:lnTo>
                      <a:pt x="58" y="8"/>
                    </a:lnTo>
                    <a:lnTo>
                      <a:pt x="36" y="2"/>
                    </a:lnTo>
                    <a:lnTo>
                      <a:pt x="19" y="0"/>
                    </a:lnTo>
                    <a:lnTo>
                      <a:pt x="7" y="0"/>
                    </a:lnTo>
                    <a:lnTo>
                      <a:pt x="1" y="4"/>
                    </a:lnTo>
                    <a:lnTo>
                      <a:pt x="0" y="10"/>
                    </a:lnTo>
                    <a:lnTo>
                      <a:pt x="4" y="20"/>
                    </a:lnTo>
                    <a:lnTo>
                      <a:pt x="13" y="31"/>
                    </a:lnTo>
                    <a:lnTo>
                      <a:pt x="26" y="47"/>
                    </a:lnTo>
                    <a:lnTo>
                      <a:pt x="38" y="62"/>
                    </a:lnTo>
                    <a:lnTo>
                      <a:pt x="46" y="75"/>
                    </a:lnTo>
                    <a:lnTo>
                      <a:pt x="51" y="89"/>
                    </a:lnTo>
                    <a:lnTo>
                      <a:pt x="54" y="108"/>
                    </a:lnTo>
                    <a:lnTo>
                      <a:pt x="57" y="134"/>
                    </a:lnTo>
                    <a:lnTo>
                      <a:pt x="61" y="190"/>
                    </a:lnTo>
                    <a:lnTo>
                      <a:pt x="88" y="193"/>
                    </a:lnTo>
                    <a:lnTo>
                      <a:pt x="101" y="196"/>
                    </a:lnTo>
                    <a:lnTo>
                      <a:pt x="114" y="201"/>
                    </a:lnTo>
                    <a:lnTo>
                      <a:pt x="124" y="207"/>
                    </a:lnTo>
                    <a:lnTo>
                      <a:pt x="132" y="215"/>
                    </a:lnTo>
                    <a:lnTo>
                      <a:pt x="135" y="223"/>
                    </a:lnTo>
                    <a:lnTo>
                      <a:pt x="137" y="231"/>
                    </a:lnTo>
                    <a:lnTo>
                      <a:pt x="135" y="238"/>
                    </a:lnTo>
                    <a:lnTo>
                      <a:pt x="128" y="242"/>
                    </a:lnTo>
                    <a:lnTo>
                      <a:pt x="107" y="244"/>
                    </a:lnTo>
                    <a:lnTo>
                      <a:pt x="97" y="246"/>
                    </a:lnTo>
                    <a:lnTo>
                      <a:pt x="92" y="249"/>
                    </a:lnTo>
                    <a:lnTo>
                      <a:pt x="92" y="256"/>
                    </a:lnTo>
                    <a:lnTo>
                      <a:pt x="97" y="263"/>
                    </a:lnTo>
                    <a:lnTo>
                      <a:pt x="108" y="271"/>
                    </a:lnTo>
                    <a:lnTo>
                      <a:pt x="120" y="277"/>
                    </a:lnTo>
                    <a:lnTo>
                      <a:pt x="134" y="281"/>
                    </a:lnTo>
                    <a:lnTo>
                      <a:pt x="147" y="282"/>
                    </a:lnTo>
                    <a:lnTo>
                      <a:pt x="178" y="286"/>
                    </a:lnTo>
                    <a:lnTo>
                      <a:pt x="208" y="295"/>
                    </a:lnTo>
                    <a:lnTo>
                      <a:pt x="234" y="310"/>
                    </a:lnTo>
                    <a:lnTo>
                      <a:pt x="258" y="328"/>
                    </a:lnTo>
                    <a:lnTo>
                      <a:pt x="284" y="356"/>
                    </a:lnTo>
                    <a:lnTo>
                      <a:pt x="428" y="352"/>
                    </a:lnTo>
                    <a:lnTo>
                      <a:pt x="472" y="351"/>
                    </a:lnTo>
                    <a:lnTo>
                      <a:pt x="507" y="349"/>
                    </a:lnTo>
                    <a:lnTo>
                      <a:pt x="536" y="348"/>
                    </a:lnTo>
                    <a:lnTo>
                      <a:pt x="560" y="345"/>
                    </a:lnTo>
                    <a:lnTo>
                      <a:pt x="581" y="343"/>
                    </a:lnTo>
                    <a:lnTo>
                      <a:pt x="601" y="339"/>
                    </a:lnTo>
                    <a:lnTo>
                      <a:pt x="622" y="334"/>
                    </a:lnTo>
                    <a:lnTo>
                      <a:pt x="644" y="327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8" name="Freeform 48"/>
              <p:cNvSpPr>
                <a:spLocks/>
              </p:cNvSpPr>
              <p:nvPr/>
            </p:nvSpPr>
            <p:spPr bwMode="auto">
              <a:xfrm>
                <a:off x="3627746" y="3054065"/>
                <a:ext cx="549786" cy="243774"/>
              </a:xfrm>
              <a:custGeom>
                <a:avLst/>
                <a:gdLst/>
                <a:ahLst/>
                <a:cxnLst>
                  <a:cxn ang="0">
                    <a:pos x="520" y="226"/>
                  </a:cxn>
                  <a:cxn ang="0">
                    <a:pos x="503" y="214"/>
                  </a:cxn>
                  <a:cxn ang="0">
                    <a:pos x="483" y="199"/>
                  </a:cxn>
                  <a:cxn ang="0">
                    <a:pos x="446" y="162"/>
                  </a:cxn>
                  <a:cxn ang="0">
                    <a:pos x="431" y="143"/>
                  </a:cxn>
                  <a:cxn ang="0">
                    <a:pos x="417" y="125"/>
                  </a:cxn>
                  <a:cxn ang="0">
                    <a:pos x="410" y="111"/>
                  </a:cxn>
                  <a:cxn ang="0">
                    <a:pos x="400" y="95"/>
                  </a:cxn>
                  <a:cxn ang="0">
                    <a:pos x="393" y="83"/>
                  </a:cxn>
                  <a:cxn ang="0">
                    <a:pos x="382" y="75"/>
                  </a:cxn>
                  <a:cxn ang="0">
                    <a:pos x="369" y="70"/>
                  </a:cxn>
                  <a:cxn ang="0">
                    <a:pos x="357" y="66"/>
                  </a:cxn>
                  <a:cxn ang="0">
                    <a:pos x="343" y="61"/>
                  </a:cxn>
                  <a:cxn ang="0">
                    <a:pos x="323" y="54"/>
                  </a:cxn>
                  <a:cxn ang="0">
                    <a:pos x="303" y="46"/>
                  </a:cxn>
                  <a:cxn ang="0">
                    <a:pos x="240" y="23"/>
                  </a:cxn>
                  <a:cxn ang="0">
                    <a:pos x="203" y="11"/>
                  </a:cxn>
                  <a:cxn ang="0">
                    <a:pos x="167" y="4"/>
                  </a:cxn>
                  <a:cxn ang="0">
                    <a:pos x="134" y="0"/>
                  </a:cxn>
                  <a:cxn ang="0">
                    <a:pos x="101" y="0"/>
                  </a:cxn>
                  <a:cxn ang="0">
                    <a:pos x="68" y="4"/>
                  </a:cxn>
                  <a:cxn ang="0">
                    <a:pos x="39" y="9"/>
                  </a:cxn>
                  <a:cxn ang="0">
                    <a:pos x="18" y="15"/>
                  </a:cxn>
                  <a:cxn ang="0">
                    <a:pos x="5" y="20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6" y="46"/>
                  </a:cxn>
                  <a:cxn ang="0">
                    <a:pos x="17" y="62"/>
                  </a:cxn>
                  <a:cxn ang="0">
                    <a:pos x="40" y="92"/>
                  </a:cxn>
                  <a:cxn ang="0">
                    <a:pos x="69" y="120"/>
                  </a:cxn>
                  <a:cxn ang="0">
                    <a:pos x="102" y="145"/>
                  </a:cxn>
                  <a:cxn ang="0">
                    <a:pos x="135" y="166"/>
                  </a:cxn>
                  <a:cxn ang="0">
                    <a:pos x="168" y="180"/>
                  </a:cxn>
                  <a:cxn ang="0">
                    <a:pos x="188" y="187"/>
                  </a:cxn>
                  <a:cxn ang="0">
                    <a:pos x="214" y="193"/>
                  </a:cxn>
                  <a:cxn ang="0">
                    <a:pos x="245" y="200"/>
                  </a:cxn>
                  <a:cxn ang="0">
                    <a:pos x="278" y="205"/>
                  </a:cxn>
                  <a:cxn ang="0">
                    <a:pos x="344" y="213"/>
                  </a:cxn>
                  <a:cxn ang="0">
                    <a:pos x="407" y="221"/>
                  </a:cxn>
                  <a:cxn ang="0">
                    <a:pos x="432" y="225"/>
                  </a:cxn>
                  <a:cxn ang="0">
                    <a:pos x="452" y="227"/>
                  </a:cxn>
                  <a:cxn ang="0">
                    <a:pos x="488" y="233"/>
                  </a:cxn>
                  <a:cxn ang="0">
                    <a:pos x="504" y="234"/>
                  </a:cxn>
                  <a:cxn ang="0">
                    <a:pos x="515" y="235"/>
                  </a:cxn>
                  <a:cxn ang="0">
                    <a:pos x="529" y="235"/>
                  </a:cxn>
                  <a:cxn ang="0">
                    <a:pos x="530" y="234"/>
                  </a:cxn>
                  <a:cxn ang="0">
                    <a:pos x="530" y="233"/>
                  </a:cxn>
                  <a:cxn ang="0">
                    <a:pos x="528" y="231"/>
                  </a:cxn>
                  <a:cxn ang="0">
                    <a:pos x="525" y="229"/>
                  </a:cxn>
                  <a:cxn ang="0">
                    <a:pos x="520" y="226"/>
                  </a:cxn>
                </a:cxnLst>
                <a:rect l="0" t="0" r="r" b="b"/>
                <a:pathLst>
                  <a:path w="530" h="235">
                    <a:moveTo>
                      <a:pt x="520" y="226"/>
                    </a:moveTo>
                    <a:lnTo>
                      <a:pt x="503" y="214"/>
                    </a:lnTo>
                    <a:lnTo>
                      <a:pt x="483" y="199"/>
                    </a:lnTo>
                    <a:lnTo>
                      <a:pt x="446" y="162"/>
                    </a:lnTo>
                    <a:lnTo>
                      <a:pt x="431" y="143"/>
                    </a:lnTo>
                    <a:lnTo>
                      <a:pt x="417" y="125"/>
                    </a:lnTo>
                    <a:lnTo>
                      <a:pt x="410" y="111"/>
                    </a:lnTo>
                    <a:lnTo>
                      <a:pt x="400" y="95"/>
                    </a:lnTo>
                    <a:lnTo>
                      <a:pt x="393" y="83"/>
                    </a:lnTo>
                    <a:lnTo>
                      <a:pt x="382" y="75"/>
                    </a:lnTo>
                    <a:lnTo>
                      <a:pt x="369" y="70"/>
                    </a:lnTo>
                    <a:lnTo>
                      <a:pt x="357" y="66"/>
                    </a:lnTo>
                    <a:lnTo>
                      <a:pt x="343" y="61"/>
                    </a:lnTo>
                    <a:lnTo>
                      <a:pt x="323" y="54"/>
                    </a:lnTo>
                    <a:lnTo>
                      <a:pt x="303" y="46"/>
                    </a:lnTo>
                    <a:lnTo>
                      <a:pt x="240" y="23"/>
                    </a:lnTo>
                    <a:lnTo>
                      <a:pt x="203" y="11"/>
                    </a:lnTo>
                    <a:lnTo>
                      <a:pt x="167" y="4"/>
                    </a:lnTo>
                    <a:lnTo>
                      <a:pt x="134" y="0"/>
                    </a:lnTo>
                    <a:lnTo>
                      <a:pt x="101" y="0"/>
                    </a:lnTo>
                    <a:lnTo>
                      <a:pt x="68" y="4"/>
                    </a:lnTo>
                    <a:lnTo>
                      <a:pt x="39" y="9"/>
                    </a:lnTo>
                    <a:lnTo>
                      <a:pt x="18" y="15"/>
                    </a:lnTo>
                    <a:lnTo>
                      <a:pt x="5" y="20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6" y="46"/>
                    </a:lnTo>
                    <a:lnTo>
                      <a:pt x="17" y="62"/>
                    </a:lnTo>
                    <a:lnTo>
                      <a:pt x="40" y="92"/>
                    </a:lnTo>
                    <a:lnTo>
                      <a:pt x="69" y="120"/>
                    </a:lnTo>
                    <a:lnTo>
                      <a:pt x="102" y="145"/>
                    </a:lnTo>
                    <a:lnTo>
                      <a:pt x="135" y="166"/>
                    </a:lnTo>
                    <a:lnTo>
                      <a:pt x="168" y="180"/>
                    </a:lnTo>
                    <a:lnTo>
                      <a:pt x="188" y="187"/>
                    </a:lnTo>
                    <a:lnTo>
                      <a:pt x="214" y="193"/>
                    </a:lnTo>
                    <a:lnTo>
                      <a:pt x="245" y="200"/>
                    </a:lnTo>
                    <a:lnTo>
                      <a:pt x="278" y="205"/>
                    </a:lnTo>
                    <a:lnTo>
                      <a:pt x="344" y="213"/>
                    </a:lnTo>
                    <a:lnTo>
                      <a:pt x="407" y="221"/>
                    </a:lnTo>
                    <a:lnTo>
                      <a:pt x="432" y="225"/>
                    </a:lnTo>
                    <a:lnTo>
                      <a:pt x="452" y="227"/>
                    </a:lnTo>
                    <a:lnTo>
                      <a:pt x="488" y="233"/>
                    </a:lnTo>
                    <a:lnTo>
                      <a:pt x="504" y="234"/>
                    </a:lnTo>
                    <a:lnTo>
                      <a:pt x="515" y="235"/>
                    </a:lnTo>
                    <a:lnTo>
                      <a:pt x="529" y="235"/>
                    </a:lnTo>
                    <a:lnTo>
                      <a:pt x="530" y="234"/>
                    </a:lnTo>
                    <a:lnTo>
                      <a:pt x="530" y="233"/>
                    </a:lnTo>
                    <a:lnTo>
                      <a:pt x="528" y="231"/>
                    </a:lnTo>
                    <a:lnTo>
                      <a:pt x="525" y="229"/>
                    </a:lnTo>
                    <a:lnTo>
                      <a:pt x="520" y="22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60" name="Freeform 52"/>
              <p:cNvSpPr>
                <a:spLocks/>
              </p:cNvSpPr>
              <p:nvPr/>
            </p:nvSpPr>
            <p:spPr bwMode="auto">
              <a:xfrm>
                <a:off x="3185842" y="2476271"/>
                <a:ext cx="849576" cy="646259"/>
              </a:xfrm>
              <a:custGeom>
                <a:avLst/>
                <a:gdLst/>
                <a:ahLst/>
                <a:cxnLst>
                  <a:cxn ang="0">
                    <a:pos x="783" y="509"/>
                  </a:cxn>
                  <a:cxn ang="0">
                    <a:pos x="699" y="436"/>
                  </a:cxn>
                  <a:cxn ang="0">
                    <a:pos x="667" y="413"/>
                  </a:cxn>
                  <a:cxn ang="0">
                    <a:pos x="653" y="384"/>
                  </a:cxn>
                  <a:cxn ang="0">
                    <a:pos x="612" y="348"/>
                  </a:cxn>
                  <a:cxn ang="0">
                    <a:pos x="596" y="351"/>
                  </a:cxn>
                  <a:cxn ang="0">
                    <a:pos x="586" y="365"/>
                  </a:cxn>
                  <a:cxn ang="0">
                    <a:pos x="558" y="385"/>
                  </a:cxn>
                  <a:cxn ang="0">
                    <a:pos x="529" y="406"/>
                  </a:cxn>
                  <a:cxn ang="0">
                    <a:pos x="510" y="424"/>
                  </a:cxn>
                  <a:cxn ang="0">
                    <a:pos x="461" y="423"/>
                  </a:cxn>
                  <a:cxn ang="0">
                    <a:pos x="389" y="407"/>
                  </a:cxn>
                  <a:cxn ang="0">
                    <a:pos x="374" y="376"/>
                  </a:cxn>
                  <a:cxn ang="0">
                    <a:pos x="420" y="330"/>
                  </a:cxn>
                  <a:cxn ang="0">
                    <a:pos x="460" y="296"/>
                  </a:cxn>
                  <a:cxn ang="0">
                    <a:pos x="466" y="272"/>
                  </a:cxn>
                  <a:cxn ang="0">
                    <a:pos x="443" y="243"/>
                  </a:cxn>
                  <a:cxn ang="0">
                    <a:pos x="397" y="201"/>
                  </a:cxn>
                  <a:cxn ang="0">
                    <a:pos x="334" y="130"/>
                  </a:cxn>
                  <a:cxn ang="0">
                    <a:pos x="292" y="53"/>
                  </a:cxn>
                  <a:cxn ang="0">
                    <a:pos x="251" y="24"/>
                  </a:cxn>
                  <a:cxn ang="0">
                    <a:pos x="173" y="5"/>
                  </a:cxn>
                  <a:cxn ang="0">
                    <a:pos x="101" y="1"/>
                  </a:cxn>
                  <a:cxn ang="0">
                    <a:pos x="71" y="16"/>
                  </a:cxn>
                  <a:cxn ang="0">
                    <a:pos x="67" y="63"/>
                  </a:cxn>
                  <a:cxn ang="0">
                    <a:pos x="49" y="85"/>
                  </a:cxn>
                  <a:cxn ang="0">
                    <a:pos x="18" y="76"/>
                  </a:cxn>
                  <a:cxn ang="0">
                    <a:pos x="7" y="101"/>
                  </a:cxn>
                  <a:cxn ang="0">
                    <a:pos x="0" y="173"/>
                  </a:cxn>
                  <a:cxn ang="0">
                    <a:pos x="7" y="216"/>
                  </a:cxn>
                  <a:cxn ang="0">
                    <a:pos x="41" y="205"/>
                  </a:cxn>
                  <a:cxn ang="0">
                    <a:pos x="88" y="198"/>
                  </a:cxn>
                  <a:cxn ang="0">
                    <a:pos x="129" y="226"/>
                  </a:cxn>
                  <a:cxn ang="0">
                    <a:pos x="129" y="246"/>
                  </a:cxn>
                  <a:cxn ang="0">
                    <a:pos x="87" y="246"/>
                  </a:cxn>
                  <a:cxn ang="0">
                    <a:pos x="51" y="269"/>
                  </a:cxn>
                  <a:cxn ang="0">
                    <a:pos x="56" y="330"/>
                  </a:cxn>
                  <a:cxn ang="0">
                    <a:pos x="93" y="410"/>
                  </a:cxn>
                  <a:cxn ang="0">
                    <a:pos x="142" y="468"/>
                  </a:cxn>
                  <a:cxn ang="0">
                    <a:pos x="180" y="485"/>
                  </a:cxn>
                  <a:cxn ang="0">
                    <a:pos x="218" y="509"/>
                  </a:cxn>
                  <a:cxn ang="0">
                    <a:pos x="261" y="534"/>
                  </a:cxn>
                  <a:cxn ang="0">
                    <a:pos x="332" y="552"/>
                  </a:cxn>
                  <a:cxn ang="0">
                    <a:pos x="394" y="564"/>
                  </a:cxn>
                  <a:cxn ang="0">
                    <a:pos x="435" y="564"/>
                  </a:cxn>
                  <a:cxn ang="0">
                    <a:pos x="507" y="549"/>
                  </a:cxn>
                  <a:cxn ang="0">
                    <a:pos x="629" y="558"/>
                  </a:cxn>
                  <a:cxn ang="0">
                    <a:pos x="725" y="591"/>
                  </a:cxn>
                  <a:cxn ang="0">
                    <a:pos x="790" y="615"/>
                  </a:cxn>
                  <a:cxn ang="0">
                    <a:pos x="819" y="623"/>
                  </a:cxn>
                  <a:cxn ang="0">
                    <a:pos x="813" y="590"/>
                  </a:cxn>
                </a:cxnLst>
                <a:rect l="0" t="0" r="r" b="b"/>
                <a:pathLst>
                  <a:path w="819" h="623">
                    <a:moveTo>
                      <a:pt x="809" y="572"/>
                    </a:moveTo>
                    <a:lnTo>
                      <a:pt x="799" y="537"/>
                    </a:lnTo>
                    <a:lnTo>
                      <a:pt x="783" y="509"/>
                    </a:lnTo>
                    <a:lnTo>
                      <a:pt x="762" y="481"/>
                    </a:lnTo>
                    <a:lnTo>
                      <a:pt x="733" y="457"/>
                    </a:lnTo>
                    <a:lnTo>
                      <a:pt x="699" y="436"/>
                    </a:lnTo>
                    <a:lnTo>
                      <a:pt x="683" y="427"/>
                    </a:lnTo>
                    <a:lnTo>
                      <a:pt x="673" y="419"/>
                    </a:lnTo>
                    <a:lnTo>
                      <a:pt x="667" y="413"/>
                    </a:lnTo>
                    <a:lnTo>
                      <a:pt x="665" y="402"/>
                    </a:lnTo>
                    <a:lnTo>
                      <a:pt x="661" y="393"/>
                    </a:lnTo>
                    <a:lnTo>
                      <a:pt x="653" y="384"/>
                    </a:lnTo>
                    <a:lnTo>
                      <a:pt x="642" y="372"/>
                    </a:lnTo>
                    <a:lnTo>
                      <a:pt x="621" y="354"/>
                    </a:lnTo>
                    <a:lnTo>
                      <a:pt x="612" y="348"/>
                    </a:lnTo>
                    <a:lnTo>
                      <a:pt x="606" y="346"/>
                    </a:lnTo>
                    <a:lnTo>
                      <a:pt x="600" y="348"/>
                    </a:lnTo>
                    <a:lnTo>
                      <a:pt x="596" y="351"/>
                    </a:lnTo>
                    <a:lnTo>
                      <a:pt x="593" y="356"/>
                    </a:lnTo>
                    <a:lnTo>
                      <a:pt x="590" y="360"/>
                    </a:lnTo>
                    <a:lnTo>
                      <a:pt x="586" y="365"/>
                    </a:lnTo>
                    <a:lnTo>
                      <a:pt x="577" y="376"/>
                    </a:lnTo>
                    <a:lnTo>
                      <a:pt x="568" y="382"/>
                    </a:lnTo>
                    <a:lnTo>
                      <a:pt x="558" y="385"/>
                    </a:lnTo>
                    <a:lnTo>
                      <a:pt x="548" y="388"/>
                    </a:lnTo>
                    <a:lnTo>
                      <a:pt x="537" y="396"/>
                    </a:lnTo>
                    <a:lnTo>
                      <a:pt x="529" y="406"/>
                    </a:lnTo>
                    <a:lnTo>
                      <a:pt x="523" y="415"/>
                    </a:lnTo>
                    <a:lnTo>
                      <a:pt x="518" y="421"/>
                    </a:lnTo>
                    <a:lnTo>
                      <a:pt x="510" y="424"/>
                    </a:lnTo>
                    <a:lnTo>
                      <a:pt x="499" y="426"/>
                    </a:lnTo>
                    <a:lnTo>
                      <a:pt x="483" y="424"/>
                    </a:lnTo>
                    <a:lnTo>
                      <a:pt x="461" y="423"/>
                    </a:lnTo>
                    <a:lnTo>
                      <a:pt x="431" y="419"/>
                    </a:lnTo>
                    <a:lnTo>
                      <a:pt x="406" y="414"/>
                    </a:lnTo>
                    <a:lnTo>
                      <a:pt x="389" y="407"/>
                    </a:lnTo>
                    <a:lnTo>
                      <a:pt x="377" y="398"/>
                    </a:lnTo>
                    <a:lnTo>
                      <a:pt x="373" y="389"/>
                    </a:lnTo>
                    <a:lnTo>
                      <a:pt x="374" y="376"/>
                    </a:lnTo>
                    <a:lnTo>
                      <a:pt x="384" y="363"/>
                    </a:lnTo>
                    <a:lnTo>
                      <a:pt x="398" y="347"/>
                    </a:lnTo>
                    <a:lnTo>
                      <a:pt x="420" y="330"/>
                    </a:lnTo>
                    <a:lnTo>
                      <a:pt x="436" y="318"/>
                    </a:lnTo>
                    <a:lnTo>
                      <a:pt x="451" y="306"/>
                    </a:lnTo>
                    <a:lnTo>
                      <a:pt x="460" y="296"/>
                    </a:lnTo>
                    <a:lnTo>
                      <a:pt x="466" y="286"/>
                    </a:lnTo>
                    <a:lnTo>
                      <a:pt x="469" y="280"/>
                    </a:lnTo>
                    <a:lnTo>
                      <a:pt x="466" y="272"/>
                    </a:lnTo>
                    <a:lnTo>
                      <a:pt x="461" y="263"/>
                    </a:lnTo>
                    <a:lnTo>
                      <a:pt x="453" y="252"/>
                    </a:lnTo>
                    <a:lnTo>
                      <a:pt x="443" y="243"/>
                    </a:lnTo>
                    <a:lnTo>
                      <a:pt x="430" y="231"/>
                    </a:lnTo>
                    <a:lnTo>
                      <a:pt x="414" y="217"/>
                    </a:lnTo>
                    <a:lnTo>
                      <a:pt x="397" y="201"/>
                    </a:lnTo>
                    <a:lnTo>
                      <a:pt x="380" y="187"/>
                    </a:lnTo>
                    <a:lnTo>
                      <a:pt x="356" y="162"/>
                    </a:lnTo>
                    <a:lnTo>
                      <a:pt x="334" y="130"/>
                    </a:lnTo>
                    <a:lnTo>
                      <a:pt x="314" y="95"/>
                    </a:lnTo>
                    <a:lnTo>
                      <a:pt x="302" y="71"/>
                    </a:lnTo>
                    <a:lnTo>
                      <a:pt x="292" y="53"/>
                    </a:lnTo>
                    <a:lnTo>
                      <a:pt x="281" y="39"/>
                    </a:lnTo>
                    <a:lnTo>
                      <a:pt x="268" y="30"/>
                    </a:lnTo>
                    <a:lnTo>
                      <a:pt x="251" y="24"/>
                    </a:lnTo>
                    <a:lnTo>
                      <a:pt x="230" y="17"/>
                    </a:lnTo>
                    <a:lnTo>
                      <a:pt x="201" y="11"/>
                    </a:lnTo>
                    <a:lnTo>
                      <a:pt x="173" y="5"/>
                    </a:lnTo>
                    <a:lnTo>
                      <a:pt x="146" y="1"/>
                    </a:lnTo>
                    <a:lnTo>
                      <a:pt x="122" y="0"/>
                    </a:lnTo>
                    <a:lnTo>
                      <a:pt x="101" y="1"/>
                    </a:lnTo>
                    <a:lnTo>
                      <a:pt x="84" y="4"/>
                    </a:lnTo>
                    <a:lnTo>
                      <a:pt x="75" y="8"/>
                    </a:lnTo>
                    <a:lnTo>
                      <a:pt x="71" y="16"/>
                    </a:lnTo>
                    <a:lnTo>
                      <a:pt x="68" y="29"/>
                    </a:lnTo>
                    <a:lnTo>
                      <a:pt x="67" y="43"/>
                    </a:lnTo>
                    <a:lnTo>
                      <a:pt x="67" y="63"/>
                    </a:lnTo>
                    <a:lnTo>
                      <a:pt x="64" y="76"/>
                    </a:lnTo>
                    <a:lnTo>
                      <a:pt x="58" y="84"/>
                    </a:lnTo>
                    <a:lnTo>
                      <a:pt x="49" y="85"/>
                    </a:lnTo>
                    <a:lnTo>
                      <a:pt x="37" y="82"/>
                    </a:lnTo>
                    <a:lnTo>
                      <a:pt x="28" y="78"/>
                    </a:lnTo>
                    <a:lnTo>
                      <a:pt x="18" y="76"/>
                    </a:lnTo>
                    <a:lnTo>
                      <a:pt x="13" y="79"/>
                    </a:lnTo>
                    <a:lnTo>
                      <a:pt x="10" y="87"/>
                    </a:lnTo>
                    <a:lnTo>
                      <a:pt x="7" y="101"/>
                    </a:lnTo>
                    <a:lnTo>
                      <a:pt x="4" y="122"/>
                    </a:lnTo>
                    <a:lnTo>
                      <a:pt x="1" y="147"/>
                    </a:lnTo>
                    <a:lnTo>
                      <a:pt x="0" y="173"/>
                    </a:lnTo>
                    <a:lnTo>
                      <a:pt x="0" y="195"/>
                    </a:lnTo>
                    <a:lnTo>
                      <a:pt x="3" y="208"/>
                    </a:lnTo>
                    <a:lnTo>
                      <a:pt x="7" y="216"/>
                    </a:lnTo>
                    <a:lnTo>
                      <a:pt x="14" y="217"/>
                    </a:lnTo>
                    <a:lnTo>
                      <a:pt x="26" y="213"/>
                    </a:lnTo>
                    <a:lnTo>
                      <a:pt x="41" y="205"/>
                    </a:lnTo>
                    <a:lnTo>
                      <a:pt x="55" y="198"/>
                    </a:lnTo>
                    <a:lnTo>
                      <a:pt x="71" y="196"/>
                    </a:lnTo>
                    <a:lnTo>
                      <a:pt x="88" y="198"/>
                    </a:lnTo>
                    <a:lnTo>
                      <a:pt x="104" y="205"/>
                    </a:lnTo>
                    <a:lnTo>
                      <a:pt x="120" y="216"/>
                    </a:lnTo>
                    <a:lnTo>
                      <a:pt x="129" y="226"/>
                    </a:lnTo>
                    <a:lnTo>
                      <a:pt x="133" y="235"/>
                    </a:lnTo>
                    <a:lnTo>
                      <a:pt x="133" y="242"/>
                    </a:lnTo>
                    <a:lnTo>
                      <a:pt x="129" y="246"/>
                    </a:lnTo>
                    <a:lnTo>
                      <a:pt x="118" y="248"/>
                    </a:lnTo>
                    <a:lnTo>
                      <a:pt x="105" y="247"/>
                    </a:lnTo>
                    <a:lnTo>
                      <a:pt x="87" y="246"/>
                    </a:lnTo>
                    <a:lnTo>
                      <a:pt x="71" y="250"/>
                    </a:lnTo>
                    <a:lnTo>
                      <a:pt x="59" y="258"/>
                    </a:lnTo>
                    <a:lnTo>
                      <a:pt x="51" y="269"/>
                    </a:lnTo>
                    <a:lnTo>
                      <a:pt x="49" y="285"/>
                    </a:lnTo>
                    <a:lnTo>
                      <a:pt x="50" y="304"/>
                    </a:lnTo>
                    <a:lnTo>
                      <a:pt x="56" y="330"/>
                    </a:lnTo>
                    <a:lnTo>
                      <a:pt x="66" y="357"/>
                    </a:lnTo>
                    <a:lnTo>
                      <a:pt x="79" y="385"/>
                    </a:lnTo>
                    <a:lnTo>
                      <a:pt x="93" y="410"/>
                    </a:lnTo>
                    <a:lnTo>
                      <a:pt x="109" y="434"/>
                    </a:lnTo>
                    <a:lnTo>
                      <a:pt x="126" y="453"/>
                    </a:lnTo>
                    <a:lnTo>
                      <a:pt x="142" y="468"/>
                    </a:lnTo>
                    <a:lnTo>
                      <a:pt x="158" y="478"/>
                    </a:lnTo>
                    <a:lnTo>
                      <a:pt x="172" y="482"/>
                    </a:lnTo>
                    <a:lnTo>
                      <a:pt x="180" y="485"/>
                    </a:lnTo>
                    <a:lnTo>
                      <a:pt x="190" y="490"/>
                    </a:lnTo>
                    <a:lnTo>
                      <a:pt x="204" y="498"/>
                    </a:lnTo>
                    <a:lnTo>
                      <a:pt x="218" y="509"/>
                    </a:lnTo>
                    <a:lnTo>
                      <a:pt x="231" y="518"/>
                    </a:lnTo>
                    <a:lnTo>
                      <a:pt x="246" y="526"/>
                    </a:lnTo>
                    <a:lnTo>
                      <a:pt x="261" y="534"/>
                    </a:lnTo>
                    <a:lnTo>
                      <a:pt x="280" y="540"/>
                    </a:lnTo>
                    <a:lnTo>
                      <a:pt x="303" y="545"/>
                    </a:lnTo>
                    <a:lnTo>
                      <a:pt x="332" y="552"/>
                    </a:lnTo>
                    <a:lnTo>
                      <a:pt x="357" y="557"/>
                    </a:lnTo>
                    <a:lnTo>
                      <a:pt x="378" y="561"/>
                    </a:lnTo>
                    <a:lnTo>
                      <a:pt x="394" y="564"/>
                    </a:lnTo>
                    <a:lnTo>
                      <a:pt x="409" y="565"/>
                    </a:lnTo>
                    <a:lnTo>
                      <a:pt x="422" y="565"/>
                    </a:lnTo>
                    <a:lnTo>
                      <a:pt x="435" y="564"/>
                    </a:lnTo>
                    <a:lnTo>
                      <a:pt x="449" y="561"/>
                    </a:lnTo>
                    <a:lnTo>
                      <a:pt x="466" y="557"/>
                    </a:lnTo>
                    <a:lnTo>
                      <a:pt x="507" y="549"/>
                    </a:lnTo>
                    <a:lnTo>
                      <a:pt x="548" y="547"/>
                    </a:lnTo>
                    <a:lnTo>
                      <a:pt x="589" y="551"/>
                    </a:lnTo>
                    <a:lnTo>
                      <a:pt x="629" y="558"/>
                    </a:lnTo>
                    <a:lnTo>
                      <a:pt x="673" y="572"/>
                    </a:lnTo>
                    <a:lnTo>
                      <a:pt x="698" y="581"/>
                    </a:lnTo>
                    <a:lnTo>
                      <a:pt x="725" y="591"/>
                    </a:lnTo>
                    <a:lnTo>
                      <a:pt x="752" y="601"/>
                    </a:lnTo>
                    <a:lnTo>
                      <a:pt x="773" y="608"/>
                    </a:lnTo>
                    <a:lnTo>
                      <a:pt x="790" y="615"/>
                    </a:lnTo>
                    <a:lnTo>
                      <a:pt x="804" y="619"/>
                    </a:lnTo>
                    <a:lnTo>
                      <a:pt x="815" y="623"/>
                    </a:lnTo>
                    <a:lnTo>
                      <a:pt x="819" y="623"/>
                    </a:lnTo>
                    <a:lnTo>
                      <a:pt x="819" y="618"/>
                    </a:lnTo>
                    <a:lnTo>
                      <a:pt x="817" y="607"/>
                    </a:lnTo>
                    <a:lnTo>
                      <a:pt x="813" y="590"/>
                    </a:lnTo>
                    <a:lnTo>
                      <a:pt x="809" y="57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  <p:grpSp>
          <p:nvGrpSpPr>
            <p:cNvPr id="304" name="Group 133"/>
            <p:cNvGrpSpPr/>
            <p:nvPr/>
          </p:nvGrpSpPr>
          <p:grpSpPr bwMode="auto">
            <a:xfrm>
              <a:off x="7071785" y="2649704"/>
              <a:ext cx="575617" cy="842994"/>
              <a:chOff x="4848686" y="2476271"/>
              <a:chExt cx="1185672" cy="1736495"/>
            </a:xfrm>
            <a:gradFill flip="none" rotWithShape="1"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path path="shape">
                <a:fillToRect l="50000" t="50000" r="50000" b="50000"/>
              </a:path>
              <a:tileRect/>
            </a:gradFill>
          </p:grpSpPr>
          <p:sp>
            <p:nvSpPr>
              <p:cNvPr id="348" name="Freeform 27"/>
              <p:cNvSpPr>
                <a:spLocks/>
              </p:cNvSpPr>
              <p:nvPr/>
            </p:nvSpPr>
            <p:spPr bwMode="auto">
              <a:xfrm>
                <a:off x="5008435" y="3614225"/>
                <a:ext cx="356842" cy="598541"/>
              </a:xfrm>
              <a:custGeom>
                <a:avLst/>
                <a:gdLst/>
                <a:ahLst/>
                <a:cxnLst>
                  <a:cxn ang="0">
                    <a:pos x="339" y="551"/>
                  </a:cxn>
                  <a:cxn ang="0">
                    <a:pos x="344" y="513"/>
                  </a:cxn>
                  <a:cxn ang="0">
                    <a:pos x="332" y="461"/>
                  </a:cxn>
                  <a:cxn ang="0">
                    <a:pos x="312" y="421"/>
                  </a:cxn>
                  <a:cxn ang="0">
                    <a:pos x="301" y="394"/>
                  </a:cxn>
                  <a:cxn ang="0">
                    <a:pos x="297" y="380"/>
                  </a:cxn>
                  <a:cxn ang="0">
                    <a:pos x="287" y="366"/>
                  </a:cxn>
                  <a:cxn ang="0">
                    <a:pos x="264" y="339"/>
                  </a:cxn>
                  <a:cxn ang="0">
                    <a:pos x="231" y="306"/>
                  </a:cxn>
                  <a:cxn ang="0">
                    <a:pos x="198" y="266"/>
                  </a:cxn>
                  <a:cxn ang="0">
                    <a:pos x="163" y="209"/>
                  </a:cxn>
                  <a:cxn ang="0">
                    <a:pos x="124" y="143"/>
                  </a:cxn>
                  <a:cxn ang="0">
                    <a:pos x="89" y="88"/>
                  </a:cxn>
                  <a:cxn ang="0">
                    <a:pos x="55" y="42"/>
                  </a:cxn>
                  <a:cxn ang="0">
                    <a:pos x="26" y="12"/>
                  </a:cxn>
                  <a:cxn ang="0">
                    <a:pos x="6" y="0"/>
                  </a:cxn>
                  <a:cxn ang="0">
                    <a:pos x="1" y="12"/>
                  </a:cxn>
                  <a:cxn ang="0">
                    <a:pos x="1" y="42"/>
                  </a:cxn>
                  <a:cxn ang="0">
                    <a:pos x="8" y="97"/>
                  </a:cxn>
                  <a:cxn ang="0">
                    <a:pos x="15" y="125"/>
                  </a:cxn>
                  <a:cxn ang="0">
                    <a:pos x="30" y="163"/>
                  </a:cxn>
                  <a:cxn ang="0">
                    <a:pos x="51" y="217"/>
                  </a:cxn>
                  <a:cxn ang="0">
                    <a:pos x="110" y="371"/>
                  </a:cxn>
                  <a:cxn ang="0">
                    <a:pos x="128" y="429"/>
                  </a:cxn>
                  <a:cxn ang="0">
                    <a:pos x="140" y="469"/>
                  </a:cxn>
                  <a:cxn ang="0">
                    <a:pos x="155" y="519"/>
                  </a:cxn>
                  <a:cxn ang="0">
                    <a:pos x="170" y="544"/>
                  </a:cxn>
                  <a:cxn ang="0">
                    <a:pos x="194" y="552"/>
                  </a:cxn>
                  <a:cxn ang="0">
                    <a:pos x="206" y="540"/>
                  </a:cxn>
                  <a:cxn ang="0">
                    <a:pos x="206" y="510"/>
                  </a:cxn>
                  <a:cxn ang="0">
                    <a:pos x="195" y="461"/>
                  </a:cxn>
                  <a:cxn ang="0">
                    <a:pos x="185" y="415"/>
                  </a:cxn>
                  <a:cxn ang="0">
                    <a:pos x="185" y="381"/>
                  </a:cxn>
                  <a:cxn ang="0">
                    <a:pos x="194" y="368"/>
                  </a:cxn>
                  <a:cxn ang="0">
                    <a:pos x="218" y="384"/>
                  </a:cxn>
                  <a:cxn ang="0">
                    <a:pos x="245" y="427"/>
                  </a:cxn>
                  <a:cxn ang="0">
                    <a:pos x="273" y="496"/>
                  </a:cxn>
                  <a:cxn ang="0">
                    <a:pos x="297" y="552"/>
                  </a:cxn>
                  <a:cxn ang="0">
                    <a:pos x="311" y="574"/>
                  </a:cxn>
                  <a:cxn ang="0">
                    <a:pos x="320" y="574"/>
                  </a:cxn>
                </a:cxnLst>
                <a:rect l="0" t="0" r="r" b="b"/>
                <a:pathLst>
                  <a:path w="344" h="577">
                    <a:moveTo>
                      <a:pt x="331" y="564"/>
                    </a:moveTo>
                    <a:lnTo>
                      <a:pt x="339" y="551"/>
                    </a:lnTo>
                    <a:lnTo>
                      <a:pt x="343" y="534"/>
                    </a:lnTo>
                    <a:lnTo>
                      <a:pt x="344" y="513"/>
                    </a:lnTo>
                    <a:lnTo>
                      <a:pt x="340" y="488"/>
                    </a:lnTo>
                    <a:lnTo>
                      <a:pt x="332" y="461"/>
                    </a:lnTo>
                    <a:lnTo>
                      <a:pt x="320" y="435"/>
                    </a:lnTo>
                    <a:lnTo>
                      <a:pt x="312" y="421"/>
                    </a:lnTo>
                    <a:lnTo>
                      <a:pt x="306" y="406"/>
                    </a:lnTo>
                    <a:lnTo>
                      <a:pt x="301" y="394"/>
                    </a:lnTo>
                    <a:lnTo>
                      <a:pt x="298" y="385"/>
                    </a:lnTo>
                    <a:lnTo>
                      <a:pt x="297" y="380"/>
                    </a:lnTo>
                    <a:lnTo>
                      <a:pt x="294" y="375"/>
                    </a:lnTo>
                    <a:lnTo>
                      <a:pt x="287" y="366"/>
                    </a:lnTo>
                    <a:lnTo>
                      <a:pt x="277" y="354"/>
                    </a:lnTo>
                    <a:lnTo>
                      <a:pt x="264" y="339"/>
                    </a:lnTo>
                    <a:lnTo>
                      <a:pt x="248" y="325"/>
                    </a:lnTo>
                    <a:lnTo>
                      <a:pt x="231" y="306"/>
                    </a:lnTo>
                    <a:lnTo>
                      <a:pt x="215" y="288"/>
                    </a:lnTo>
                    <a:lnTo>
                      <a:pt x="198" y="266"/>
                    </a:lnTo>
                    <a:lnTo>
                      <a:pt x="181" y="239"/>
                    </a:lnTo>
                    <a:lnTo>
                      <a:pt x="163" y="209"/>
                    </a:lnTo>
                    <a:lnTo>
                      <a:pt x="143" y="174"/>
                    </a:lnTo>
                    <a:lnTo>
                      <a:pt x="124" y="143"/>
                    </a:lnTo>
                    <a:lnTo>
                      <a:pt x="107" y="115"/>
                    </a:lnTo>
                    <a:lnTo>
                      <a:pt x="89" y="88"/>
                    </a:lnTo>
                    <a:lnTo>
                      <a:pt x="71" y="63"/>
                    </a:lnTo>
                    <a:lnTo>
                      <a:pt x="55" y="42"/>
                    </a:lnTo>
                    <a:lnTo>
                      <a:pt x="39" y="25"/>
                    </a:lnTo>
                    <a:lnTo>
                      <a:pt x="26" y="12"/>
                    </a:lnTo>
                    <a:lnTo>
                      <a:pt x="14" y="3"/>
                    </a:lnTo>
                    <a:lnTo>
                      <a:pt x="6" y="0"/>
                    </a:lnTo>
                    <a:lnTo>
                      <a:pt x="4" y="3"/>
                    </a:lnTo>
                    <a:lnTo>
                      <a:pt x="1" y="12"/>
                    </a:lnTo>
                    <a:lnTo>
                      <a:pt x="0" y="25"/>
                    </a:lnTo>
                    <a:lnTo>
                      <a:pt x="1" y="42"/>
                    </a:lnTo>
                    <a:lnTo>
                      <a:pt x="4" y="79"/>
                    </a:lnTo>
                    <a:lnTo>
                      <a:pt x="8" y="97"/>
                    </a:lnTo>
                    <a:lnTo>
                      <a:pt x="11" y="113"/>
                    </a:lnTo>
                    <a:lnTo>
                      <a:pt x="15" y="125"/>
                    </a:lnTo>
                    <a:lnTo>
                      <a:pt x="21" y="142"/>
                    </a:lnTo>
                    <a:lnTo>
                      <a:pt x="30" y="163"/>
                    </a:lnTo>
                    <a:lnTo>
                      <a:pt x="39" y="189"/>
                    </a:lnTo>
                    <a:lnTo>
                      <a:pt x="51" y="217"/>
                    </a:lnTo>
                    <a:lnTo>
                      <a:pt x="86" y="308"/>
                    </a:lnTo>
                    <a:lnTo>
                      <a:pt x="110" y="371"/>
                    </a:lnTo>
                    <a:lnTo>
                      <a:pt x="119" y="401"/>
                    </a:lnTo>
                    <a:lnTo>
                      <a:pt x="128" y="429"/>
                    </a:lnTo>
                    <a:lnTo>
                      <a:pt x="135" y="451"/>
                    </a:lnTo>
                    <a:lnTo>
                      <a:pt x="140" y="469"/>
                    </a:lnTo>
                    <a:lnTo>
                      <a:pt x="147" y="497"/>
                    </a:lnTo>
                    <a:lnTo>
                      <a:pt x="155" y="519"/>
                    </a:lnTo>
                    <a:lnTo>
                      <a:pt x="163" y="535"/>
                    </a:lnTo>
                    <a:lnTo>
                      <a:pt x="170" y="544"/>
                    </a:lnTo>
                    <a:lnTo>
                      <a:pt x="181" y="551"/>
                    </a:lnTo>
                    <a:lnTo>
                      <a:pt x="194" y="552"/>
                    </a:lnTo>
                    <a:lnTo>
                      <a:pt x="201" y="549"/>
                    </a:lnTo>
                    <a:lnTo>
                      <a:pt x="206" y="540"/>
                    </a:lnTo>
                    <a:lnTo>
                      <a:pt x="207" y="527"/>
                    </a:lnTo>
                    <a:lnTo>
                      <a:pt x="206" y="510"/>
                    </a:lnTo>
                    <a:lnTo>
                      <a:pt x="202" y="488"/>
                    </a:lnTo>
                    <a:lnTo>
                      <a:pt x="195" y="461"/>
                    </a:lnTo>
                    <a:lnTo>
                      <a:pt x="189" y="438"/>
                    </a:lnTo>
                    <a:lnTo>
                      <a:pt x="185" y="415"/>
                    </a:lnTo>
                    <a:lnTo>
                      <a:pt x="184" y="396"/>
                    </a:lnTo>
                    <a:lnTo>
                      <a:pt x="185" y="381"/>
                    </a:lnTo>
                    <a:lnTo>
                      <a:pt x="188" y="372"/>
                    </a:lnTo>
                    <a:lnTo>
                      <a:pt x="194" y="368"/>
                    </a:lnTo>
                    <a:lnTo>
                      <a:pt x="206" y="372"/>
                    </a:lnTo>
                    <a:lnTo>
                      <a:pt x="218" y="384"/>
                    </a:lnTo>
                    <a:lnTo>
                      <a:pt x="232" y="402"/>
                    </a:lnTo>
                    <a:lnTo>
                      <a:pt x="245" y="427"/>
                    </a:lnTo>
                    <a:lnTo>
                      <a:pt x="259" y="459"/>
                    </a:lnTo>
                    <a:lnTo>
                      <a:pt x="273" y="496"/>
                    </a:lnTo>
                    <a:lnTo>
                      <a:pt x="289" y="535"/>
                    </a:lnTo>
                    <a:lnTo>
                      <a:pt x="297" y="552"/>
                    </a:lnTo>
                    <a:lnTo>
                      <a:pt x="305" y="565"/>
                    </a:lnTo>
                    <a:lnTo>
                      <a:pt x="311" y="574"/>
                    </a:lnTo>
                    <a:lnTo>
                      <a:pt x="315" y="577"/>
                    </a:lnTo>
                    <a:lnTo>
                      <a:pt x="320" y="574"/>
                    </a:lnTo>
                    <a:lnTo>
                      <a:pt x="331" y="56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9" name="Freeform 31"/>
              <p:cNvSpPr>
                <a:spLocks/>
              </p:cNvSpPr>
              <p:nvPr/>
            </p:nvSpPr>
            <p:spPr bwMode="auto">
              <a:xfrm>
                <a:off x="4848686" y="3451364"/>
                <a:ext cx="621363" cy="686714"/>
              </a:xfrm>
              <a:custGeom>
                <a:avLst/>
                <a:gdLst/>
                <a:ahLst/>
                <a:cxnLst>
                  <a:cxn ang="0">
                    <a:pos x="272" y="580"/>
                  </a:cxn>
                  <a:cxn ang="0">
                    <a:pos x="244" y="501"/>
                  </a:cxn>
                  <a:cxn ang="0">
                    <a:pos x="189" y="365"/>
                  </a:cxn>
                  <a:cxn ang="0">
                    <a:pos x="162" y="287"/>
                  </a:cxn>
                  <a:cxn ang="0">
                    <a:pos x="148" y="239"/>
                  </a:cxn>
                  <a:cxn ang="0">
                    <a:pos x="143" y="159"/>
                  </a:cxn>
                  <a:cxn ang="0">
                    <a:pos x="126" y="123"/>
                  </a:cxn>
                  <a:cxn ang="0">
                    <a:pos x="96" y="78"/>
                  </a:cxn>
                  <a:cxn ang="0">
                    <a:pos x="70" y="21"/>
                  </a:cxn>
                  <a:cxn ang="0">
                    <a:pos x="77" y="23"/>
                  </a:cxn>
                  <a:cxn ang="0">
                    <a:pos x="98" y="68"/>
                  </a:cxn>
                  <a:cxn ang="0">
                    <a:pos x="152" y="134"/>
                  </a:cxn>
                  <a:cxn ang="0">
                    <a:pos x="242" y="227"/>
                  </a:cxn>
                  <a:cxn ang="0">
                    <a:pos x="286" y="293"/>
                  </a:cxn>
                  <a:cxn ang="0">
                    <a:pos x="343" y="388"/>
                  </a:cxn>
                  <a:cxn ang="0">
                    <a:pos x="415" y="479"/>
                  </a:cxn>
                  <a:cxn ang="0">
                    <a:pos x="485" y="540"/>
                  </a:cxn>
                  <a:cxn ang="0">
                    <a:pos x="532" y="562"/>
                  </a:cxn>
                  <a:cxn ang="0">
                    <a:pos x="553" y="563"/>
                  </a:cxn>
                  <a:cxn ang="0">
                    <a:pos x="545" y="536"/>
                  </a:cxn>
                  <a:cxn ang="0">
                    <a:pos x="510" y="496"/>
                  </a:cxn>
                  <a:cxn ang="0">
                    <a:pos x="490" y="471"/>
                  </a:cxn>
                  <a:cxn ang="0">
                    <a:pos x="507" y="449"/>
                  </a:cxn>
                  <a:cxn ang="0">
                    <a:pos x="532" y="442"/>
                  </a:cxn>
                  <a:cxn ang="0">
                    <a:pos x="522" y="428"/>
                  </a:cxn>
                  <a:cxn ang="0">
                    <a:pos x="486" y="395"/>
                  </a:cxn>
                  <a:cxn ang="0">
                    <a:pos x="420" y="342"/>
                  </a:cxn>
                  <a:cxn ang="0">
                    <a:pos x="378" y="321"/>
                  </a:cxn>
                  <a:cxn ang="0">
                    <a:pos x="326" y="329"/>
                  </a:cxn>
                  <a:cxn ang="0">
                    <a:pos x="315" y="333"/>
                  </a:cxn>
                  <a:cxn ang="0">
                    <a:pos x="317" y="329"/>
                  </a:cxn>
                  <a:cxn ang="0">
                    <a:pos x="339" y="315"/>
                  </a:cxn>
                  <a:cxn ang="0">
                    <a:pos x="384" y="314"/>
                  </a:cxn>
                  <a:cxn ang="0">
                    <a:pos x="448" y="352"/>
                  </a:cxn>
                  <a:cxn ang="0">
                    <a:pos x="528" y="420"/>
                  </a:cxn>
                  <a:cxn ang="0">
                    <a:pos x="572" y="438"/>
                  </a:cxn>
                  <a:cxn ang="0">
                    <a:pos x="591" y="408"/>
                  </a:cxn>
                  <a:cxn ang="0">
                    <a:pos x="599" y="294"/>
                  </a:cxn>
                  <a:cxn ang="0">
                    <a:pos x="511" y="272"/>
                  </a:cxn>
                  <a:cxn ang="0">
                    <a:pos x="457" y="227"/>
                  </a:cxn>
                  <a:cxn ang="0">
                    <a:pos x="410" y="166"/>
                  </a:cxn>
                  <a:cxn ang="0">
                    <a:pos x="369" y="122"/>
                  </a:cxn>
                  <a:cxn ang="0">
                    <a:pos x="302" y="77"/>
                  </a:cxn>
                  <a:cxn ang="0">
                    <a:pos x="225" y="46"/>
                  </a:cxn>
                  <a:cxn ang="0">
                    <a:pos x="167" y="36"/>
                  </a:cxn>
                  <a:cxn ang="0">
                    <a:pos x="112" y="19"/>
                  </a:cxn>
                  <a:cxn ang="0">
                    <a:pos x="50" y="31"/>
                  </a:cxn>
                  <a:cxn ang="0">
                    <a:pos x="41" y="84"/>
                  </a:cxn>
                  <a:cxn ang="0">
                    <a:pos x="0" y="136"/>
                  </a:cxn>
                  <a:cxn ang="0">
                    <a:pos x="43" y="190"/>
                  </a:cxn>
                  <a:cxn ang="0">
                    <a:pos x="63" y="249"/>
                  </a:cxn>
                  <a:cxn ang="0">
                    <a:pos x="95" y="327"/>
                  </a:cxn>
                  <a:cxn ang="0">
                    <a:pos x="134" y="420"/>
                  </a:cxn>
                  <a:cxn ang="0">
                    <a:pos x="173" y="504"/>
                  </a:cxn>
                  <a:cxn ang="0">
                    <a:pos x="201" y="558"/>
                  </a:cxn>
                  <a:cxn ang="0">
                    <a:pos x="236" y="608"/>
                  </a:cxn>
                  <a:cxn ang="0">
                    <a:pos x="272" y="649"/>
                  </a:cxn>
                  <a:cxn ang="0">
                    <a:pos x="289" y="662"/>
                  </a:cxn>
                  <a:cxn ang="0">
                    <a:pos x="285" y="629"/>
                  </a:cxn>
                </a:cxnLst>
                <a:rect l="0" t="0" r="r" b="b"/>
                <a:pathLst>
                  <a:path w="599" h="662">
                    <a:moveTo>
                      <a:pt x="281" y="612"/>
                    </a:moveTo>
                    <a:lnTo>
                      <a:pt x="277" y="599"/>
                    </a:lnTo>
                    <a:lnTo>
                      <a:pt x="272" y="580"/>
                    </a:lnTo>
                    <a:lnTo>
                      <a:pt x="264" y="557"/>
                    </a:lnTo>
                    <a:lnTo>
                      <a:pt x="255" y="530"/>
                    </a:lnTo>
                    <a:lnTo>
                      <a:pt x="244" y="501"/>
                    </a:lnTo>
                    <a:lnTo>
                      <a:pt x="221" y="441"/>
                    </a:lnTo>
                    <a:lnTo>
                      <a:pt x="204" y="400"/>
                    </a:lnTo>
                    <a:lnTo>
                      <a:pt x="189" y="365"/>
                    </a:lnTo>
                    <a:lnTo>
                      <a:pt x="179" y="335"/>
                    </a:lnTo>
                    <a:lnTo>
                      <a:pt x="168" y="310"/>
                    </a:lnTo>
                    <a:lnTo>
                      <a:pt x="162" y="287"/>
                    </a:lnTo>
                    <a:lnTo>
                      <a:pt x="155" y="269"/>
                    </a:lnTo>
                    <a:lnTo>
                      <a:pt x="151" y="253"/>
                    </a:lnTo>
                    <a:lnTo>
                      <a:pt x="148" y="239"/>
                    </a:lnTo>
                    <a:lnTo>
                      <a:pt x="146" y="210"/>
                    </a:lnTo>
                    <a:lnTo>
                      <a:pt x="146" y="174"/>
                    </a:lnTo>
                    <a:lnTo>
                      <a:pt x="143" y="159"/>
                    </a:lnTo>
                    <a:lnTo>
                      <a:pt x="139" y="147"/>
                    </a:lnTo>
                    <a:lnTo>
                      <a:pt x="134" y="135"/>
                    </a:lnTo>
                    <a:lnTo>
                      <a:pt x="126" y="123"/>
                    </a:lnTo>
                    <a:lnTo>
                      <a:pt x="116" y="110"/>
                    </a:lnTo>
                    <a:lnTo>
                      <a:pt x="106" y="95"/>
                    </a:lnTo>
                    <a:lnTo>
                      <a:pt x="96" y="78"/>
                    </a:lnTo>
                    <a:lnTo>
                      <a:pt x="77" y="44"/>
                    </a:lnTo>
                    <a:lnTo>
                      <a:pt x="72" y="31"/>
                    </a:lnTo>
                    <a:lnTo>
                      <a:pt x="70" y="21"/>
                    </a:lnTo>
                    <a:lnTo>
                      <a:pt x="70" y="15"/>
                    </a:lnTo>
                    <a:lnTo>
                      <a:pt x="72" y="17"/>
                    </a:lnTo>
                    <a:lnTo>
                      <a:pt x="77" y="23"/>
                    </a:lnTo>
                    <a:lnTo>
                      <a:pt x="84" y="35"/>
                    </a:lnTo>
                    <a:lnTo>
                      <a:pt x="91" y="51"/>
                    </a:lnTo>
                    <a:lnTo>
                      <a:pt x="98" y="68"/>
                    </a:lnTo>
                    <a:lnTo>
                      <a:pt x="112" y="88"/>
                    </a:lnTo>
                    <a:lnTo>
                      <a:pt x="130" y="109"/>
                    </a:lnTo>
                    <a:lnTo>
                      <a:pt x="152" y="134"/>
                    </a:lnTo>
                    <a:lnTo>
                      <a:pt x="204" y="185"/>
                    </a:lnTo>
                    <a:lnTo>
                      <a:pt x="225" y="207"/>
                    </a:lnTo>
                    <a:lnTo>
                      <a:pt x="242" y="227"/>
                    </a:lnTo>
                    <a:lnTo>
                      <a:pt x="256" y="247"/>
                    </a:lnTo>
                    <a:lnTo>
                      <a:pt x="271" y="268"/>
                    </a:lnTo>
                    <a:lnTo>
                      <a:pt x="286" y="293"/>
                    </a:lnTo>
                    <a:lnTo>
                      <a:pt x="302" y="321"/>
                    </a:lnTo>
                    <a:lnTo>
                      <a:pt x="322" y="356"/>
                    </a:lnTo>
                    <a:lnTo>
                      <a:pt x="343" y="388"/>
                    </a:lnTo>
                    <a:lnTo>
                      <a:pt x="367" y="421"/>
                    </a:lnTo>
                    <a:lnTo>
                      <a:pt x="390" y="452"/>
                    </a:lnTo>
                    <a:lnTo>
                      <a:pt x="415" y="479"/>
                    </a:lnTo>
                    <a:lnTo>
                      <a:pt x="439" y="503"/>
                    </a:lnTo>
                    <a:lnTo>
                      <a:pt x="462" y="524"/>
                    </a:lnTo>
                    <a:lnTo>
                      <a:pt x="485" y="540"/>
                    </a:lnTo>
                    <a:lnTo>
                      <a:pt x="504" y="550"/>
                    </a:lnTo>
                    <a:lnTo>
                      <a:pt x="519" y="557"/>
                    </a:lnTo>
                    <a:lnTo>
                      <a:pt x="532" y="562"/>
                    </a:lnTo>
                    <a:lnTo>
                      <a:pt x="541" y="565"/>
                    </a:lnTo>
                    <a:lnTo>
                      <a:pt x="547" y="566"/>
                    </a:lnTo>
                    <a:lnTo>
                      <a:pt x="553" y="563"/>
                    </a:lnTo>
                    <a:lnTo>
                      <a:pt x="554" y="558"/>
                    </a:lnTo>
                    <a:lnTo>
                      <a:pt x="552" y="547"/>
                    </a:lnTo>
                    <a:lnTo>
                      <a:pt x="545" y="536"/>
                    </a:lnTo>
                    <a:lnTo>
                      <a:pt x="535" y="523"/>
                    </a:lnTo>
                    <a:lnTo>
                      <a:pt x="522" y="509"/>
                    </a:lnTo>
                    <a:lnTo>
                      <a:pt x="510" y="496"/>
                    </a:lnTo>
                    <a:lnTo>
                      <a:pt x="499" y="486"/>
                    </a:lnTo>
                    <a:lnTo>
                      <a:pt x="493" y="477"/>
                    </a:lnTo>
                    <a:lnTo>
                      <a:pt x="490" y="471"/>
                    </a:lnTo>
                    <a:lnTo>
                      <a:pt x="493" y="465"/>
                    </a:lnTo>
                    <a:lnTo>
                      <a:pt x="498" y="457"/>
                    </a:lnTo>
                    <a:lnTo>
                      <a:pt x="507" y="449"/>
                    </a:lnTo>
                    <a:lnTo>
                      <a:pt x="516" y="444"/>
                    </a:lnTo>
                    <a:lnTo>
                      <a:pt x="526" y="441"/>
                    </a:lnTo>
                    <a:lnTo>
                      <a:pt x="532" y="442"/>
                    </a:lnTo>
                    <a:lnTo>
                      <a:pt x="536" y="444"/>
                    </a:lnTo>
                    <a:lnTo>
                      <a:pt x="535" y="441"/>
                    </a:lnTo>
                    <a:lnTo>
                      <a:pt x="522" y="428"/>
                    </a:lnTo>
                    <a:lnTo>
                      <a:pt x="511" y="419"/>
                    </a:lnTo>
                    <a:lnTo>
                      <a:pt x="499" y="407"/>
                    </a:lnTo>
                    <a:lnTo>
                      <a:pt x="486" y="395"/>
                    </a:lnTo>
                    <a:lnTo>
                      <a:pt x="457" y="371"/>
                    </a:lnTo>
                    <a:lnTo>
                      <a:pt x="431" y="350"/>
                    </a:lnTo>
                    <a:lnTo>
                      <a:pt x="420" y="342"/>
                    </a:lnTo>
                    <a:lnTo>
                      <a:pt x="411" y="337"/>
                    </a:lnTo>
                    <a:lnTo>
                      <a:pt x="394" y="327"/>
                    </a:lnTo>
                    <a:lnTo>
                      <a:pt x="378" y="321"/>
                    </a:lnTo>
                    <a:lnTo>
                      <a:pt x="364" y="320"/>
                    </a:lnTo>
                    <a:lnTo>
                      <a:pt x="347" y="323"/>
                    </a:lnTo>
                    <a:lnTo>
                      <a:pt x="326" y="329"/>
                    </a:lnTo>
                    <a:lnTo>
                      <a:pt x="321" y="331"/>
                    </a:lnTo>
                    <a:lnTo>
                      <a:pt x="317" y="332"/>
                    </a:lnTo>
                    <a:lnTo>
                      <a:pt x="315" y="333"/>
                    </a:lnTo>
                    <a:lnTo>
                      <a:pt x="314" y="332"/>
                    </a:lnTo>
                    <a:lnTo>
                      <a:pt x="315" y="332"/>
                    </a:lnTo>
                    <a:lnTo>
                      <a:pt x="317" y="329"/>
                    </a:lnTo>
                    <a:lnTo>
                      <a:pt x="321" y="327"/>
                    </a:lnTo>
                    <a:lnTo>
                      <a:pt x="326" y="323"/>
                    </a:lnTo>
                    <a:lnTo>
                      <a:pt x="339" y="315"/>
                    </a:lnTo>
                    <a:lnTo>
                      <a:pt x="352" y="310"/>
                    </a:lnTo>
                    <a:lnTo>
                      <a:pt x="367" y="310"/>
                    </a:lnTo>
                    <a:lnTo>
                      <a:pt x="384" y="314"/>
                    </a:lnTo>
                    <a:lnTo>
                      <a:pt x="402" y="321"/>
                    </a:lnTo>
                    <a:lnTo>
                      <a:pt x="424" y="335"/>
                    </a:lnTo>
                    <a:lnTo>
                      <a:pt x="448" y="352"/>
                    </a:lnTo>
                    <a:lnTo>
                      <a:pt x="477" y="375"/>
                    </a:lnTo>
                    <a:lnTo>
                      <a:pt x="508" y="403"/>
                    </a:lnTo>
                    <a:lnTo>
                      <a:pt x="528" y="420"/>
                    </a:lnTo>
                    <a:lnTo>
                      <a:pt x="545" y="432"/>
                    </a:lnTo>
                    <a:lnTo>
                      <a:pt x="560" y="437"/>
                    </a:lnTo>
                    <a:lnTo>
                      <a:pt x="572" y="438"/>
                    </a:lnTo>
                    <a:lnTo>
                      <a:pt x="581" y="434"/>
                    </a:lnTo>
                    <a:lnTo>
                      <a:pt x="587" y="424"/>
                    </a:lnTo>
                    <a:lnTo>
                      <a:pt x="591" y="408"/>
                    </a:lnTo>
                    <a:lnTo>
                      <a:pt x="595" y="387"/>
                    </a:lnTo>
                    <a:lnTo>
                      <a:pt x="596" y="360"/>
                    </a:lnTo>
                    <a:lnTo>
                      <a:pt x="599" y="294"/>
                    </a:lnTo>
                    <a:lnTo>
                      <a:pt x="560" y="286"/>
                    </a:lnTo>
                    <a:lnTo>
                      <a:pt x="533" y="279"/>
                    </a:lnTo>
                    <a:lnTo>
                      <a:pt x="511" y="272"/>
                    </a:lnTo>
                    <a:lnTo>
                      <a:pt x="491" y="260"/>
                    </a:lnTo>
                    <a:lnTo>
                      <a:pt x="474" y="245"/>
                    </a:lnTo>
                    <a:lnTo>
                      <a:pt x="457" y="227"/>
                    </a:lnTo>
                    <a:lnTo>
                      <a:pt x="439" y="202"/>
                    </a:lnTo>
                    <a:lnTo>
                      <a:pt x="426" y="185"/>
                    </a:lnTo>
                    <a:lnTo>
                      <a:pt x="410" y="166"/>
                    </a:lnTo>
                    <a:lnTo>
                      <a:pt x="395" y="149"/>
                    </a:lnTo>
                    <a:lnTo>
                      <a:pt x="381" y="134"/>
                    </a:lnTo>
                    <a:lnTo>
                      <a:pt x="369" y="122"/>
                    </a:lnTo>
                    <a:lnTo>
                      <a:pt x="349" y="106"/>
                    </a:lnTo>
                    <a:lnTo>
                      <a:pt x="327" y="92"/>
                    </a:lnTo>
                    <a:lnTo>
                      <a:pt x="302" y="77"/>
                    </a:lnTo>
                    <a:lnTo>
                      <a:pt x="276" y="64"/>
                    </a:lnTo>
                    <a:lnTo>
                      <a:pt x="250" y="53"/>
                    </a:lnTo>
                    <a:lnTo>
                      <a:pt x="225" y="46"/>
                    </a:lnTo>
                    <a:lnTo>
                      <a:pt x="202" y="39"/>
                    </a:lnTo>
                    <a:lnTo>
                      <a:pt x="184" y="38"/>
                    </a:lnTo>
                    <a:lnTo>
                      <a:pt x="167" y="36"/>
                    </a:lnTo>
                    <a:lnTo>
                      <a:pt x="148" y="32"/>
                    </a:lnTo>
                    <a:lnTo>
                      <a:pt x="130" y="27"/>
                    </a:lnTo>
                    <a:lnTo>
                      <a:pt x="112" y="19"/>
                    </a:lnTo>
                    <a:lnTo>
                      <a:pt x="75" y="0"/>
                    </a:lnTo>
                    <a:lnTo>
                      <a:pt x="58" y="18"/>
                    </a:lnTo>
                    <a:lnTo>
                      <a:pt x="50" y="31"/>
                    </a:lnTo>
                    <a:lnTo>
                      <a:pt x="45" y="46"/>
                    </a:lnTo>
                    <a:lnTo>
                      <a:pt x="42" y="64"/>
                    </a:lnTo>
                    <a:lnTo>
                      <a:pt x="41" y="84"/>
                    </a:lnTo>
                    <a:lnTo>
                      <a:pt x="33" y="101"/>
                    </a:lnTo>
                    <a:lnTo>
                      <a:pt x="21" y="115"/>
                    </a:lnTo>
                    <a:lnTo>
                      <a:pt x="0" y="136"/>
                    </a:lnTo>
                    <a:lnTo>
                      <a:pt x="21" y="153"/>
                    </a:lnTo>
                    <a:lnTo>
                      <a:pt x="33" y="168"/>
                    </a:lnTo>
                    <a:lnTo>
                      <a:pt x="43" y="190"/>
                    </a:lnTo>
                    <a:lnTo>
                      <a:pt x="52" y="219"/>
                    </a:lnTo>
                    <a:lnTo>
                      <a:pt x="56" y="232"/>
                    </a:lnTo>
                    <a:lnTo>
                      <a:pt x="63" y="249"/>
                    </a:lnTo>
                    <a:lnTo>
                      <a:pt x="72" y="273"/>
                    </a:lnTo>
                    <a:lnTo>
                      <a:pt x="81" y="298"/>
                    </a:lnTo>
                    <a:lnTo>
                      <a:pt x="95" y="327"/>
                    </a:lnTo>
                    <a:lnTo>
                      <a:pt x="106" y="357"/>
                    </a:lnTo>
                    <a:lnTo>
                      <a:pt x="121" y="388"/>
                    </a:lnTo>
                    <a:lnTo>
                      <a:pt x="134" y="420"/>
                    </a:lnTo>
                    <a:lnTo>
                      <a:pt x="148" y="450"/>
                    </a:lnTo>
                    <a:lnTo>
                      <a:pt x="162" y="479"/>
                    </a:lnTo>
                    <a:lnTo>
                      <a:pt x="173" y="504"/>
                    </a:lnTo>
                    <a:lnTo>
                      <a:pt x="184" y="528"/>
                    </a:lnTo>
                    <a:lnTo>
                      <a:pt x="193" y="545"/>
                    </a:lnTo>
                    <a:lnTo>
                      <a:pt x="201" y="558"/>
                    </a:lnTo>
                    <a:lnTo>
                      <a:pt x="211" y="574"/>
                    </a:lnTo>
                    <a:lnTo>
                      <a:pt x="223" y="591"/>
                    </a:lnTo>
                    <a:lnTo>
                      <a:pt x="236" y="608"/>
                    </a:lnTo>
                    <a:lnTo>
                      <a:pt x="248" y="624"/>
                    </a:lnTo>
                    <a:lnTo>
                      <a:pt x="260" y="637"/>
                    </a:lnTo>
                    <a:lnTo>
                      <a:pt x="272" y="649"/>
                    </a:lnTo>
                    <a:lnTo>
                      <a:pt x="280" y="658"/>
                    </a:lnTo>
                    <a:lnTo>
                      <a:pt x="286" y="662"/>
                    </a:lnTo>
                    <a:lnTo>
                      <a:pt x="289" y="662"/>
                    </a:lnTo>
                    <a:lnTo>
                      <a:pt x="289" y="655"/>
                    </a:lnTo>
                    <a:lnTo>
                      <a:pt x="288" y="643"/>
                    </a:lnTo>
                    <a:lnTo>
                      <a:pt x="285" y="629"/>
                    </a:lnTo>
                    <a:lnTo>
                      <a:pt x="281" y="612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0" name="Freeform 43"/>
              <p:cNvSpPr>
                <a:spLocks/>
              </p:cNvSpPr>
              <p:nvPr/>
            </p:nvSpPr>
            <p:spPr bwMode="auto">
              <a:xfrm>
                <a:off x="4941009" y="3358004"/>
                <a:ext cx="680490" cy="385888"/>
              </a:xfrm>
              <a:custGeom>
                <a:avLst/>
                <a:gdLst/>
                <a:ahLst/>
                <a:cxnLst>
                  <a:cxn ang="0">
                    <a:pos x="561" y="316"/>
                  </a:cxn>
                  <a:cxn ang="0">
                    <a:pos x="584" y="266"/>
                  </a:cxn>
                  <a:cxn ang="0">
                    <a:pos x="602" y="217"/>
                  </a:cxn>
                  <a:cxn ang="0">
                    <a:pos x="634" y="147"/>
                  </a:cxn>
                  <a:cxn ang="0">
                    <a:pos x="653" y="101"/>
                  </a:cxn>
                  <a:cxn ang="0">
                    <a:pos x="652" y="75"/>
                  </a:cxn>
                  <a:cxn ang="0">
                    <a:pos x="636" y="67"/>
                  </a:cxn>
                  <a:cxn ang="0">
                    <a:pos x="598" y="65"/>
                  </a:cxn>
                  <a:cxn ang="0">
                    <a:pos x="536" y="62"/>
                  </a:cxn>
                  <a:cxn ang="0">
                    <a:pos x="459" y="59"/>
                  </a:cxn>
                  <a:cxn ang="0">
                    <a:pos x="372" y="55"/>
                  </a:cxn>
                  <a:cxn ang="0">
                    <a:pos x="312" y="53"/>
                  </a:cxn>
                  <a:cxn ang="0">
                    <a:pos x="225" y="38"/>
                  </a:cxn>
                  <a:cxn ang="0">
                    <a:pos x="153" y="19"/>
                  </a:cxn>
                  <a:cxn ang="0">
                    <a:pos x="108" y="8"/>
                  </a:cxn>
                  <a:cxn ang="0">
                    <a:pos x="75" y="3"/>
                  </a:cxn>
                  <a:cxn ang="0">
                    <a:pos x="44" y="0"/>
                  </a:cxn>
                  <a:cxn ang="0">
                    <a:pos x="34" y="7"/>
                  </a:cxn>
                  <a:cxn ang="0">
                    <a:pos x="31" y="23"/>
                  </a:cxn>
                  <a:cxn ang="0">
                    <a:pos x="17" y="41"/>
                  </a:cxn>
                  <a:cxn ang="0">
                    <a:pos x="0" y="63"/>
                  </a:cxn>
                  <a:cxn ang="0">
                    <a:pos x="7" y="86"/>
                  </a:cxn>
                  <a:cxn ang="0">
                    <a:pos x="33" y="105"/>
                  </a:cxn>
                  <a:cxn ang="0">
                    <a:pos x="76" y="115"/>
                  </a:cxn>
                  <a:cxn ang="0">
                    <a:pos x="167" y="133"/>
                  </a:cxn>
                  <a:cxn ang="0">
                    <a:pos x="246" y="174"/>
                  </a:cxn>
                  <a:cxn ang="0">
                    <a:pos x="317" y="235"/>
                  </a:cxn>
                  <a:cxn ang="0">
                    <a:pos x="368" y="300"/>
                  </a:cxn>
                  <a:cxn ang="0">
                    <a:pos x="401" y="334"/>
                  </a:cxn>
                  <a:cxn ang="0">
                    <a:pos x="435" y="355"/>
                  </a:cxn>
                  <a:cxn ang="0">
                    <a:pos x="476" y="367"/>
                  </a:cxn>
                  <a:cxn ang="0">
                    <a:pos x="505" y="372"/>
                  </a:cxn>
                  <a:cxn ang="0">
                    <a:pos x="523" y="367"/>
                  </a:cxn>
                  <a:cxn ang="0">
                    <a:pos x="540" y="350"/>
                  </a:cxn>
                </a:cxnLst>
                <a:rect l="0" t="0" r="r" b="b"/>
                <a:pathLst>
                  <a:path w="656" h="372">
                    <a:moveTo>
                      <a:pt x="551" y="334"/>
                    </a:moveTo>
                    <a:lnTo>
                      <a:pt x="561" y="316"/>
                    </a:lnTo>
                    <a:lnTo>
                      <a:pt x="573" y="292"/>
                    </a:lnTo>
                    <a:lnTo>
                      <a:pt x="584" y="266"/>
                    </a:lnTo>
                    <a:lnTo>
                      <a:pt x="593" y="242"/>
                    </a:lnTo>
                    <a:lnTo>
                      <a:pt x="602" y="217"/>
                    </a:lnTo>
                    <a:lnTo>
                      <a:pt x="623" y="167"/>
                    </a:lnTo>
                    <a:lnTo>
                      <a:pt x="634" y="147"/>
                    </a:lnTo>
                    <a:lnTo>
                      <a:pt x="647" y="122"/>
                    </a:lnTo>
                    <a:lnTo>
                      <a:pt x="653" y="101"/>
                    </a:lnTo>
                    <a:lnTo>
                      <a:pt x="656" y="86"/>
                    </a:lnTo>
                    <a:lnTo>
                      <a:pt x="652" y="75"/>
                    </a:lnTo>
                    <a:lnTo>
                      <a:pt x="644" y="69"/>
                    </a:lnTo>
                    <a:lnTo>
                      <a:pt x="636" y="67"/>
                    </a:lnTo>
                    <a:lnTo>
                      <a:pt x="620" y="66"/>
                    </a:lnTo>
                    <a:lnTo>
                      <a:pt x="598" y="65"/>
                    </a:lnTo>
                    <a:lnTo>
                      <a:pt x="569" y="63"/>
                    </a:lnTo>
                    <a:lnTo>
                      <a:pt x="536" y="62"/>
                    </a:lnTo>
                    <a:lnTo>
                      <a:pt x="498" y="61"/>
                    </a:lnTo>
                    <a:lnTo>
                      <a:pt x="459" y="59"/>
                    </a:lnTo>
                    <a:lnTo>
                      <a:pt x="412" y="58"/>
                    </a:lnTo>
                    <a:lnTo>
                      <a:pt x="372" y="55"/>
                    </a:lnTo>
                    <a:lnTo>
                      <a:pt x="339" y="54"/>
                    </a:lnTo>
                    <a:lnTo>
                      <a:pt x="312" y="53"/>
                    </a:lnTo>
                    <a:lnTo>
                      <a:pt x="288" y="50"/>
                    </a:lnTo>
                    <a:lnTo>
                      <a:pt x="225" y="38"/>
                    </a:lnTo>
                    <a:lnTo>
                      <a:pt x="178" y="25"/>
                    </a:lnTo>
                    <a:lnTo>
                      <a:pt x="153" y="19"/>
                    </a:lnTo>
                    <a:lnTo>
                      <a:pt x="129" y="13"/>
                    </a:lnTo>
                    <a:lnTo>
                      <a:pt x="108" y="8"/>
                    </a:lnTo>
                    <a:lnTo>
                      <a:pt x="90" y="5"/>
                    </a:lnTo>
                    <a:lnTo>
                      <a:pt x="75" y="3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37" y="2"/>
                    </a:lnTo>
                    <a:lnTo>
                      <a:pt x="34" y="7"/>
                    </a:lnTo>
                    <a:lnTo>
                      <a:pt x="33" y="13"/>
                    </a:lnTo>
                    <a:lnTo>
                      <a:pt x="31" y="23"/>
                    </a:lnTo>
                    <a:lnTo>
                      <a:pt x="25" y="33"/>
                    </a:lnTo>
                    <a:lnTo>
                      <a:pt x="17" y="41"/>
                    </a:lnTo>
                    <a:lnTo>
                      <a:pt x="6" y="51"/>
                    </a:lnTo>
                    <a:lnTo>
                      <a:pt x="0" y="63"/>
                    </a:lnTo>
                    <a:lnTo>
                      <a:pt x="0" y="75"/>
                    </a:lnTo>
                    <a:lnTo>
                      <a:pt x="7" y="86"/>
                    </a:lnTo>
                    <a:lnTo>
                      <a:pt x="17" y="96"/>
                    </a:lnTo>
                    <a:lnTo>
                      <a:pt x="33" y="105"/>
                    </a:lnTo>
                    <a:lnTo>
                      <a:pt x="53" y="111"/>
                    </a:lnTo>
                    <a:lnTo>
                      <a:pt x="76" y="115"/>
                    </a:lnTo>
                    <a:lnTo>
                      <a:pt x="124" y="121"/>
                    </a:lnTo>
                    <a:lnTo>
                      <a:pt x="167" y="133"/>
                    </a:lnTo>
                    <a:lnTo>
                      <a:pt x="208" y="151"/>
                    </a:lnTo>
                    <a:lnTo>
                      <a:pt x="246" y="174"/>
                    </a:lnTo>
                    <a:lnTo>
                      <a:pt x="283" y="201"/>
                    </a:lnTo>
                    <a:lnTo>
                      <a:pt x="317" y="235"/>
                    </a:lnTo>
                    <a:lnTo>
                      <a:pt x="350" y="276"/>
                    </a:lnTo>
                    <a:lnTo>
                      <a:pt x="368" y="300"/>
                    </a:lnTo>
                    <a:lnTo>
                      <a:pt x="385" y="319"/>
                    </a:lnTo>
                    <a:lnTo>
                      <a:pt x="401" y="334"/>
                    </a:lnTo>
                    <a:lnTo>
                      <a:pt x="418" y="346"/>
                    </a:lnTo>
                    <a:lnTo>
                      <a:pt x="435" y="355"/>
                    </a:lnTo>
                    <a:lnTo>
                      <a:pt x="454" y="362"/>
                    </a:lnTo>
                    <a:lnTo>
                      <a:pt x="476" y="367"/>
                    </a:lnTo>
                    <a:lnTo>
                      <a:pt x="493" y="369"/>
                    </a:lnTo>
                    <a:lnTo>
                      <a:pt x="505" y="372"/>
                    </a:lnTo>
                    <a:lnTo>
                      <a:pt x="515" y="371"/>
                    </a:lnTo>
                    <a:lnTo>
                      <a:pt x="523" y="367"/>
                    </a:lnTo>
                    <a:lnTo>
                      <a:pt x="531" y="360"/>
                    </a:lnTo>
                    <a:lnTo>
                      <a:pt x="540" y="350"/>
                    </a:lnTo>
                    <a:lnTo>
                      <a:pt x="551" y="33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1" name="Freeform 47"/>
              <p:cNvSpPr>
                <a:spLocks/>
              </p:cNvSpPr>
              <p:nvPr/>
            </p:nvSpPr>
            <p:spPr bwMode="auto">
              <a:xfrm>
                <a:off x="4991838" y="3031244"/>
                <a:ext cx="846463" cy="368253"/>
              </a:xfrm>
              <a:custGeom>
                <a:avLst/>
                <a:gdLst/>
                <a:ahLst/>
                <a:cxnLst>
                  <a:cxn ang="0">
                    <a:pos x="583" y="309"/>
                  </a:cxn>
                  <a:cxn ang="0">
                    <a:pos x="638" y="285"/>
                  </a:cxn>
                  <a:cxn ang="0">
                    <a:pos x="696" y="277"/>
                  </a:cxn>
                  <a:cxn ang="0">
                    <a:pos x="719" y="263"/>
                  </a:cxn>
                  <a:cxn ang="0">
                    <a:pos x="724" y="249"/>
                  </a:cxn>
                  <a:cxn ang="0">
                    <a:pos x="709" y="244"/>
                  </a:cxn>
                  <a:cxn ang="0">
                    <a:pos x="681" y="238"/>
                  </a:cxn>
                  <a:cxn ang="0">
                    <a:pos x="681" y="223"/>
                  </a:cxn>
                  <a:cxn ang="0">
                    <a:pos x="692" y="207"/>
                  </a:cxn>
                  <a:cxn ang="0">
                    <a:pos x="715" y="196"/>
                  </a:cxn>
                  <a:cxn ang="0">
                    <a:pos x="755" y="190"/>
                  </a:cxn>
                  <a:cxn ang="0">
                    <a:pos x="762" y="108"/>
                  </a:cxn>
                  <a:cxn ang="0">
                    <a:pos x="770" y="75"/>
                  </a:cxn>
                  <a:cxn ang="0">
                    <a:pos x="790" y="47"/>
                  </a:cxn>
                  <a:cxn ang="0">
                    <a:pos x="812" y="20"/>
                  </a:cxn>
                  <a:cxn ang="0">
                    <a:pos x="815" y="4"/>
                  </a:cxn>
                  <a:cxn ang="0">
                    <a:pos x="797" y="0"/>
                  </a:cxn>
                  <a:cxn ang="0">
                    <a:pos x="758" y="8"/>
                  </a:cxn>
                  <a:cxn ang="0">
                    <a:pos x="703" y="21"/>
                  </a:cxn>
                  <a:cxn ang="0">
                    <a:pos x="660" y="30"/>
                  </a:cxn>
                  <a:cxn ang="0">
                    <a:pos x="635" y="34"/>
                  </a:cxn>
                  <a:cxn ang="0">
                    <a:pos x="620" y="37"/>
                  </a:cxn>
                  <a:cxn ang="0">
                    <a:pos x="596" y="56"/>
                  </a:cxn>
                  <a:cxn ang="0">
                    <a:pos x="571" y="85"/>
                  </a:cxn>
                  <a:cxn ang="0">
                    <a:pos x="533" y="134"/>
                  </a:cxn>
                  <a:cxn ang="0">
                    <a:pos x="482" y="177"/>
                  </a:cxn>
                  <a:cxn ang="0">
                    <a:pos x="418" y="209"/>
                  </a:cxn>
                  <a:cxn ang="0">
                    <a:pos x="338" y="231"/>
                  </a:cxn>
                  <a:cxn ang="0">
                    <a:pos x="232" y="247"/>
                  </a:cxn>
                  <a:cxn ang="0">
                    <a:pos x="148" y="257"/>
                  </a:cxn>
                  <a:cxn ang="0">
                    <a:pos x="79" y="267"/>
                  </a:cxn>
                  <a:cxn ang="0">
                    <a:pos x="30" y="276"/>
                  </a:cxn>
                  <a:cxn ang="0">
                    <a:pos x="8" y="282"/>
                  </a:cxn>
                  <a:cxn ang="0">
                    <a:pos x="0" y="290"/>
                  </a:cxn>
                  <a:cxn ang="0">
                    <a:pos x="5" y="294"/>
                  </a:cxn>
                  <a:cxn ang="0">
                    <a:pos x="17" y="297"/>
                  </a:cxn>
                  <a:cxn ang="0">
                    <a:pos x="34" y="298"/>
                  </a:cxn>
                  <a:cxn ang="0">
                    <a:pos x="73" y="302"/>
                  </a:cxn>
                  <a:cxn ang="0">
                    <a:pos x="117" y="311"/>
                  </a:cxn>
                  <a:cxn ang="0">
                    <a:pos x="190" y="331"/>
                  </a:cxn>
                  <a:cxn ang="0">
                    <a:pos x="243" y="344"/>
                  </a:cxn>
                  <a:cxn ang="0">
                    <a:pos x="289" y="351"/>
                  </a:cxn>
                  <a:cxn ang="0">
                    <a:pos x="338" y="353"/>
                  </a:cxn>
                  <a:cxn ang="0">
                    <a:pos x="531" y="355"/>
                  </a:cxn>
                </a:cxnLst>
                <a:rect l="0" t="0" r="r" b="b"/>
                <a:pathLst>
                  <a:path w="816" h="355">
                    <a:moveTo>
                      <a:pt x="560" y="328"/>
                    </a:moveTo>
                    <a:lnTo>
                      <a:pt x="583" y="309"/>
                    </a:lnTo>
                    <a:lnTo>
                      <a:pt x="610" y="294"/>
                    </a:lnTo>
                    <a:lnTo>
                      <a:pt x="638" y="285"/>
                    </a:lnTo>
                    <a:lnTo>
                      <a:pt x="682" y="281"/>
                    </a:lnTo>
                    <a:lnTo>
                      <a:pt x="696" y="277"/>
                    </a:lnTo>
                    <a:lnTo>
                      <a:pt x="708" y="271"/>
                    </a:lnTo>
                    <a:lnTo>
                      <a:pt x="719" y="263"/>
                    </a:lnTo>
                    <a:lnTo>
                      <a:pt x="724" y="256"/>
                    </a:lnTo>
                    <a:lnTo>
                      <a:pt x="724" y="249"/>
                    </a:lnTo>
                    <a:lnTo>
                      <a:pt x="719" y="246"/>
                    </a:lnTo>
                    <a:lnTo>
                      <a:pt x="709" y="244"/>
                    </a:lnTo>
                    <a:lnTo>
                      <a:pt x="688" y="242"/>
                    </a:lnTo>
                    <a:lnTo>
                      <a:pt x="681" y="238"/>
                    </a:lnTo>
                    <a:lnTo>
                      <a:pt x="679" y="231"/>
                    </a:lnTo>
                    <a:lnTo>
                      <a:pt x="681" y="223"/>
                    </a:lnTo>
                    <a:lnTo>
                      <a:pt x="684" y="215"/>
                    </a:lnTo>
                    <a:lnTo>
                      <a:pt x="692" y="207"/>
                    </a:lnTo>
                    <a:lnTo>
                      <a:pt x="702" y="201"/>
                    </a:lnTo>
                    <a:lnTo>
                      <a:pt x="715" y="196"/>
                    </a:lnTo>
                    <a:lnTo>
                      <a:pt x="728" y="193"/>
                    </a:lnTo>
                    <a:lnTo>
                      <a:pt x="755" y="190"/>
                    </a:lnTo>
                    <a:lnTo>
                      <a:pt x="759" y="134"/>
                    </a:lnTo>
                    <a:lnTo>
                      <a:pt x="762" y="108"/>
                    </a:lnTo>
                    <a:lnTo>
                      <a:pt x="765" y="89"/>
                    </a:lnTo>
                    <a:lnTo>
                      <a:pt x="770" y="75"/>
                    </a:lnTo>
                    <a:lnTo>
                      <a:pt x="778" y="62"/>
                    </a:lnTo>
                    <a:lnTo>
                      <a:pt x="790" y="47"/>
                    </a:lnTo>
                    <a:lnTo>
                      <a:pt x="803" y="31"/>
                    </a:lnTo>
                    <a:lnTo>
                      <a:pt x="812" y="20"/>
                    </a:lnTo>
                    <a:lnTo>
                      <a:pt x="816" y="10"/>
                    </a:lnTo>
                    <a:lnTo>
                      <a:pt x="815" y="4"/>
                    </a:lnTo>
                    <a:lnTo>
                      <a:pt x="809" y="0"/>
                    </a:lnTo>
                    <a:lnTo>
                      <a:pt x="797" y="0"/>
                    </a:lnTo>
                    <a:lnTo>
                      <a:pt x="780" y="2"/>
                    </a:lnTo>
                    <a:lnTo>
                      <a:pt x="758" y="8"/>
                    </a:lnTo>
                    <a:lnTo>
                      <a:pt x="728" y="14"/>
                    </a:lnTo>
                    <a:lnTo>
                      <a:pt x="703" y="21"/>
                    </a:lnTo>
                    <a:lnTo>
                      <a:pt x="679" y="26"/>
                    </a:lnTo>
                    <a:lnTo>
                      <a:pt x="660" y="30"/>
                    </a:lnTo>
                    <a:lnTo>
                      <a:pt x="644" y="33"/>
                    </a:lnTo>
                    <a:lnTo>
                      <a:pt x="635" y="34"/>
                    </a:lnTo>
                    <a:lnTo>
                      <a:pt x="627" y="34"/>
                    </a:lnTo>
                    <a:lnTo>
                      <a:pt x="620" y="37"/>
                    </a:lnTo>
                    <a:lnTo>
                      <a:pt x="612" y="41"/>
                    </a:lnTo>
                    <a:lnTo>
                      <a:pt x="596" y="56"/>
                    </a:lnTo>
                    <a:lnTo>
                      <a:pt x="585" y="69"/>
                    </a:lnTo>
                    <a:lnTo>
                      <a:pt x="571" y="85"/>
                    </a:lnTo>
                    <a:lnTo>
                      <a:pt x="556" y="106"/>
                    </a:lnTo>
                    <a:lnTo>
                      <a:pt x="533" y="134"/>
                    </a:lnTo>
                    <a:lnTo>
                      <a:pt x="508" y="156"/>
                    </a:lnTo>
                    <a:lnTo>
                      <a:pt x="482" y="177"/>
                    </a:lnTo>
                    <a:lnTo>
                      <a:pt x="452" y="194"/>
                    </a:lnTo>
                    <a:lnTo>
                      <a:pt x="418" y="209"/>
                    </a:lnTo>
                    <a:lnTo>
                      <a:pt x="380" y="221"/>
                    </a:lnTo>
                    <a:lnTo>
                      <a:pt x="338" y="231"/>
                    </a:lnTo>
                    <a:lnTo>
                      <a:pt x="288" y="240"/>
                    </a:lnTo>
                    <a:lnTo>
                      <a:pt x="232" y="247"/>
                    </a:lnTo>
                    <a:lnTo>
                      <a:pt x="189" y="252"/>
                    </a:lnTo>
                    <a:lnTo>
                      <a:pt x="148" y="257"/>
                    </a:lnTo>
                    <a:lnTo>
                      <a:pt x="112" y="263"/>
                    </a:lnTo>
                    <a:lnTo>
                      <a:pt x="79" y="267"/>
                    </a:lnTo>
                    <a:lnTo>
                      <a:pt x="51" y="272"/>
                    </a:lnTo>
                    <a:lnTo>
                      <a:pt x="30" y="276"/>
                    </a:lnTo>
                    <a:lnTo>
                      <a:pt x="14" y="280"/>
                    </a:lnTo>
                    <a:lnTo>
                      <a:pt x="8" y="282"/>
                    </a:lnTo>
                    <a:lnTo>
                      <a:pt x="3" y="285"/>
                    </a:lnTo>
                    <a:lnTo>
                      <a:pt x="0" y="290"/>
                    </a:lnTo>
                    <a:lnTo>
                      <a:pt x="1" y="292"/>
                    </a:lnTo>
                    <a:lnTo>
                      <a:pt x="5" y="294"/>
                    </a:lnTo>
                    <a:lnTo>
                      <a:pt x="10" y="295"/>
                    </a:lnTo>
                    <a:lnTo>
                      <a:pt x="17" y="297"/>
                    </a:lnTo>
                    <a:lnTo>
                      <a:pt x="25" y="298"/>
                    </a:lnTo>
                    <a:lnTo>
                      <a:pt x="34" y="298"/>
                    </a:lnTo>
                    <a:lnTo>
                      <a:pt x="51" y="299"/>
                    </a:lnTo>
                    <a:lnTo>
                      <a:pt x="73" y="302"/>
                    </a:lnTo>
                    <a:lnTo>
                      <a:pt x="96" y="306"/>
                    </a:lnTo>
                    <a:lnTo>
                      <a:pt x="117" y="311"/>
                    </a:lnTo>
                    <a:lnTo>
                      <a:pt x="156" y="322"/>
                    </a:lnTo>
                    <a:lnTo>
                      <a:pt x="190" y="331"/>
                    </a:lnTo>
                    <a:lnTo>
                      <a:pt x="219" y="339"/>
                    </a:lnTo>
                    <a:lnTo>
                      <a:pt x="243" y="344"/>
                    </a:lnTo>
                    <a:lnTo>
                      <a:pt x="267" y="348"/>
                    </a:lnTo>
                    <a:lnTo>
                      <a:pt x="289" y="351"/>
                    </a:lnTo>
                    <a:lnTo>
                      <a:pt x="313" y="352"/>
                    </a:lnTo>
                    <a:lnTo>
                      <a:pt x="338" y="353"/>
                    </a:lnTo>
                    <a:lnTo>
                      <a:pt x="368" y="355"/>
                    </a:lnTo>
                    <a:lnTo>
                      <a:pt x="531" y="355"/>
                    </a:lnTo>
                    <a:lnTo>
                      <a:pt x="560" y="32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2" name="Freeform 49"/>
              <p:cNvSpPr>
                <a:spLocks/>
              </p:cNvSpPr>
              <p:nvPr/>
            </p:nvSpPr>
            <p:spPr bwMode="auto">
              <a:xfrm>
                <a:off x="5044742" y="3055103"/>
                <a:ext cx="553936" cy="242736"/>
              </a:xfrm>
              <a:custGeom>
                <a:avLst/>
                <a:gdLst/>
                <a:ahLst/>
                <a:cxnLst>
                  <a:cxn ang="0">
                    <a:pos x="170" y="216"/>
                  </a:cxn>
                  <a:cxn ang="0">
                    <a:pos x="224" y="209"/>
                  </a:cxn>
                  <a:cxn ang="0">
                    <a:pos x="270" y="202"/>
                  </a:cxn>
                  <a:cxn ang="0">
                    <a:pos x="310" y="194"/>
                  </a:cxn>
                  <a:cxn ang="0">
                    <a:pos x="344" y="184"/>
                  </a:cxn>
                  <a:cxn ang="0">
                    <a:pos x="376" y="173"/>
                  </a:cxn>
                  <a:cxn ang="0">
                    <a:pos x="402" y="159"/>
                  </a:cxn>
                  <a:cxn ang="0">
                    <a:pos x="426" y="145"/>
                  </a:cxn>
                  <a:cxn ang="0">
                    <a:pos x="439" y="135"/>
                  </a:cxn>
                  <a:cxn ang="0">
                    <a:pos x="455" y="121"/>
                  </a:cxn>
                  <a:cxn ang="0">
                    <a:pos x="486" y="90"/>
                  </a:cxn>
                  <a:cxn ang="0">
                    <a:pos x="501" y="74"/>
                  </a:cxn>
                  <a:cxn ang="0">
                    <a:pos x="514" y="60"/>
                  </a:cxn>
                  <a:cxn ang="0">
                    <a:pos x="524" y="45"/>
                  </a:cxn>
                  <a:cxn ang="0">
                    <a:pos x="531" y="35"/>
                  </a:cxn>
                  <a:cxn ang="0">
                    <a:pos x="534" y="28"/>
                  </a:cxn>
                  <a:cxn ang="0">
                    <a:pos x="530" y="23"/>
                  </a:cxn>
                  <a:cxn ang="0">
                    <a:pos x="519" y="16"/>
                  </a:cxn>
                  <a:cxn ang="0">
                    <a:pos x="502" y="12"/>
                  </a:cxn>
                  <a:cxn ang="0">
                    <a:pos x="481" y="7"/>
                  </a:cxn>
                  <a:cxn ang="0">
                    <a:pos x="457" y="3"/>
                  </a:cxn>
                  <a:cxn ang="0">
                    <a:pos x="405" y="0"/>
                  </a:cxn>
                  <a:cxn ang="0">
                    <a:pos x="373" y="2"/>
                  </a:cxn>
                  <a:cxn ang="0">
                    <a:pos x="346" y="6"/>
                  </a:cxn>
                  <a:cxn ang="0">
                    <a:pos x="317" y="12"/>
                  </a:cxn>
                  <a:cxn ang="0">
                    <a:pos x="285" y="23"/>
                  </a:cxn>
                  <a:cxn ang="0">
                    <a:pos x="264" y="31"/>
                  </a:cxn>
                  <a:cxn ang="0">
                    <a:pos x="241" y="39"/>
                  </a:cxn>
                  <a:cxn ang="0">
                    <a:pos x="218" y="48"/>
                  </a:cxn>
                  <a:cxn ang="0">
                    <a:pos x="196" y="56"/>
                  </a:cxn>
                  <a:cxn ang="0">
                    <a:pos x="179" y="61"/>
                  </a:cxn>
                  <a:cxn ang="0">
                    <a:pos x="158" y="69"/>
                  </a:cxn>
                  <a:cxn ang="0">
                    <a:pos x="143" y="77"/>
                  </a:cxn>
                  <a:cxn ang="0">
                    <a:pos x="133" y="85"/>
                  </a:cxn>
                  <a:cxn ang="0">
                    <a:pos x="125" y="96"/>
                  </a:cxn>
                  <a:cxn ang="0">
                    <a:pos x="118" y="111"/>
                  </a:cxn>
                  <a:cxn ang="0">
                    <a:pos x="111" y="125"/>
                  </a:cxn>
                  <a:cxn ang="0">
                    <a:pos x="97" y="142"/>
                  </a:cxn>
                  <a:cxn ang="0">
                    <a:pos x="83" y="161"/>
                  </a:cxn>
                  <a:cxn ang="0">
                    <a:pos x="65" y="179"/>
                  </a:cxn>
                  <a:cxn ang="0">
                    <a:pos x="45" y="196"/>
                  </a:cxn>
                  <a:cxn ang="0">
                    <a:pos x="26" y="213"/>
                  </a:cxn>
                  <a:cxn ang="0">
                    <a:pos x="8" y="226"/>
                  </a:cxn>
                  <a:cxn ang="0">
                    <a:pos x="4" y="229"/>
                  </a:cxn>
                  <a:cxn ang="0">
                    <a:pos x="1" y="230"/>
                  </a:cxn>
                  <a:cxn ang="0">
                    <a:pos x="0" y="232"/>
                  </a:cxn>
                  <a:cxn ang="0">
                    <a:pos x="0" y="233"/>
                  </a:cxn>
                  <a:cxn ang="0">
                    <a:pos x="3" y="234"/>
                  </a:cxn>
                  <a:cxn ang="0">
                    <a:pos x="5" y="234"/>
                  </a:cxn>
                  <a:cxn ang="0">
                    <a:pos x="11" y="233"/>
                  </a:cxn>
                  <a:cxn ang="0">
                    <a:pos x="17" y="233"/>
                  </a:cxn>
                  <a:cxn ang="0">
                    <a:pos x="25" y="232"/>
                  </a:cxn>
                  <a:cxn ang="0">
                    <a:pos x="37" y="230"/>
                  </a:cxn>
                  <a:cxn ang="0">
                    <a:pos x="57" y="228"/>
                  </a:cxn>
                  <a:cxn ang="0">
                    <a:pos x="80" y="225"/>
                  </a:cxn>
                  <a:cxn ang="0">
                    <a:pos x="108" y="223"/>
                  </a:cxn>
                  <a:cxn ang="0">
                    <a:pos x="138" y="219"/>
                  </a:cxn>
                  <a:cxn ang="0">
                    <a:pos x="170" y="216"/>
                  </a:cxn>
                </a:cxnLst>
                <a:rect l="0" t="0" r="r" b="b"/>
                <a:pathLst>
                  <a:path w="534" h="234">
                    <a:moveTo>
                      <a:pt x="170" y="216"/>
                    </a:moveTo>
                    <a:lnTo>
                      <a:pt x="224" y="209"/>
                    </a:lnTo>
                    <a:lnTo>
                      <a:pt x="270" y="202"/>
                    </a:lnTo>
                    <a:lnTo>
                      <a:pt x="310" y="194"/>
                    </a:lnTo>
                    <a:lnTo>
                      <a:pt x="344" y="184"/>
                    </a:lnTo>
                    <a:lnTo>
                      <a:pt x="376" y="173"/>
                    </a:lnTo>
                    <a:lnTo>
                      <a:pt x="402" y="159"/>
                    </a:lnTo>
                    <a:lnTo>
                      <a:pt x="426" y="145"/>
                    </a:lnTo>
                    <a:lnTo>
                      <a:pt x="439" y="135"/>
                    </a:lnTo>
                    <a:lnTo>
                      <a:pt x="455" y="121"/>
                    </a:lnTo>
                    <a:lnTo>
                      <a:pt x="486" y="90"/>
                    </a:lnTo>
                    <a:lnTo>
                      <a:pt x="501" y="74"/>
                    </a:lnTo>
                    <a:lnTo>
                      <a:pt x="514" y="60"/>
                    </a:lnTo>
                    <a:lnTo>
                      <a:pt x="524" y="45"/>
                    </a:lnTo>
                    <a:lnTo>
                      <a:pt x="531" y="35"/>
                    </a:lnTo>
                    <a:lnTo>
                      <a:pt x="534" y="28"/>
                    </a:lnTo>
                    <a:lnTo>
                      <a:pt x="530" y="23"/>
                    </a:lnTo>
                    <a:lnTo>
                      <a:pt x="519" y="16"/>
                    </a:lnTo>
                    <a:lnTo>
                      <a:pt x="502" y="12"/>
                    </a:lnTo>
                    <a:lnTo>
                      <a:pt x="481" y="7"/>
                    </a:lnTo>
                    <a:lnTo>
                      <a:pt x="457" y="3"/>
                    </a:lnTo>
                    <a:lnTo>
                      <a:pt x="405" y="0"/>
                    </a:lnTo>
                    <a:lnTo>
                      <a:pt x="373" y="2"/>
                    </a:lnTo>
                    <a:lnTo>
                      <a:pt x="346" y="6"/>
                    </a:lnTo>
                    <a:lnTo>
                      <a:pt x="317" y="12"/>
                    </a:lnTo>
                    <a:lnTo>
                      <a:pt x="285" y="23"/>
                    </a:lnTo>
                    <a:lnTo>
                      <a:pt x="264" y="31"/>
                    </a:lnTo>
                    <a:lnTo>
                      <a:pt x="241" y="39"/>
                    </a:lnTo>
                    <a:lnTo>
                      <a:pt x="218" y="48"/>
                    </a:lnTo>
                    <a:lnTo>
                      <a:pt x="196" y="56"/>
                    </a:lnTo>
                    <a:lnTo>
                      <a:pt x="179" y="61"/>
                    </a:lnTo>
                    <a:lnTo>
                      <a:pt x="158" y="69"/>
                    </a:lnTo>
                    <a:lnTo>
                      <a:pt x="143" y="77"/>
                    </a:lnTo>
                    <a:lnTo>
                      <a:pt x="133" y="85"/>
                    </a:lnTo>
                    <a:lnTo>
                      <a:pt x="125" y="96"/>
                    </a:lnTo>
                    <a:lnTo>
                      <a:pt x="118" y="111"/>
                    </a:lnTo>
                    <a:lnTo>
                      <a:pt x="111" y="125"/>
                    </a:lnTo>
                    <a:lnTo>
                      <a:pt x="97" y="142"/>
                    </a:lnTo>
                    <a:lnTo>
                      <a:pt x="83" y="161"/>
                    </a:lnTo>
                    <a:lnTo>
                      <a:pt x="65" y="179"/>
                    </a:lnTo>
                    <a:lnTo>
                      <a:pt x="45" y="196"/>
                    </a:lnTo>
                    <a:lnTo>
                      <a:pt x="26" y="213"/>
                    </a:lnTo>
                    <a:lnTo>
                      <a:pt x="8" y="226"/>
                    </a:lnTo>
                    <a:lnTo>
                      <a:pt x="4" y="229"/>
                    </a:lnTo>
                    <a:lnTo>
                      <a:pt x="1" y="230"/>
                    </a:lnTo>
                    <a:lnTo>
                      <a:pt x="0" y="232"/>
                    </a:lnTo>
                    <a:lnTo>
                      <a:pt x="0" y="233"/>
                    </a:lnTo>
                    <a:lnTo>
                      <a:pt x="3" y="234"/>
                    </a:lnTo>
                    <a:lnTo>
                      <a:pt x="5" y="234"/>
                    </a:lnTo>
                    <a:lnTo>
                      <a:pt x="11" y="233"/>
                    </a:lnTo>
                    <a:lnTo>
                      <a:pt x="17" y="233"/>
                    </a:lnTo>
                    <a:lnTo>
                      <a:pt x="25" y="232"/>
                    </a:lnTo>
                    <a:lnTo>
                      <a:pt x="37" y="230"/>
                    </a:lnTo>
                    <a:lnTo>
                      <a:pt x="57" y="228"/>
                    </a:lnTo>
                    <a:lnTo>
                      <a:pt x="80" y="225"/>
                    </a:lnTo>
                    <a:lnTo>
                      <a:pt x="108" y="223"/>
                    </a:lnTo>
                    <a:lnTo>
                      <a:pt x="138" y="219"/>
                    </a:lnTo>
                    <a:lnTo>
                      <a:pt x="170" y="21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53" name="Freeform 53"/>
              <p:cNvSpPr>
                <a:spLocks/>
              </p:cNvSpPr>
              <p:nvPr/>
            </p:nvSpPr>
            <p:spPr bwMode="auto">
              <a:xfrm>
                <a:off x="5183745" y="2476271"/>
                <a:ext cx="850613" cy="643146"/>
              </a:xfrm>
              <a:custGeom>
                <a:avLst/>
                <a:gdLst/>
                <a:ahLst/>
                <a:cxnLst>
                  <a:cxn ang="0">
                    <a:pos x="178" y="562"/>
                  </a:cxn>
                  <a:cxn ang="0">
                    <a:pos x="268" y="545"/>
                  </a:cxn>
                  <a:cxn ang="0">
                    <a:pos x="355" y="557"/>
                  </a:cxn>
                  <a:cxn ang="0">
                    <a:pos x="401" y="565"/>
                  </a:cxn>
                  <a:cxn ang="0">
                    <a:pos x="456" y="557"/>
                  </a:cxn>
                  <a:cxn ang="0">
                    <a:pos x="539" y="540"/>
                  </a:cxn>
                  <a:cxn ang="0">
                    <a:pos x="587" y="519"/>
                  </a:cxn>
                  <a:cxn ang="0">
                    <a:pos x="628" y="490"/>
                  </a:cxn>
                  <a:cxn ang="0">
                    <a:pos x="662" y="478"/>
                  </a:cxn>
                  <a:cxn ang="0">
                    <a:pos x="711" y="434"/>
                  </a:cxn>
                  <a:cxn ang="0">
                    <a:pos x="754" y="357"/>
                  </a:cxn>
                  <a:cxn ang="0">
                    <a:pos x="771" y="285"/>
                  </a:cxn>
                  <a:cxn ang="0">
                    <a:pos x="749" y="250"/>
                  </a:cxn>
                  <a:cxn ang="0">
                    <a:pos x="702" y="248"/>
                  </a:cxn>
                  <a:cxn ang="0">
                    <a:pos x="687" y="235"/>
                  </a:cxn>
                  <a:cxn ang="0">
                    <a:pos x="716" y="205"/>
                  </a:cxn>
                  <a:cxn ang="0">
                    <a:pos x="765" y="198"/>
                  </a:cxn>
                  <a:cxn ang="0">
                    <a:pos x="806" y="217"/>
                  </a:cxn>
                  <a:cxn ang="0">
                    <a:pos x="820" y="195"/>
                  </a:cxn>
                  <a:cxn ang="0">
                    <a:pos x="816" y="122"/>
                  </a:cxn>
                  <a:cxn ang="0">
                    <a:pos x="807" y="79"/>
                  </a:cxn>
                  <a:cxn ang="0">
                    <a:pos x="783" y="82"/>
                  </a:cxn>
                  <a:cxn ang="0">
                    <a:pos x="756" y="76"/>
                  </a:cxn>
                  <a:cxn ang="0">
                    <a:pos x="752" y="29"/>
                  </a:cxn>
                  <a:cxn ang="0">
                    <a:pos x="736" y="4"/>
                  </a:cxn>
                  <a:cxn ang="0">
                    <a:pos x="674" y="1"/>
                  </a:cxn>
                  <a:cxn ang="0">
                    <a:pos x="590" y="17"/>
                  </a:cxn>
                  <a:cxn ang="0">
                    <a:pos x="539" y="39"/>
                  </a:cxn>
                  <a:cxn ang="0">
                    <a:pos x="506" y="95"/>
                  </a:cxn>
                  <a:cxn ang="0">
                    <a:pos x="440" y="187"/>
                  </a:cxn>
                  <a:cxn ang="0">
                    <a:pos x="390" y="231"/>
                  </a:cxn>
                  <a:cxn ang="0">
                    <a:pos x="359" y="263"/>
                  </a:cxn>
                  <a:cxn ang="0">
                    <a:pos x="354" y="286"/>
                  </a:cxn>
                  <a:cxn ang="0">
                    <a:pos x="384" y="318"/>
                  </a:cxn>
                  <a:cxn ang="0">
                    <a:pos x="436" y="363"/>
                  </a:cxn>
                  <a:cxn ang="0">
                    <a:pos x="443" y="398"/>
                  </a:cxn>
                  <a:cxn ang="0">
                    <a:pos x="389" y="419"/>
                  </a:cxn>
                  <a:cxn ang="0">
                    <a:pos x="321" y="426"/>
                  </a:cxn>
                  <a:cxn ang="0">
                    <a:pos x="297" y="415"/>
                  </a:cxn>
                  <a:cxn ang="0">
                    <a:pos x="272" y="388"/>
                  </a:cxn>
                  <a:cxn ang="0">
                    <a:pos x="243" y="376"/>
                  </a:cxn>
                  <a:cxn ang="0">
                    <a:pos x="227" y="356"/>
                  </a:cxn>
                  <a:cxn ang="0">
                    <a:pos x="214" y="346"/>
                  </a:cxn>
                  <a:cxn ang="0">
                    <a:pos x="178" y="372"/>
                  </a:cxn>
                  <a:cxn ang="0">
                    <a:pos x="155" y="402"/>
                  </a:cxn>
                  <a:cxn ang="0">
                    <a:pos x="137" y="427"/>
                  </a:cxn>
                  <a:cxn ang="0">
                    <a:pos x="68" y="472"/>
                  </a:cxn>
                  <a:cxn ang="0">
                    <a:pos x="17" y="540"/>
                  </a:cxn>
                  <a:cxn ang="0">
                    <a:pos x="4" y="599"/>
                  </a:cxn>
                  <a:cxn ang="0">
                    <a:pos x="3" y="619"/>
                  </a:cxn>
                  <a:cxn ang="0">
                    <a:pos x="26" y="616"/>
                  </a:cxn>
                  <a:cxn ang="0">
                    <a:pos x="99" y="590"/>
                  </a:cxn>
                </a:cxnLst>
                <a:rect l="0" t="0" r="r" b="b"/>
                <a:pathLst>
                  <a:path w="820" h="620">
                    <a:moveTo>
                      <a:pt x="99" y="590"/>
                    </a:moveTo>
                    <a:lnTo>
                      <a:pt x="141" y="574"/>
                    </a:lnTo>
                    <a:lnTo>
                      <a:pt x="178" y="562"/>
                    </a:lnTo>
                    <a:lnTo>
                      <a:pt x="210" y="553"/>
                    </a:lnTo>
                    <a:lnTo>
                      <a:pt x="239" y="548"/>
                    </a:lnTo>
                    <a:lnTo>
                      <a:pt x="268" y="545"/>
                    </a:lnTo>
                    <a:lnTo>
                      <a:pt x="296" y="547"/>
                    </a:lnTo>
                    <a:lnTo>
                      <a:pt x="325" y="551"/>
                    </a:lnTo>
                    <a:lnTo>
                      <a:pt x="355" y="557"/>
                    </a:lnTo>
                    <a:lnTo>
                      <a:pt x="372" y="561"/>
                    </a:lnTo>
                    <a:lnTo>
                      <a:pt x="386" y="564"/>
                    </a:lnTo>
                    <a:lnTo>
                      <a:pt x="401" y="565"/>
                    </a:lnTo>
                    <a:lnTo>
                      <a:pt x="415" y="564"/>
                    </a:lnTo>
                    <a:lnTo>
                      <a:pt x="434" y="562"/>
                    </a:lnTo>
                    <a:lnTo>
                      <a:pt x="456" y="557"/>
                    </a:lnTo>
                    <a:lnTo>
                      <a:pt x="485" y="552"/>
                    </a:lnTo>
                    <a:lnTo>
                      <a:pt x="515" y="545"/>
                    </a:lnTo>
                    <a:lnTo>
                      <a:pt x="539" y="540"/>
                    </a:lnTo>
                    <a:lnTo>
                      <a:pt x="559" y="534"/>
                    </a:lnTo>
                    <a:lnTo>
                      <a:pt x="574" y="527"/>
                    </a:lnTo>
                    <a:lnTo>
                      <a:pt x="587" y="519"/>
                    </a:lnTo>
                    <a:lnTo>
                      <a:pt x="601" y="509"/>
                    </a:lnTo>
                    <a:lnTo>
                      <a:pt x="615" y="498"/>
                    </a:lnTo>
                    <a:lnTo>
                      <a:pt x="628" y="490"/>
                    </a:lnTo>
                    <a:lnTo>
                      <a:pt x="640" y="485"/>
                    </a:lnTo>
                    <a:lnTo>
                      <a:pt x="648" y="482"/>
                    </a:lnTo>
                    <a:lnTo>
                      <a:pt x="662" y="478"/>
                    </a:lnTo>
                    <a:lnTo>
                      <a:pt x="678" y="468"/>
                    </a:lnTo>
                    <a:lnTo>
                      <a:pt x="694" y="453"/>
                    </a:lnTo>
                    <a:lnTo>
                      <a:pt x="711" y="434"/>
                    </a:lnTo>
                    <a:lnTo>
                      <a:pt x="727" y="410"/>
                    </a:lnTo>
                    <a:lnTo>
                      <a:pt x="741" y="385"/>
                    </a:lnTo>
                    <a:lnTo>
                      <a:pt x="754" y="357"/>
                    </a:lnTo>
                    <a:lnTo>
                      <a:pt x="764" y="330"/>
                    </a:lnTo>
                    <a:lnTo>
                      <a:pt x="770" y="304"/>
                    </a:lnTo>
                    <a:lnTo>
                      <a:pt x="771" y="285"/>
                    </a:lnTo>
                    <a:lnTo>
                      <a:pt x="769" y="269"/>
                    </a:lnTo>
                    <a:lnTo>
                      <a:pt x="761" y="258"/>
                    </a:lnTo>
                    <a:lnTo>
                      <a:pt x="749" y="250"/>
                    </a:lnTo>
                    <a:lnTo>
                      <a:pt x="733" y="246"/>
                    </a:lnTo>
                    <a:lnTo>
                      <a:pt x="715" y="247"/>
                    </a:lnTo>
                    <a:lnTo>
                      <a:pt x="702" y="248"/>
                    </a:lnTo>
                    <a:lnTo>
                      <a:pt x="691" y="246"/>
                    </a:lnTo>
                    <a:lnTo>
                      <a:pt x="687" y="242"/>
                    </a:lnTo>
                    <a:lnTo>
                      <a:pt x="687" y="235"/>
                    </a:lnTo>
                    <a:lnTo>
                      <a:pt x="691" y="226"/>
                    </a:lnTo>
                    <a:lnTo>
                      <a:pt x="700" y="216"/>
                    </a:lnTo>
                    <a:lnTo>
                      <a:pt x="716" y="205"/>
                    </a:lnTo>
                    <a:lnTo>
                      <a:pt x="732" y="198"/>
                    </a:lnTo>
                    <a:lnTo>
                      <a:pt x="749" y="196"/>
                    </a:lnTo>
                    <a:lnTo>
                      <a:pt x="765" y="198"/>
                    </a:lnTo>
                    <a:lnTo>
                      <a:pt x="779" y="205"/>
                    </a:lnTo>
                    <a:lnTo>
                      <a:pt x="794" y="213"/>
                    </a:lnTo>
                    <a:lnTo>
                      <a:pt x="806" y="217"/>
                    </a:lnTo>
                    <a:lnTo>
                      <a:pt x="813" y="216"/>
                    </a:lnTo>
                    <a:lnTo>
                      <a:pt x="817" y="208"/>
                    </a:lnTo>
                    <a:lnTo>
                      <a:pt x="820" y="195"/>
                    </a:lnTo>
                    <a:lnTo>
                      <a:pt x="820" y="173"/>
                    </a:lnTo>
                    <a:lnTo>
                      <a:pt x="819" y="147"/>
                    </a:lnTo>
                    <a:lnTo>
                      <a:pt x="816" y="122"/>
                    </a:lnTo>
                    <a:lnTo>
                      <a:pt x="813" y="101"/>
                    </a:lnTo>
                    <a:lnTo>
                      <a:pt x="810" y="87"/>
                    </a:lnTo>
                    <a:lnTo>
                      <a:pt x="807" y="79"/>
                    </a:lnTo>
                    <a:lnTo>
                      <a:pt x="802" y="76"/>
                    </a:lnTo>
                    <a:lnTo>
                      <a:pt x="792" y="78"/>
                    </a:lnTo>
                    <a:lnTo>
                      <a:pt x="783" y="82"/>
                    </a:lnTo>
                    <a:lnTo>
                      <a:pt x="771" y="85"/>
                    </a:lnTo>
                    <a:lnTo>
                      <a:pt x="762" y="84"/>
                    </a:lnTo>
                    <a:lnTo>
                      <a:pt x="756" y="76"/>
                    </a:lnTo>
                    <a:lnTo>
                      <a:pt x="753" y="63"/>
                    </a:lnTo>
                    <a:lnTo>
                      <a:pt x="753" y="43"/>
                    </a:lnTo>
                    <a:lnTo>
                      <a:pt x="752" y="29"/>
                    </a:lnTo>
                    <a:lnTo>
                      <a:pt x="749" y="16"/>
                    </a:lnTo>
                    <a:lnTo>
                      <a:pt x="745" y="8"/>
                    </a:lnTo>
                    <a:lnTo>
                      <a:pt x="736" y="4"/>
                    </a:lnTo>
                    <a:lnTo>
                      <a:pt x="719" y="1"/>
                    </a:lnTo>
                    <a:lnTo>
                      <a:pt x="698" y="0"/>
                    </a:lnTo>
                    <a:lnTo>
                      <a:pt x="674" y="1"/>
                    </a:lnTo>
                    <a:lnTo>
                      <a:pt x="647" y="5"/>
                    </a:lnTo>
                    <a:lnTo>
                      <a:pt x="619" y="11"/>
                    </a:lnTo>
                    <a:lnTo>
                      <a:pt x="590" y="17"/>
                    </a:lnTo>
                    <a:lnTo>
                      <a:pt x="569" y="24"/>
                    </a:lnTo>
                    <a:lnTo>
                      <a:pt x="552" y="30"/>
                    </a:lnTo>
                    <a:lnTo>
                      <a:pt x="539" y="39"/>
                    </a:lnTo>
                    <a:lnTo>
                      <a:pt x="528" y="53"/>
                    </a:lnTo>
                    <a:lnTo>
                      <a:pt x="518" y="71"/>
                    </a:lnTo>
                    <a:lnTo>
                      <a:pt x="506" y="95"/>
                    </a:lnTo>
                    <a:lnTo>
                      <a:pt x="486" y="130"/>
                    </a:lnTo>
                    <a:lnTo>
                      <a:pt x="464" y="162"/>
                    </a:lnTo>
                    <a:lnTo>
                      <a:pt x="440" y="187"/>
                    </a:lnTo>
                    <a:lnTo>
                      <a:pt x="423" y="201"/>
                    </a:lnTo>
                    <a:lnTo>
                      <a:pt x="406" y="217"/>
                    </a:lnTo>
                    <a:lnTo>
                      <a:pt x="390" y="231"/>
                    </a:lnTo>
                    <a:lnTo>
                      <a:pt x="377" y="243"/>
                    </a:lnTo>
                    <a:lnTo>
                      <a:pt x="367" y="252"/>
                    </a:lnTo>
                    <a:lnTo>
                      <a:pt x="359" y="263"/>
                    </a:lnTo>
                    <a:lnTo>
                      <a:pt x="354" y="272"/>
                    </a:lnTo>
                    <a:lnTo>
                      <a:pt x="351" y="280"/>
                    </a:lnTo>
                    <a:lnTo>
                      <a:pt x="354" y="286"/>
                    </a:lnTo>
                    <a:lnTo>
                      <a:pt x="360" y="296"/>
                    </a:lnTo>
                    <a:lnTo>
                      <a:pt x="369" y="306"/>
                    </a:lnTo>
                    <a:lnTo>
                      <a:pt x="384" y="318"/>
                    </a:lnTo>
                    <a:lnTo>
                      <a:pt x="400" y="330"/>
                    </a:lnTo>
                    <a:lnTo>
                      <a:pt x="422" y="347"/>
                    </a:lnTo>
                    <a:lnTo>
                      <a:pt x="436" y="363"/>
                    </a:lnTo>
                    <a:lnTo>
                      <a:pt x="446" y="376"/>
                    </a:lnTo>
                    <a:lnTo>
                      <a:pt x="447" y="389"/>
                    </a:lnTo>
                    <a:lnTo>
                      <a:pt x="443" y="398"/>
                    </a:lnTo>
                    <a:lnTo>
                      <a:pt x="431" y="407"/>
                    </a:lnTo>
                    <a:lnTo>
                      <a:pt x="414" y="414"/>
                    </a:lnTo>
                    <a:lnTo>
                      <a:pt x="389" y="419"/>
                    </a:lnTo>
                    <a:lnTo>
                      <a:pt x="359" y="423"/>
                    </a:lnTo>
                    <a:lnTo>
                      <a:pt x="337" y="424"/>
                    </a:lnTo>
                    <a:lnTo>
                      <a:pt x="321" y="426"/>
                    </a:lnTo>
                    <a:lnTo>
                      <a:pt x="310" y="424"/>
                    </a:lnTo>
                    <a:lnTo>
                      <a:pt x="302" y="421"/>
                    </a:lnTo>
                    <a:lnTo>
                      <a:pt x="297" y="415"/>
                    </a:lnTo>
                    <a:lnTo>
                      <a:pt x="291" y="406"/>
                    </a:lnTo>
                    <a:lnTo>
                      <a:pt x="283" y="396"/>
                    </a:lnTo>
                    <a:lnTo>
                      <a:pt x="272" y="388"/>
                    </a:lnTo>
                    <a:lnTo>
                      <a:pt x="262" y="385"/>
                    </a:lnTo>
                    <a:lnTo>
                      <a:pt x="252" y="382"/>
                    </a:lnTo>
                    <a:lnTo>
                      <a:pt x="243" y="376"/>
                    </a:lnTo>
                    <a:lnTo>
                      <a:pt x="234" y="365"/>
                    </a:lnTo>
                    <a:lnTo>
                      <a:pt x="230" y="360"/>
                    </a:lnTo>
                    <a:lnTo>
                      <a:pt x="227" y="356"/>
                    </a:lnTo>
                    <a:lnTo>
                      <a:pt x="224" y="351"/>
                    </a:lnTo>
                    <a:lnTo>
                      <a:pt x="220" y="348"/>
                    </a:lnTo>
                    <a:lnTo>
                      <a:pt x="214" y="346"/>
                    </a:lnTo>
                    <a:lnTo>
                      <a:pt x="208" y="348"/>
                    </a:lnTo>
                    <a:lnTo>
                      <a:pt x="199" y="354"/>
                    </a:lnTo>
                    <a:lnTo>
                      <a:pt x="178" y="372"/>
                    </a:lnTo>
                    <a:lnTo>
                      <a:pt x="167" y="384"/>
                    </a:lnTo>
                    <a:lnTo>
                      <a:pt x="159" y="393"/>
                    </a:lnTo>
                    <a:lnTo>
                      <a:pt x="155" y="402"/>
                    </a:lnTo>
                    <a:lnTo>
                      <a:pt x="153" y="413"/>
                    </a:lnTo>
                    <a:lnTo>
                      <a:pt x="147" y="419"/>
                    </a:lnTo>
                    <a:lnTo>
                      <a:pt x="137" y="427"/>
                    </a:lnTo>
                    <a:lnTo>
                      <a:pt x="121" y="436"/>
                    </a:lnTo>
                    <a:lnTo>
                      <a:pt x="93" y="452"/>
                    </a:lnTo>
                    <a:lnTo>
                      <a:pt x="68" y="472"/>
                    </a:lnTo>
                    <a:lnTo>
                      <a:pt x="47" y="494"/>
                    </a:lnTo>
                    <a:lnTo>
                      <a:pt x="30" y="516"/>
                    </a:lnTo>
                    <a:lnTo>
                      <a:pt x="17" y="540"/>
                    </a:lnTo>
                    <a:lnTo>
                      <a:pt x="11" y="562"/>
                    </a:lnTo>
                    <a:lnTo>
                      <a:pt x="8" y="582"/>
                    </a:lnTo>
                    <a:lnTo>
                      <a:pt x="4" y="599"/>
                    </a:lnTo>
                    <a:lnTo>
                      <a:pt x="1" y="611"/>
                    </a:lnTo>
                    <a:lnTo>
                      <a:pt x="0" y="616"/>
                    </a:lnTo>
                    <a:lnTo>
                      <a:pt x="3" y="619"/>
                    </a:lnTo>
                    <a:lnTo>
                      <a:pt x="7" y="620"/>
                    </a:lnTo>
                    <a:lnTo>
                      <a:pt x="15" y="619"/>
                    </a:lnTo>
                    <a:lnTo>
                      <a:pt x="26" y="616"/>
                    </a:lnTo>
                    <a:lnTo>
                      <a:pt x="45" y="610"/>
                    </a:lnTo>
                    <a:lnTo>
                      <a:pt x="68" y="602"/>
                    </a:lnTo>
                    <a:lnTo>
                      <a:pt x="99" y="59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  <p:sp>
          <p:nvSpPr>
            <p:cNvPr id="305" name="Freeform 58"/>
            <p:cNvSpPr>
              <a:spLocks/>
            </p:cNvSpPr>
            <p:nvPr/>
          </p:nvSpPr>
          <p:spPr bwMode="auto">
            <a:xfrm>
              <a:off x="6484041" y="2534347"/>
              <a:ext cx="113766" cy="98320"/>
            </a:xfrm>
            <a:custGeom>
              <a:avLst/>
              <a:gdLst/>
              <a:ahLst/>
              <a:cxnLst>
                <a:cxn ang="0">
                  <a:pos x="119" y="171"/>
                </a:cxn>
                <a:cxn ang="0">
                  <a:pos x="130" y="157"/>
                </a:cxn>
                <a:cxn ang="0">
                  <a:pos x="143" y="147"/>
                </a:cxn>
                <a:cxn ang="0">
                  <a:pos x="155" y="143"/>
                </a:cxn>
                <a:cxn ang="0">
                  <a:pos x="166" y="140"/>
                </a:cxn>
                <a:cxn ang="0">
                  <a:pos x="173" y="134"/>
                </a:cxn>
                <a:cxn ang="0">
                  <a:pos x="176" y="123"/>
                </a:cxn>
                <a:cxn ang="0">
                  <a:pos x="178" y="110"/>
                </a:cxn>
                <a:cxn ang="0">
                  <a:pos x="183" y="98"/>
                </a:cxn>
                <a:cxn ang="0">
                  <a:pos x="193" y="89"/>
                </a:cxn>
                <a:cxn ang="0">
                  <a:pos x="202" y="84"/>
                </a:cxn>
                <a:cxn ang="0">
                  <a:pos x="212" y="84"/>
                </a:cxn>
                <a:cxn ang="0">
                  <a:pos x="220" y="85"/>
                </a:cxn>
                <a:cxn ang="0">
                  <a:pos x="226" y="84"/>
                </a:cxn>
                <a:cxn ang="0">
                  <a:pos x="226" y="81"/>
                </a:cxn>
                <a:cxn ang="0">
                  <a:pos x="222" y="75"/>
                </a:cxn>
                <a:cxn ang="0">
                  <a:pos x="214" y="64"/>
                </a:cxn>
                <a:cxn ang="0">
                  <a:pos x="160" y="10"/>
                </a:cxn>
                <a:cxn ang="0">
                  <a:pos x="151" y="4"/>
                </a:cxn>
                <a:cxn ang="0">
                  <a:pos x="144" y="1"/>
                </a:cxn>
                <a:cxn ang="0">
                  <a:pos x="139" y="0"/>
                </a:cxn>
                <a:cxn ang="0">
                  <a:pos x="134" y="1"/>
                </a:cxn>
                <a:cxn ang="0">
                  <a:pos x="128" y="5"/>
                </a:cxn>
                <a:cxn ang="0">
                  <a:pos x="118" y="10"/>
                </a:cxn>
                <a:cxn ang="0">
                  <a:pos x="107" y="12"/>
                </a:cxn>
                <a:cxn ang="0">
                  <a:pos x="97" y="9"/>
                </a:cxn>
                <a:cxn ang="0">
                  <a:pos x="82" y="5"/>
                </a:cxn>
                <a:cxn ang="0">
                  <a:pos x="72" y="6"/>
                </a:cxn>
                <a:cxn ang="0">
                  <a:pos x="64" y="12"/>
                </a:cxn>
                <a:cxn ang="0">
                  <a:pos x="60" y="21"/>
                </a:cxn>
                <a:cxn ang="0">
                  <a:pos x="59" y="35"/>
                </a:cxn>
                <a:cxn ang="0">
                  <a:pos x="57" y="51"/>
                </a:cxn>
                <a:cxn ang="0">
                  <a:pos x="53" y="64"/>
                </a:cxn>
                <a:cxn ang="0">
                  <a:pos x="46" y="73"/>
                </a:cxn>
                <a:cxn ang="0">
                  <a:pos x="35" y="80"/>
                </a:cxn>
                <a:cxn ang="0">
                  <a:pos x="9" y="83"/>
                </a:cxn>
                <a:cxn ang="0">
                  <a:pos x="2" y="89"/>
                </a:cxn>
                <a:cxn ang="0">
                  <a:pos x="0" y="97"/>
                </a:cxn>
                <a:cxn ang="0">
                  <a:pos x="2" y="106"/>
                </a:cxn>
                <a:cxn ang="0">
                  <a:pos x="9" y="117"/>
                </a:cxn>
                <a:cxn ang="0">
                  <a:pos x="21" y="127"/>
                </a:cxn>
                <a:cxn ang="0">
                  <a:pos x="44" y="143"/>
                </a:cxn>
                <a:cxn ang="0">
                  <a:pos x="51" y="151"/>
                </a:cxn>
                <a:cxn ang="0">
                  <a:pos x="59" y="163"/>
                </a:cxn>
                <a:cxn ang="0">
                  <a:pos x="64" y="173"/>
                </a:cxn>
                <a:cxn ang="0">
                  <a:pos x="73" y="189"/>
                </a:cxn>
                <a:cxn ang="0">
                  <a:pos x="84" y="198"/>
                </a:cxn>
                <a:cxn ang="0">
                  <a:pos x="94" y="197"/>
                </a:cxn>
                <a:cxn ang="0">
                  <a:pos x="106" y="188"/>
                </a:cxn>
                <a:cxn ang="0">
                  <a:pos x="119" y="171"/>
                </a:cxn>
              </a:cxnLst>
              <a:rect l="0" t="0" r="r" b="b"/>
              <a:pathLst>
                <a:path w="226" h="198">
                  <a:moveTo>
                    <a:pt x="119" y="171"/>
                  </a:moveTo>
                  <a:lnTo>
                    <a:pt x="130" y="157"/>
                  </a:lnTo>
                  <a:lnTo>
                    <a:pt x="143" y="147"/>
                  </a:lnTo>
                  <a:lnTo>
                    <a:pt x="155" y="143"/>
                  </a:lnTo>
                  <a:lnTo>
                    <a:pt x="166" y="140"/>
                  </a:lnTo>
                  <a:lnTo>
                    <a:pt x="173" y="134"/>
                  </a:lnTo>
                  <a:lnTo>
                    <a:pt x="176" y="123"/>
                  </a:lnTo>
                  <a:lnTo>
                    <a:pt x="178" y="110"/>
                  </a:lnTo>
                  <a:lnTo>
                    <a:pt x="183" y="98"/>
                  </a:lnTo>
                  <a:lnTo>
                    <a:pt x="193" y="89"/>
                  </a:lnTo>
                  <a:lnTo>
                    <a:pt x="202" y="84"/>
                  </a:lnTo>
                  <a:lnTo>
                    <a:pt x="212" y="84"/>
                  </a:lnTo>
                  <a:lnTo>
                    <a:pt x="220" y="85"/>
                  </a:lnTo>
                  <a:lnTo>
                    <a:pt x="226" y="84"/>
                  </a:lnTo>
                  <a:lnTo>
                    <a:pt x="226" y="81"/>
                  </a:lnTo>
                  <a:lnTo>
                    <a:pt x="222" y="75"/>
                  </a:lnTo>
                  <a:lnTo>
                    <a:pt x="214" y="64"/>
                  </a:lnTo>
                  <a:lnTo>
                    <a:pt x="160" y="10"/>
                  </a:lnTo>
                  <a:lnTo>
                    <a:pt x="151" y="4"/>
                  </a:lnTo>
                  <a:lnTo>
                    <a:pt x="144" y="1"/>
                  </a:lnTo>
                  <a:lnTo>
                    <a:pt x="139" y="0"/>
                  </a:lnTo>
                  <a:lnTo>
                    <a:pt x="134" y="1"/>
                  </a:lnTo>
                  <a:lnTo>
                    <a:pt x="128" y="5"/>
                  </a:lnTo>
                  <a:lnTo>
                    <a:pt x="118" y="10"/>
                  </a:lnTo>
                  <a:lnTo>
                    <a:pt x="107" y="12"/>
                  </a:lnTo>
                  <a:lnTo>
                    <a:pt x="97" y="9"/>
                  </a:lnTo>
                  <a:lnTo>
                    <a:pt x="82" y="5"/>
                  </a:lnTo>
                  <a:lnTo>
                    <a:pt x="72" y="6"/>
                  </a:lnTo>
                  <a:lnTo>
                    <a:pt x="64" y="12"/>
                  </a:lnTo>
                  <a:lnTo>
                    <a:pt x="60" y="21"/>
                  </a:lnTo>
                  <a:lnTo>
                    <a:pt x="59" y="35"/>
                  </a:lnTo>
                  <a:lnTo>
                    <a:pt x="57" y="51"/>
                  </a:lnTo>
                  <a:lnTo>
                    <a:pt x="53" y="64"/>
                  </a:lnTo>
                  <a:lnTo>
                    <a:pt x="46" y="73"/>
                  </a:lnTo>
                  <a:lnTo>
                    <a:pt x="35" y="80"/>
                  </a:lnTo>
                  <a:lnTo>
                    <a:pt x="9" y="83"/>
                  </a:lnTo>
                  <a:lnTo>
                    <a:pt x="2" y="89"/>
                  </a:lnTo>
                  <a:lnTo>
                    <a:pt x="0" y="97"/>
                  </a:lnTo>
                  <a:lnTo>
                    <a:pt x="2" y="106"/>
                  </a:lnTo>
                  <a:lnTo>
                    <a:pt x="9" y="117"/>
                  </a:lnTo>
                  <a:lnTo>
                    <a:pt x="21" y="127"/>
                  </a:lnTo>
                  <a:lnTo>
                    <a:pt x="44" y="143"/>
                  </a:lnTo>
                  <a:lnTo>
                    <a:pt x="51" y="151"/>
                  </a:lnTo>
                  <a:lnTo>
                    <a:pt x="59" y="163"/>
                  </a:lnTo>
                  <a:lnTo>
                    <a:pt x="64" y="173"/>
                  </a:lnTo>
                  <a:lnTo>
                    <a:pt x="73" y="189"/>
                  </a:lnTo>
                  <a:lnTo>
                    <a:pt x="84" y="198"/>
                  </a:lnTo>
                  <a:lnTo>
                    <a:pt x="94" y="197"/>
                  </a:lnTo>
                  <a:lnTo>
                    <a:pt x="106" y="188"/>
                  </a:lnTo>
                  <a:lnTo>
                    <a:pt x="119" y="17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06" name="Freeform 59"/>
            <p:cNvSpPr>
              <a:spLocks/>
            </p:cNvSpPr>
            <p:nvPr/>
          </p:nvSpPr>
          <p:spPr bwMode="auto">
            <a:xfrm>
              <a:off x="7314107" y="2534347"/>
              <a:ext cx="113765" cy="99725"/>
            </a:xfrm>
            <a:custGeom>
              <a:avLst/>
              <a:gdLst/>
              <a:ahLst/>
              <a:cxnLst>
                <a:cxn ang="0">
                  <a:pos x="162" y="173"/>
                </a:cxn>
                <a:cxn ang="0">
                  <a:pos x="167" y="163"/>
                </a:cxn>
                <a:cxn ang="0">
                  <a:pos x="175" y="151"/>
                </a:cxn>
                <a:cxn ang="0">
                  <a:pos x="182" y="143"/>
                </a:cxn>
                <a:cxn ang="0">
                  <a:pos x="205" y="127"/>
                </a:cxn>
                <a:cxn ang="0">
                  <a:pos x="217" y="117"/>
                </a:cxn>
                <a:cxn ang="0">
                  <a:pos x="224" y="106"/>
                </a:cxn>
                <a:cxn ang="0">
                  <a:pos x="226" y="97"/>
                </a:cxn>
                <a:cxn ang="0">
                  <a:pos x="224" y="89"/>
                </a:cxn>
                <a:cxn ang="0">
                  <a:pos x="217" y="83"/>
                </a:cxn>
                <a:cxn ang="0">
                  <a:pos x="191" y="80"/>
                </a:cxn>
                <a:cxn ang="0">
                  <a:pos x="180" y="73"/>
                </a:cxn>
                <a:cxn ang="0">
                  <a:pos x="173" y="64"/>
                </a:cxn>
                <a:cxn ang="0">
                  <a:pos x="169" y="51"/>
                </a:cxn>
                <a:cxn ang="0">
                  <a:pos x="167" y="35"/>
                </a:cxn>
                <a:cxn ang="0">
                  <a:pos x="166" y="21"/>
                </a:cxn>
                <a:cxn ang="0">
                  <a:pos x="162" y="12"/>
                </a:cxn>
                <a:cxn ang="0">
                  <a:pos x="154" y="6"/>
                </a:cxn>
                <a:cxn ang="0">
                  <a:pos x="144" y="5"/>
                </a:cxn>
                <a:cxn ang="0">
                  <a:pos x="129" y="9"/>
                </a:cxn>
                <a:cxn ang="0">
                  <a:pos x="119" y="12"/>
                </a:cxn>
                <a:cxn ang="0">
                  <a:pos x="108" y="10"/>
                </a:cxn>
                <a:cxn ang="0">
                  <a:pos x="98" y="5"/>
                </a:cxn>
                <a:cxn ang="0">
                  <a:pos x="92" y="1"/>
                </a:cxn>
                <a:cxn ang="0">
                  <a:pos x="87" y="0"/>
                </a:cxn>
                <a:cxn ang="0">
                  <a:pos x="82" y="1"/>
                </a:cxn>
                <a:cxn ang="0">
                  <a:pos x="75" y="4"/>
                </a:cxn>
                <a:cxn ang="0">
                  <a:pos x="66" y="10"/>
                </a:cxn>
                <a:cxn ang="0">
                  <a:pos x="12" y="64"/>
                </a:cxn>
                <a:cxn ang="0">
                  <a:pos x="4" y="75"/>
                </a:cxn>
                <a:cxn ang="0">
                  <a:pos x="0" y="81"/>
                </a:cxn>
                <a:cxn ang="0">
                  <a:pos x="0" y="84"/>
                </a:cxn>
                <a:cxn ang="0">
                  <a:pos x="6" y="85"/>
                </a:cxn>
                <a:cxn ang="0">
                  <a:pos x="14" y="84"/>
                </a:cxn>
                <a:cxn ang="0">
                  <a:pos x="24" y="84"/>
                </a:cxn>
                <a:cxn ang="0">
                  <a:pos x="33" y="89"/>
                </a:cxn>
                <a:cxn ang="0">
                  <a:pos x="43" y="98"/>
                </a:cxn>
                <a:cxn ang="0">
                  <a:pos x="48" y="110"/>
                </a:cxn>
                <a:cxn ang="0">
                  <a:pos x="50" y="123"/>
                </a:cxn>
                <a:cxn ang="0">
                  <a:pos x="53" y="134"/>
                </a:cxn>
                <a:cxn ang="0">
                  <a:pos x="60" y="140"/>
                </a:cxn>
                <a:cxn ang="0">
                  <a:pos x="73" y="143"/>
                </a:cxn>
                <a:cxn ang="0">
                  <a:pos x="83" y="146"/>
                </a:cxn>
                <a:cxn ang="0">
                  <a:pos x="92" y="148"/>
                </a:cxn>
                <a:cxn ang="0">
                  <a:pos x="95" y="152"/>
                </a:cxn>
                <a:cxn ang="0">
                  <a:pos x="98" y="160"/>
                </a:cxn>
                <a:cxn ang="0">
                  <a:pos x="104" y="171"/>
                </a:cxn>
                <a:cxn ang="0">
                  <a:pos x="113" y="181"/>
                </a:cxn>
                <a:cxn ang="0">
                  <a:pos x="123" y="190"/>
                </a:cxn>
                <a:cxn ang="0">
                  <a:pos x="132" y="198"/>
                </a:cxn>
                <a:cxn ang="0">
                  <a:pos x="140" y="201"/>
                </a:cxn>
                <a:cxn ang="0">
                  <a:pos x="145" y="198"/>
                </a:cxn>
                <a:cxn ang="0">
                  <a:pos x="152" y="193"/>
                </a:cxn>
                <a:cxn ang="0">
                  <a:pos x="157" y="184"/>
                </a:cxn>
                <a:cxn ang="0">
                  <a:pos x="162" y="173"/>
                </a:cxn>
              </a:cxnLst>
              <a:rect l="0" t="0" r="r" b="b"/>
              <a:pathLst>
                <a:path w="226" h="201">
                  <a:moveTo>
                    <a:pt x="162" y="173"/>
                  </a:moveTo>
                  <a:lnTo>
                    <a:pt x="167" y="163"/>
                  </a:lnTo>
                  <a:lnTo>
                    <a:pt x="175" y="151"/>
                  </a:lnTo>
                  <a:lnTo>
                    <a:pt x="182" y="143"/>
                  </a:lnTo>
                  <a:lnTo>
                    <a:pt x="205" y="127"/>
                  </a:lnTo>
                  <a:lnTo>
                    <a:pt x="217" y="117"/>
                  </a:lnTo>
                  <a:lnTo>
                    <a:pt x="224" y="106"/>
                  </a:lnTo>
                  <a:lnTo>
                    <a:pt x="226" y="97"/>
                  </a:lnTo>
                  <a:lnTo>
                    <a:pt x="224" y="89"/>
                  </a:lnTo>
                  <a:lnTo>
                    <a:pt x="217" y="83"/>
                  </a:lnTo>
                  <a:lnTo>
                    <a:pt x="191" y="80"/>
                  </a:lnTo>
                  <a:lnTo>
                    <a:pt x="180" y="73"/>
                  </a:lnTo>
                  <a:lnTo>
                    <a:pt x="173" y="64"/>
                  </a:lnTo>
                  <a:lnTo>
                    <a:pt x="169" y="51"/>
                  </a:lnTo>
                  <a:lnTo>
                    <a:pt x="167" y="35"/>
                  </a:lnTo>
                  <a:lnTo>
                    <a:pt x="166" y="21"/>
                  </a:lnTo>
                  <a:lnTo>
                    <a:pt x="162" y="12"/>
                  </a:lnTo>
                  <a:lnTo>
                    <a:pt x="154" y="6"/>
                  </a:lnTo>
                  <a:lnTo>
                    <a:pt x="144" y="5"/>
                  </a:lnTo>
                  <a:lnTo>
                    <a:pt x="129" y="9"/>
                  </a:lnTo>
                  <a:lnTo>
                    <a:pt x="119" y="12"/>
                  </a:lnTo>
                  <a:lnTo>
                    <a:pt x="108" y="10"/>
                  </a:lnTo>
                  <a:lnTo>
                    <a:pt x="98" y="5"/>
                  </a:lnTo>
                  <a:lnTo>
                    <a:pt x="92" y="1"/>
                  </a:lnTo>
                  <a:lnTo>
                    <a:pt x="87" y="0"/>
                  </a:lnTo>
                  <a:lnTo>
                    <a:pt x="82" y="1"/>
                  </a:lnTo>
                  <a:lnTo>
                    <a:pt x="75" y="4"/>
                  </a:lnTo>
                  <a:lnTo>
                    <a:pt x="66" y="10"/>
                  </a:lnTo>
                  <a:lnTo>
                    <a:pt x="12" y="64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4"/>
                  </a:lnTo>
                  <a:lnTo>
                    <a:pt x="6" y="85"/>
                  </a:lnTo>
                  <a:lnTo>
                    <a:pt x="14" y="84"/>
                  </a:lnTo>
                  <a:lnTo>
                    <a:pt x="24" y="84"/>
                  </a:lnTo>
                  <a:lnTo>
                    <a:pt x="33" y="89"/>
                  </a:lnTo>
                  <a:lnTo>
                    <a:pt x="43" y="98"/>
                  </a:lnTo>
                  <a:lnTo>
                    <a:pt x="48" y="110"/>
                  </a:lnTo>
                  <a:lnTo>
                    <a:pt x="50" y="123"/>
                  </a:lnTo>
                  <a:lnTo>
                    <a:pt x="53" y="134"/>
                  </a:lnTo>
                  <a:lnTo>
                    <a:pt x="60" y="140"/>
                  </a:lnTo>
                  <a:lnTo>
                    <a:pt x="73" y="143"/>
                  </a:lnTo>
                  <a:lnTo>
                    <a:pt x="83" y="146"/>
                  </a:lnTo>
                  <a:lnTo>
                    <a:pt x="92" y="148"/>
                  </a:lnTo>
                  <a:lnTo>
                    <a:pt x="95" y="152"/>
                  </a:lnTo>
                  <a:lnTo>
                    <a:pt x="98" y="160"/>
                  </a:lnTo>
                  <a:lnTo>
                    <a:pt x="104" y="171"/>
                  </a:lnTo>
                  <a:lnTo>
                    <a:pt x="113" y="181"/>
                  </a:lnTo>
                  <a:lnTo>
                    <a:pt x="123" y="190"/>
                  </a:lnTo>
                  <a:lnTo>
                    <a:pt x="132" y="198"/>
                  </a:lnTo>
                  <a:lnTo>
                    <a:pt x="140" y="201"/>
                  </a:lnTo>
                  <a:lnTo>
                    <a:pt x="145" y="198"/>
                  </a:lnTo>
                  <a:lnTo>
                    <a:pt x="152" y="193"/>
                  </a:lnTo>
                  <a:lnTo>
                    <a:pt x="157" y="184"/>
                  </a:lnTo>
                  <a:lnTo>
                    <a:pt x="162" y="17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07" name="Freeform 60"/>
            <p:cNvSpPr>
              <a:spLocks/>
            </p:cNvSpPr>
            <p:nvPr/>
          </p:nvSpPr>
          <p:spPr bwMode="auto">
            <a:xfrm>
              <a:off x="6214375" y="2482378"/>
              <a:ext cx="137642" cy="122198"/>
            </a:xfrm>
            <a:custGeom>
              <a:avLst/>
              <a:gdLst/>
              <a:ahLst/>
              <a:cxnLst>
                <a:cxn ang="0">
                  <a:pos x="254" y="227"/>
                </a:cxn>
                <a:cxn ang="0">
                  <a:pos x="267" y="211"/>
                </a:cxn>
                <a:cxn ang="0">
                  <a:pos x="271" y="202"/>
                </a:cxn>
                <a:cxn ang="0">
                  <a:pos x="272" y="196"/>
                </a:cxn>
                <a:cxn ang="0">
                  <a:pos x="270" y="187"/>
                </a:cxn>
                <a:cxn ang="0">
                  <a:pos x="262" y="176"/>
                </a:cxn>
                <a:cxn ang="0">
                  <a:pos x="250" y="162"/>
                </a:cxn>
                <a:cxn ang="0">
                  <a:pos x="234" y="146"/>
                </a:cxn>
                <a:cxn ang="0">
                  <a:pos x="215" y="130"/>
                </a:cxn>
                <a:cxn ang="0">
                  <a:pos x="192" y="112"/>
                </a:cxn>
                <a:cxn ang="0">
                  <a:pos x="169" y="93"/>
                </a:cxn>
                <a:cxn ang="0">
                  <a:pos x="142" y="75"/>
                </a:cxn>
                <a:cxn ang="0">
                  <a:pos x="116" y="58"/>
                </a:cxn>
                <a:cxn ang="0">
                  <a:pos x="88" y="41"/>
                </a:cxn>
                <a:cxn ang="0">
                  <a:pos x="62" y="25"/>
                </a:cxn>
                <a:cxn ang="0">
                  <a:pos x="41" y="14"/>
                </a:cxn>
                <a:cxn ang="0">
                  <a:pos x="24" y="6"/>
                </a:cxn>
                <a:cxn ang="0">
                  <a:pos x="12" y="1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0" y="8"/>
                </a:cxn>
                <a:cxn ang="0">
                  <a:pos x="7" y="16"/>
                </a:cxn>
                <a:cxn ang="0">
                  <a:pos x="12" y="25"/>
                </a:cxn>
                <a:cxn ang="0">
                  <a:pos x="16" y="41"/>
                </a:cxn>
                <a:cxn ang="0">
                  <a:pos x="20" y="62"/>
                </a:cxn>
                <a:cxn ang="0">
                  <a:pos x="29" y="117"/>
                </a:cxn>
                <a:cxn ang="0">
                  <a:pos x="37" y="142"/>
                </a:cxn>
                <a:cxn ang="0">
                  <a:pos x="46" y="159"/>
                </a:cxn>
                <a:cxn ang="0">
                  <a:pos x="58" y="168"/>
                </a:cxn>
                <a:cxn ang="0">
                  <a:pos x="73" y="172"/>
                </a:cxn>
                <a:cxn ang="0">
                  <a:pos x="81" y="173"/>
                </a:cxn>
                <a:cxn ang="0">
                  <a:pos x="90" y="179"/>
                </a:cxn>
                <a:cxn ang="0">
                  <a:pos x="107" y="196"/>
                </a:cxn>
                <a:cxn ang="0">
                  <a:pos x="123" y="205"/>
                </a:cxn>
                <a:cxn ang="0">
                  <a:pos x="138" y="213"/>
                </a:cxn>
                <a:cxn ang="0">
                  <a:pos x="155" y="218"/>
                </a:cxn>
                <a:cxn ang="0">
                  <a:pos x="170" y="221"/>
                </a:cxn>
                <a:cxn ang="0">
                  <a:pos x="182" y="222"/>
                </a:cxn>
                <a:cxn ang="0">
                  <a:pos x="194" y="226"/>
                </a:cxn>
                <a:cxn ang="0">
                  <a:pos x="204" y="232"/>
                </a:cxn>
                <a:cxn ang="0">
                  <a:pos x="215" y="240"/>
                </a:cxn>
                <a:cxn ang="0">
                  <a:pos x="224" y="243"/>
                </a:cxn>
                <a:cxn ang="0">
                  <a:pos x="233" y="242"/>
                </a:cxn>
                <a:cxn ang="0">
                  <a:pos x="242" y="236"/>
                </a:cxn>
                <a:cxn ang="0">
                  <a:pos x="254" y="227"/>
                </a:cxn>
              </a:cxnLst>
              <a:rect l="0" t="0" r="r" b="b"/>
              <a:pathLst>
                <a:path w="272" h="243">
                  <a:moveTo>
                    <a:pt x="254" y="227"/>
                  </a:moveTo>
                  <a:lnTo>
                    <a:pt x="267" y="211"/>
                  </a:lnTo>
                  <a:lnTo>
                    <a:pt x="271" y="202"/>
                  </a:lnTo>
                  <a:lnTo>
                    <a:pt x="272" y="196"/>
                  </a:lnTo>
                  <a:lnTo>
                    <a:pt x="270" y="187"/>
                  </a:lnTo>
                  <a:lnTo>
                    <a:pt x="262" y="176"/>
                  </a:lnTo>
                  <a:lnTo>
                    <a:pt x="250" y="162"/>
                  </a:lnTo>
                  <a:lnTo>
                    <a:pt x="234" y="146"/>
                  </a:lnTo>
                  <a:lnTo>
                    <a:pt x="215" y="130"/>
                  </a:lnTo>
                  <a:lnTo>
                    <a:pt x="192" y="112"/>
                  </a:lnTo>
                  <a:lnTo>
                    <a:pt x="169" y="93"/>
                  </a:lnTo>
                  <a:lnTo>
                    <a:pt x="142" y="75"/>
                  </a:lnTo>
                  <a:lnTo>
                    <a:pt x="116" y="58"/>
                  </a:lnTo>
                  <a:lnTo>
                    <a:pt x="88" y="41"/>
                  </a:lnTo>
                  <a:lnTo>
                    <a:pt x="62" y="25"/>
                  </a:lnTo>
                  <a:lnTo>
                    <a:pt x="41" y="14"/>
                  </a:lnTo>
                  <a:lnTo>
                    <a:pt x="24" y="6"/>
                  </a:lnTo>
                  <a:lnTo>
                    <a:pt x="12" y="1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7" y="16"/>
                  </a:lnTo>
                  <a:lnTo>
                    <a:pt x="12" y="25"/>
                  </a:lnTo>
                  <a:lnTo>
                    <a:pt x="16" y="41"/>
                  </a:lnTo>
                  <a:lnTo>
                    <a:pt x="20" y="62"/>
                  </a:lnTo>
                  <a:lnTo>
                    <a:pt x="29" y="117"/>
                  </a:lnTo>
                  <a:lnTo>
                    <a:pt x="37" y="142"/>
                  </a:lnTo>
                  <a:lnTo>
                    <a:pt x="46" y="159"/>
                  </a:lnTo>
                  <a:lnTo>
                    <a:pt x="58" y="168"/>
                  </a:lnTo>
                  <a:lnTo>
                    <a:pt x="73" y="172"/>
                  </a:lnTo>
                  <a:lnTo>
                    <a:pt x="81" y="173"/>
                  </a:lnTo>
                  <a:lnTo>
                    <a:pt x="90" y="179"/>
                  </a:lnTo>
                  <a:lnTo>
                    <a:pt x="107" y="196"/>
                  </a:lnTo>
                  <a:lnTo>
                    <a:pt x="123" y="205"/>
                  </a:lnTo>
                  <a:lnTo>
                    <a:pt x="138" y="213"/>
                  </a:lnTo>
                  <a:lnTo>
                    <a:pt x="155" y="218"/>
                  </a:lnTo>
                  <a:lnTo>
                    <a:pt x="170" y="221"/>
                  </a:lnTo>
                  <a:lnTo>
                    <a:pt x="182" y="222"/>
                  </a:lnTo>
                  <a:lnTo>
                    <a:pt x="194" y="226"/>
                  </a:lnTo>
                  <a:lnTo>
                    <a:pt x="204" y="232"/>
                  </a:lnTo>
                  <a:lnTo>
                    <a:pt x="215" y="240"/>
                  </a:lnTo>
                  <a:lnTo>
                    <a:pt x="224" y="243"/>
                  </a:lnTo>
                  <a:lnTo>
                    <a:pt x="233" y="242"/>
                  </a:lnTo>
                  <a:lnTo>
                    <a:pt x="242" y="236"/>
                  </a:lnTo>
                  <a:lnTo>
                    <a:pt x="254" y="22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08" name="Freeform 61"/>
            <p:cNvSpPr>
              <a:spLocks/>
            </p:cNvSpPr>
            <p:nvPr/>
          </p:nvSpPr>
          <p:spPr bwMode="auto">
            <a:xfrm>
              <a:off x="7559896" y="2482378"/>
              <a:ext cx="137642" cy="123603"/>
            </a:xfrm>
            <a:custGeom>
              <a:avLst/>
              <a:gdLst/>
              <a:ahLst/>
              <a:cxnLst>
                <a:cxn ang="0">
                  <a:pos x="68" y="232"/>
                </a:cxn>
                <a:cxn ang="0">
                  <a:pos x="78" y="226"/>
                </a:cxn>
                <a:cxn ang="0">
                  <a:pos x="90" y="222"/>
                </a:cxn>
                <a:cxn ang="0">
                  <a:pos x="102" y="221"/>
                </a:cxn>
                <a:cxn ang="0">
                  <a:pos x="117" y="218"/>
                </a:cxn>
                <a:cxn ang="0">
                  <a:pos x="134" y="213"/>
                </a:cxn>
                <a:cxn ang="0">
                  <a:pos x="149" y="205"/>
                </a:cxn>
                <a:cxn ang="0">
                  <a:pos x="165" y="196"/>
                </a:cxn>
                <a:cxn ang="0">
                  <a:pos x="182" y="179"/>
                </a:cxn>
                <a:cxn ang="0">
                  <a:pos x="191" y="173"/>
                </a:cxn>
                <a:cxn ang="0">
                  <a:pos x="199" y="172"/>
                </a:cxn>
                <a:cxn ang="0">
                  <a:pos x="214" y="168"/>
                </a:cxn>
                <a:cxn ang="0">
                  <a:pos x="226" y="159"/>
                </a:cxn>
                <a:cxn ang="0">
                  <a:pos x="235" y="142"/>
                </a:cxn>
                <a:cxn ang="0">
                  <a:pos x="243" y="117"/>
                </a:cxn>
                <a:cxn ang="0">
                  <a:pos x="252" y="62"/>
                </a:cxn>
                <a:cxn ang="0">
                  <a:pos x="256" y="41"/>
                </a:cxn>
                <a:cxn ang="0">
                  <a:pos x="260" y="25"/>
                </a:cxn>
                <a:cxn ang="0">
                  <a:pos x="265" y="16"/>
                </a:cxn>
                <a:cxn ang="0">
                  <a:pos x="272" y="8"/>
                </a:cxn>
                <a:cxn ang="0">
                  <a:pos x="272" y="3"/>
                </a:cxn>
                <a:cxn ang="0">
                  <a:pos x="269" y="0"/>
                </a:cxn>
                <a:cxn ang="0">
                  <a:pos x="260" y="1"/>
                </a:cxn>
                <a:cxn ang="0">
                  <a:pos x="248" y="6"/>
                </a:cxn>
                <a:cxn ang="0">
                  <a:pos x="231" y="14"/>
                </a:cxn>
                <a:cxn ang="0">
                  <a:pos x="210" y="25"/>
                </a:cxn>
                <a:cxn ang="0">
                  <a:pos x="184" y="39"/>
                </a:cxn>
                <a:cxn ang="0">
                  <a:pos x="157" y="56"/>
                </a:cxn>
                <a:cxn ang="0">
                  <a:pos x="105" y="93"/>
                </a:cxn>
                <a:cxn ang="0">
                  <a:pos x="81" y="112"/>
                </a:cxn>
                <a:cxn ang="0">
                  <a:pos x="59" y="129"/>
                </a:cxn>
                <a:cxn ang="0">
                  <a:pos x="39" y="146"/>
                </a:cxn>
                <a:cxn ang="0">
                  <a:pos x="23" y="162"/>
                </a:cxn>
                <a:cxn ang="0">
                  <a:pos x="10" y="176"/>
                </a:cxn>
                <a:cxn ang="0">
                  <a:pos x="2" y="188"/>
                </a:cxn>
                <a:cxn ang="0">
                  <a:pos x="0" y="196"/>
                </a:cxn>
                <a:cxn ang="0">
                  <a:pos x="2" y="205"/>
                </a:cxn>
                <a:cxn ang="0">
                  <a:pos x="9" y="214"/>
                </a:cxn>
                <a:cxn ang="0">
                  <a:pos x="17" y="226"/>
                </a:cxn>
                <a:cxn ang="0">
                  <a:pos x="26" y="235"/>
                </a:cxn>
                <a:cxn ang="0">
                  <a:pos x="35" y="242"/>
                </a:cxn>
                <a:cxn ang="0">
                  <a:pos x="43" y="244"/>
                </a:cxn>
                <a:cxn ang="0">
                  <a:pos x="50" y="243"/>
                </a:cxn>
                <a:cxn ang="0">
                  <a:pos x="59" y="239"/>
                </a:cxn>
                <a:cxn ang="0">
                  <a:pos x="68" y="232"/>
                </a:cxn>
              </a:cxnLst>
              <a:rect l="0" t="0" r="r" b="b"/>
              <a:pathLst>
                <a:path w="272" h="244">
                  <a:moveTo>
                    <a:pt x="68" y="232"/>
                  </a:moveTo>
                  <a:lnTo>
                    <a:pt x="78" y="226"/>
                  </a:lnTo>
                  <a:lnTo>
                    <a:pt x="90" y="222"/>
                  </a:lnTo>
                  <a:lnTo>
                    <a:pt x="102" y="221"/>
                  </a:lnTo>
                  <a:lnTo>
                    <a:pt x="117" y="218"/>
                  </a:lnTo>
                  <a:lnTo>
                    <a:pt x="134" y="213"/>
                  </a:lnTo>
                  <a:lnTo>
                    <a:pt x="149" y="205"/>
                  </a:lnTo>
                  <a:lnTo>
                    <a:pt x="165" y="196"/>
                  </a:lnTo>
                  <a:lnTo>
                    <a:pt x="182" y="179"/>
                  </a:lnTo>
                  <a:lnTo>
                    <a:pt x="191" y="173"/>
                  </a:lnTo>
                  <a:lnTo>
                    <a:pt x="199" y="172"/>
                  </a:lnTo>
                  <a:lnTo>
                    <a:pt x="214" y="168"/>
                  </a:lnTo>
                  <a:lnTo>
                    <a:pt x="226" y="159"/>
                  </a:lnTo>
                  <a:lnTo>
                    <a:pt x="235" y="142"/>
                  </a:lnTo>
                  <a:lnTo>
                    <a:pt x="243" y="117"/>
                  </a:lnTo>
                  <a:lnTo>
                    <a:pt x="252" y="62"/>
                  </a:lnTo>
                  <a:lnTo>
                    <a:pt x="256" y="41"/>
                  </a:lnTo>
                  <a:lnTo>
                    <a:pt x="260" y="25"/>
                  </a:lnTo>
                  <a:lnTo>
                    <a:pt x="265" y="16"/>
                  </a:lnTo>
                  <a:lnTo>
                    <a:pt x="272" y="8"/>
                  </a:lnTo>
                  <a:lnTo>
                    <a:pt x="272" y="3"/>
                  </a:lnTo>
                  <a:lnTo>
                    <a:pt x="269" y="0"/>
                  </a:lnTo>
                  <a:lnTo>
                    <a:pt x="260" y="1"/>
                  </a:lnTo>
                  <a:lnTo>
                    <a:pt x="248" y="6"/>
                  </a:lnTo>
                  <a:lnTo>
                    <a:pt x="231" y="14"/>
                  </a:lnTo>
                  <a:lnTo>
                    <a:pt x="210" y="25"/>
                  </a:lnTo>
                  <a:lnTo>
                    <a:pt x="184" y="39"/>
                  </a:lnTo>
                  <a:lnTo>
                    <a:pt x="157" y="56"/>
                  </a:lnTo>
                  <a:lnTo>
                    <a:pt x="105" y="93"/>
                  </a:lnTo>
                  <a:lnTo>
                    <a:pt x="81" y="112"/>
                  </a:lnTo>
                  <a:lnTo>
                    <a:pt x="59" y="129"/>
                  </a:lnTo>
                  <a:lnTo>
                    <a:pt x="39" y="146"/>
                  </a:lnTo>
                  <a:lnTo>
                    <a:pt x="23" y="162"/>
                  </a:lnTo>
                  <a:lnTo>
                    <a:pt x="10" y="176"/>
                  </a:lnTo>
                  <a:lnTo>
                    <a:pt x="2" y="188"/>
                  </a:lnTo>
                  <a:lnTo>
                    <a:pt x="0" y="196"/>
                  </a:lnTo>
                  <a:lnTo>
                    <a:pt x="2" y="205"/>
                  </a:lnTo>
                  <a:lnTo>
                    <a:pt x="9" y="214"/>
                  </a:lnTo>
                  <a:lnTo>
                    <a:pt x="17" y="226"/>
                  </a:lnTo>
                  <a:lnTo>
                    <a:pt x="26" y="235"/>
                  </a:lnTo>
                  <a:lnTo>
                    <a:pt x="35" y="242"/>
                  </a:lnTo>
                  <a:lnTo>
                    <a:pt x="43" y="244"/>
                  </a:lnTo>
                  <a:lnTo>
                    <a:pt x="50" y="243"/>
                  </a:lnTo>
                  <a:lnTo>
                    <a:pt x="59" y="239"/>
                  </a:lnTo>
                  <a:lnTo>
                    <a:pt x="68" y="232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09" name="Freeform 62"/>
            <p:cNvSpPr>
              <a:spLocks/>
            </p:cNvSpPr>
            <p:nvPr/>
          </p:nvSpPr>
          <p:spPr bwMode="auto">
            <a:xfrm>
              <a:off x="6222802" y="2434622"/>
              <a:ext cx="134833" cy="122198"/>
            </a:xfrm>
            <a:custGeom>
              <a:avLst/>
              <a:gdLst/>
              <a:ahLst/>
              <a:cxnLst>
                <a:cxn ang="0">
                  <a:pos x="261" y="213"/>
                </a:cxn>
                <a:cxn ang="0">
                  <a:pos x="265" y="206"/>
                </a:cxn>
                <a:cxn ang="0">
                  <a:pos x="267" y="201"/>
                </a:cxn>
                <a:cxn ang="0">
                  <a:pos x="267" y="194"/>
                </a:cxn>
                <a:cxn ang="0">
                  <a:pos x="265" y="185"/>
                </a:cxn>
                <a:cxn ang="0">
                  <a:pos x="258" y="174"/>
                </a:cxn>
                <a:cxn ang="0">
                  <a:pos x="250" y="159"/>
                </a:cxn>
                <a:cxn ang="0">
                  <a:pos x="241" y="143"/>
                </a:cxn>
                <a:cxn ang="0">
                  <a:pos x="228" y="125"/>
                </a:cxn>
                <a:cxn ang="0">
                  <a:pos x="213" y="106"/>
                </a:cxn>
                <a:cxn ang="0">
                  <a:pos x="182" y="67"/>
                </a:cxn>
                <a:cxn ang="0">
                  <a:pos x="165" y="48"/>
                </a:cxn>
                <a:cxn ang="0">
                  <a:pos x="149" y="33"/>
                </a:cxn>
                <a:cxn ang="0">
                  <a:pos x="133" y="18"/>
                </a:cxn>
                <a:cxn ang="0">
                  <a:pos x="121" y="8"/>
                </a:cxn>
                <a:cxn ang="0">
                  <a:pos x="111" y="1"/>
                </a:cxn>
                <a:cxn ang="0">
                  <a:pos x="104" y="0"/>
                </a:cxn>
                <a:cxn ang="0">
                  <a:pos x="100" y="1"/>
                </a:cxn>
                <a:cxn ang="0">
                  <a:pos x="95" y="6"/>
                </a:cxn>
                <a:cxn ang="0">
                  <a:pos x="94" y="10"/>
                </a:cxn>
                <a:cxn ang="0">
                  <a:pos x="94" y="29"/>
                </a:cxn>
                <a:cxn ang="0">
                  <a:pos x="91" y="34"/>
                </a:cxn>
                <a:cxn ang="0">
                  <a:pos x="83" y="36"/>
                </a:cxn>
                <a:cxn ang="0">
                  <a:pos x="69" y="38"/>
                </a:cxn>
                <a:cxn ang="0">
                  <a:pos x="56" y="39"/>
                </a:cxn>
                <a:cxn ang="0">
                  <a:pos x="45" y="42"/>
                </a:cxn>
                <a:cxn ang="0">
                  <a:pos x="39" y="48"/>
                </a:cxn>
                <a:cxn ang="0">
                  <a:pos x="32" y="58"/>
                </a:cxn>
                <a:cxn ang="0">
                  <a:pos x="25" y="68"/>
                </a:cxn>
                <a:cxn ang="0">
                  <a:pos x="16" y="75"/>
                </a:cxn>
                <a:cxn ang="0">
                  <a:pos x="0" y="79"/>
                </a:cxn>
                <a:cxn ang="0">
                  <a:pos x="0" y="81"/>
                </a:cxn>
                <a:cxn ang="0">
                  <a:pos x="7" y="88"/>
                </a:cxn>
                <a:cxn ang="0">
                  <a:pos x="20" y="96"/>
                </a:cxn>
                <a:cxn ang="0">
                  <a:pos x="39" y="106"/>
                </a:cxn>
                <a:cxn ang="0">
                  <a:pos x="78" y="128"/>
                </a:cxn>
                <a:cxn ang="0">
                  <a:pos x="116" y="153"/>
                </a:cxn>
                <a:cxn ang="0">
                  <a:pos x="152" y="177"/>
                </a:cxn>
                <a:cxn ang="0">
                  <a:pos x="183" y="202"/>
                </a:cxn>
                <a:cxn ang="0">
                  <a:pos x="211" y="224"/>
                </a:cxn>
                <a:cxn ang="0">
                  <a:pos x="224" y="235"/>
                </a:cxn>
                <a:cxn ang="0">
                  <a:pos x="234" y="243"/>
                </a:cxn>
                <a:cxn ang="0">
                  <a:pos x="240" y="244"/>
                </a:cxn>
                <a:cxn ang="0">
                  <a:pos x="244" y="244"/>
                </a:cxn>
                <a:cxn ang="0">
                  <a:pos x="246" y="239"/>
                </a:cxn>
                <a:cxn ang="0">
                  <a:pos x="249" y="230"/>
                </a:cxn>
                <a:cxn ang="0">
                  <a:pos x="254" y="220"/>
                </a:cxn>
                <a:cxn ang="0">
                  <a:pos x="261" y="213"/>
                </a:cxn>
              </a:cxnLst>
              <a:rect l="0" t="0" r="r" b="b"/>
              <a:pathLst>
                <a:path w="267" h="244">
                  <a:moveTo>
                    <a:pt x="261" y="213"/>
                  </a:moveTo>
                  <a:lnTo>
                    <a:pt x="265" y="206"/>
                  </a:lnTo>
                  <a:lnTo>
                    <a:pt x="267" y="201"/>
                  </a:lnTo>
                  <a:lnTo>
                    <a:pt x="267" y="194"/>
                  </a:lnTo>
                  <a:lnTo>
                    <a:pt x="265" y="185"/>
                  </a:lnTo>
                  <a:lnTo>
                    <a:pt x="258" y="174"/>
                  </a:lnTo>
                  <a:lnTo>
                    <a:pt x="250" y="159"/>
                  </a:lnTo>
                  <a:lnTo>
                    <a:pt x="241" y="143"/>
                  </a:lnTo>
                  <a:lnTo>
                    <a:pt x="228" y="125"/>
                  </a:lnTo>
                  <a:lnTo>
                    <a:pt x="213" y="106"/>
                  </a:lnTo>
                  <a:lnTo>
                    <a:pt x="182" y="67"/>
                  </a:lnTo>
                  <a:lnTo>
                    <a:pt x="165" y="48"/>
                  </a:lnTo>
                  <a:lnTo>
                    <a:pt x="149" y="33"/>
                  </a:lnTo>
                  <a:lnTo>
                    <a:pt x="133" y="18"/>
                  </a:lnTo>
                  <a:lnTo>
                    <a:pt x="121" y="8"/>
                  </a:lnTo>
                  <a:lnTo>
                    <a:pt x="111" y="1"/>
                  </a:lnTo>
                  <a:lnTo>
                    <a:pt x="104" y="0"/>
                  </a:lnTo>
                  <a:lnTo>
                    <a:pt x="100" y="1"/>
                  </a:lnTo>
                  <a:lnTo>
                    <a:pt x="95" y="6"/>
                  </a:lnTo>
                  <a:lnTo>
                    <a:pt x="94" y="10"/>
                  </a:lnTo>
                  <a:lnTo>
                    <a:pt x="94" y="29"/>
                  </a:lnTo>
                  <a:lnTo>
                    <a:pt x="91" y="34"/>
                  </a:lnTo>
                  <a:lnTo>
                    <a:pt x="83" y="36"/>
                  </a:lnTo>
                  <a:lnTo>
                    <a:pt x="69" y="38"/>
                  </a:lnTo>
                  <a:lnTo>
                    <a:pt x="56" y="39"/>
                  </a:lnTo>
                  <a:lnTo>
                    <a:pt x="45" y="42"/>
                  </a:lnTo>
                  <a:lnTo>
                    <a:pt x="39" y="48"/>
                  </a:lnTo>
                  <a:lnTo>
                    <a:pt x="32" y="58"/>
                  </a:lnTo>
                  <a:lnTo>
                    <a:pt x="25" y="68"/>
                  </a:lnTo>
                  <a:lnTo>
                    <a:pt x="16" y="75"/>
                  </a:lnTo>
                  <a:lnTo>
                    <a:pt x="0" y="79"/>
                  </a:lnTo>
                  <a:lnTo>
                    <a:pt x="0" y="81"/>
                  </a:lnTo>
                  <a:lnTo>
                    <a:pt x="7" y="88"/>
                  </a:lnTo>
                  <a:lnTo>
                    <a:pt x="20" y="96"/>
                  </a:lnTo>
                  <a:lnTo>
                    <a:pt x="39" y="106"/>
                  </a:lnTo>
                  <a:lnTo>
                    <a:pt x="78" y="128"/>
                  </a:lnTo>
                  <a:lnTo>
                    <a:pt x="116" y="153"/>
                  </a:lnTo>
                  <a:lnTo>
                    <a:pt x="152" y="177"/>
                  </a:lnTo>
                  <a:lnTo>
                    <a:pt x="183" y="202"/>
                  </a:lnTo>
                  <a:lnTo>
                    <a:pt x="211" y="224"/>
                  </a:lnTo>
                  <a:lnTo>
                    <a:pt x="224" y="235"/>
                  </a:lnTo>
                  <a:lnTo>
                    <a:pt x="234" y="243"/>
                  </a:lnTo>
                  <a:lnTo>
                    <a:pt x="240" y="244"/>
                  </a:lnTo>
                  <a:lnTo>
                    <a:pt x="244" y="244"/>
                  </a:lnTo>
                  <a:lnTo>
                    <a:pt x="246" y="239"/>
                  </a:lnTo>
                  <a:lnTo>
                    <a:pt x="249" y="230"/>
                  </a:lnTo>
                  <a:lnTo>
                    <a:pt x="254" y="220"/>
                  </a:lnTo>
                  <a:lnTo>
                    <a:pt x="261" y="21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10" name="Freeform 63"/>
            <p:cNvSpPr>
              <a:spLocks/>
            </p:cNvSpPr>
            <p:nvPr/>
          </p:nvSpPr>
          <p:spPr bwMode="auto">
            <a:xfrm>
              <a:off x="7554278" y="2434622"/>
              <a:ext cx="134833" cy="123603"/>
            </a:xfrm>
            <a:custGeom>
              <a:avLst/>
              <a:gdLst/>
              <a:ahLst/>
              <a:cxnLst>
                <a:cxn ang="0">
                  <a:pos x="140" y="160"/>
                </a:cxn>
                <a:cxn ang="0">
                  <a:pos x="155" y="151"/>
                </a:cxn>
                <a:cxn ang="0">
                  <a:pos x="172" y="140"/>
                </a:cxn>
                <a:cxn ang="0">
                  <a:pos x="190" y="128"/>
                </a:cxn>
                <a:cxn ang="0">
                  <a:pos x="210" y="117"/>
                </a:cxn>
                <a:cxn ang="0">
                  <a:pos x="247" y="96"/>
                </a:cxn>
                <a:cxn ang="0">
                  <a:pos x="259" y="88"/>
                </a:cxn>
                <a:cxn ang="0">
                  <a:pos x="265" y="81"/>
                </a:cxn>
                <a:cxn ang="0">
                  <a:pos x="267" y="79"/>
                </a:cxn>
                <a:cxn ang="0">
                  <a:pos x="251" y="75"/>
                </a:cxn>
                <a:cxn ang="0">
                  <a:pos x="242" y="68"/>
                </a:cxn>
                <a:cxn ang="0">
                  <a:pos x="235" y="58"/>
                </a:cxn>
                <a:cxn ang="0">
                  <a:pos x="228" y="48"/>
                </a:cxn>
                <a:cxn ang="0">
                  <a:pos x="222" y="42"/>
                </a:cxn>
                <a:cxn ang="0">
                  <a:pos x="211" y="39"/>
                </a:cxn>
                <a:cxn ang="0">
                  <a:pos x="198" y="38"/>
                </a:cxn>
                <a:cxn ang="0">
                  <a:pos x="184" y="36"/>
                </a:cxn>
                <a:cxn ang="0">
                  <a:pos x="176" y="34"/>
                </a:cxn>
                <a:cxn ang="0">
                  <a:pos x="173" y="29"/>
                </a:cxn>
                <a:cxn ang="0">
                  <a:pos x="173" y="10"/>
                </a:cxn>
                <a:cxn ang="0">
                  <a:pos x="172" y="6"/>
                </a:cxn>
                <a:cxn ang="0">
                  <a:pos x="167" y="1"/>
                </a:cxn>
                <a:cxn ang="0">
                  <a:pos x="163" y="0"/>
                </a:cxn>
                <a:cxn ang="0">
                  <a:pos x="156" y="1"/>
                </a:cxn>
                <a:cxn ang="0">
                  <a:pos x="146" y="8"/>
                </a:cxn>
                <a:cxn ang="0">
                  <a:pos x="134" y="18"/>
                </a:cxn>
                <a:cxn ang="0">
                  <a:pos x="118" y="33"/>
                </a:cxn>
                <a:cxn ang="0">
                  <a:pos x="102" y="48"/>
                </a:cxn>
                <a:cxn ang="0">
                  <a:pos x="85" y="67"/>
                </a:cxn>
                <a:cxn ang="0">
                  <a:pos x="54" y="106"/>
                </a:cxn>
                <a:cxn ang="0">
                  <a:pos x="39" y="125"/>
                </a:cxn>
                <a:cxn ang="0">
                  <a:pos x="26" y="143"/>
                </a:cxn>
                <a:cxn ang="0">
                  <a:pos x="8" y="174"/>
                </a:cxn>
                <a:cxn ang="0">
                  <a:pos x="2" y="186"/>
                </a:cxn>
                <a:cxn ang="0">
                  <a:pos x="0" y="194"/>
                </a:cxn>
                <a:cxn ang="0">
                  <a:pos x="0" y="201"/>
                </a:cxn>
                <a:cxn ang="0">
                  <a:pos x="2" y="206"/>
                </a:cxn>
                <a:cxn ang="0">
                  <a:pos x="8" y="213"/>
                </a:cxn>
                <a:cxn ang="0">
                  <a:pos x="14" y="222"/>
                </a:cxn>
                <a:cxn ang="0">
                  <a:pos x="18" y="232"/>
                </a:cxn>
                <a:cxn ang="0">
                  <a:pos x="20" y="241"/>
                </a:cxn>
                <a:cxn ang="0">
                  <a:pos x="21" y="245"/>
                </a:cxn>
                <a:cxn ang="0">
                  <a:pos x="25" y="247"/>
                </a:cxn>
                <a:cxn ang="0">
                  <a:pos x="44" y="234"/>
                </a:cxn>
                <a:cxn ang="0">
                  <a:pos x="62" y="219"/>
                </a:cxn>
                <a:cxn ang="0">
                  <a:pos x="77" y="207"/>
                </a:cxn>
                <a:cxn ang="0">
                  <a:pos x="111" y="181"/>
                </a:cxn>
                <a:cxn ang="0">
                  <a:pos x="127" y="169"/>
                </a:cxn>
                <a:cxn ang="0">
                  <a:pos x="140" y="160"/>
                </a:cxn>
              </a:cxnLst>
              <a:rect l="0" t="0" r="r" b="b"/>
              <a:pathLst>
                <a:path w="267" h="247">
                  <a:moveTo>
                    <a:pt x="140" y="160"/>
                  </a:moveTo>
                  <a:lnTo>
                    <a:pt x="155" y="151"/>
                  </a:lnTo>
                  <a:lnTo>
                    <a:pt x="172" y="140"/>
                  </a:lnTo>
                  <a:lnTo>
                    <a:pt x="190" y="128"/>
                  </a:lnTo>
                  <a:lnTo>
                    <a:pt x="210" y="117"/>
                  </a:lnTo>
                  <a:lnTo>
                    <a:pt x="247" y="96"/>
                  </a:lnTo>
                  <a:lnTo>
                    <a:pt x="259" y="88"/>
                  </a:lnTo>
                  <a:lnTo>
                    <a:pt x="265" y="81"/>
                  </a:lnTo>
                  <a:lnTo>
                    <a:pt x="267" y="79"/>
                  </a:lnTo>
                  <a:lnTo>
                    <a:pt x="251" y="75"/>
                  </a:lnTo>
                  <a:lnTo>
                    <a:pt x="242" y="68"/>
                  </a:lnTo>
                  <a:lnTo>
                    <a:pt x="235" y="58"/>
                  </a:lnTo>
                  <a:lnTo>
                    <a:pt x="228" y="48"/>
                  </a:lnTo>
                  <a:lnTo>
                    <a:pt x="222" y="42"/>
                  </a:lnTo>
                  <a:lnTo>
                    <a:pt x="211" y="39"/>
                  </a:lnTo>
                  <a:lnTo>
                    <a:pt x="198" y="38"/>
                  </a:lnTo>
                  <a:lnTo>
                    <a:pt x="184" y="36"/>
                  </a:lnTo>
                  <a:lnTo>
                    <a:pt x="176" y="34"/>
                  </a:lnTo>
                  <a:lnTo>
                    <a:pt x="173" y="29"/>
                  </a:lnTo>
                  <a:lnTo>
                    <a:pt x="173" y="10"/>
                  </a:lnTo>
                  <a:lnTo>
                    <a:pt x="172" y="6"/>
                  </a:lnTo>
                  <a:lnTo>
                    <a:pt x="167" y="1"/>
                  </a:lnTo>
                  <a:lnTo>
                    <a:pt x="163" y="0"/>
                  </a:lnTo>
                  <a:lnTo>
                    <a:pt x="156" y="1"/>
                  </a:lnTo>
                  <a:lnTo>
                    <a:pt x="146" y="8"/>
                  </a:lnTo>
                  <a:lnTo>
                    <a:pt x="134" y="18"/>
                  </a:lnTo>
                  <a:lnTo>
                    <a:pt x="118" y="33"/>
                  </a:lnTo>
                  <a:lnTo>
                    <a:pt x="102" y="48"/>
                  </a:lnTo>
                  <a:lnTo>
                    <a:pt x="85" y="67"/>
                  </a:lnTo>
                  <a:lnTo>
                    <a:pt x="54" y="106"/>
                  </a:lnTo>
                  <a:lnTo>
                    <a:pt x="39" y="125"/>
                  </a:lnTo>
                  <a:lnTo>
                    <a:pt x="26" y="143"/>
                  </a:lnTo>
                  <a:lnTo>
                    <a:pt x="8" y="174"/>
                  </a:lnTo>
                  <a:lnTo>
                    <a:pt x="2" y="186"/>
                  </a:lnTo>
                  <a:lnTo>
                    <a:pt x="0" y="194"/>
                  </a:lnTo>
                  <a:lnTo>
                    <a:pt x="0" y="201"/>
                  </a:lnTo>
                  <a:lnTo>
                    <a:pt x="2" y="206"/>
                  </a:lnTo>
                  <a:lnTo>
                    <a:pt x="8" y="213"/>
                  </a:lnTo>
                  <a:lnTo>
                    <a:pt x="14" y="222"/>
                  </a:lnTo>
                  <a:lnTo>
                    <a:pt x="18" y="232"/>
                  </a:lnTo>
                  <a:lnTo>
                    <a:pt x="20" y="241"/>
                  </a:lnTo>
                  <a:lnTo>
                    <a:pt x="21" y="245"/>
                  </a:lnTo>
                  <a:lnTo>
                    <a:pt x="25" y="247"/>
                  </a:lnTo>
                  <a:lnTo>
                    <a:pt x="44" y="234"/>
                  </a:lnTo>
                  <a:lnTo>
                    <a:pt x="62" y="219"/>
                  </a:lnTo>
                  <a:lnTo>
                    <a:pt x="77" y="207"/>
                  </a:lnTo>
                  <a:lnTo>
                    <a:pt x="111" y="181"/>
                  </a:lnTo>
                  <a:lnTo>
                    <a:pt x="127" y="169"/>
                  </a:lnTo>
                  <a:lnTo>
                    <a:pt x="140" y="16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11" name="Freeform 64"/>
            <p:cNvSpPr>
              <a:spLocks/>
            </p:cNvSpPr>
            <p:nvPr/>
          </p:nvSpPr>
          <p:spPr bwMode="auto">
            <a:xfrm>
              <a:off x="6293027" y="2434622"/>
              <a:ext cx="78653" cy="91297"/>
            </a:xfrm>
            <a:custGeom>
              <a:avLst/>
              <a:gdLst/>
              <a:ahLst/>
              <a:cxnLst>
                <a:cxn ang="0">
                  <a:pos x="158" y="159"/>
                </a:cxn>
                <a:cxn ang="0">
                  <a:pos x="156" y="146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7" y="110"/>
                </a:cxn>
                <a:cxn ang="0">
                  <a:pos x="133" y="95"/>
                </a:cxn>
                <a:cxn ang="0">
                  <a:pos x="130" y="78"/>
                </a:cxn>
                <a:cxn ang="0">
                  <a:pos x="129" y="63"/>
                </a:cxn>
                <a:cxn ang="0">
                  <a:pos x="126" y="53"/>
                </a:cxn>
                <a:cxn ang="0">
                  <a:pos x="118" y="45"/>
                </a:cxn>
                <a:cxn ang="0">
                  <a:pos x="107" y="37"/>
                </a:cxn>
                <a:cxn ang="0">
                  <a:pos x="80" y="21"/>
                </a:cxn>
                <a:cxn ang="0">
                  <a:pos x="72" y="13"/>
                </a:cxn>
                <a:cxn ang="0">
                  <a:pos x="63" y="7"/>
                </a:cxn>
                <a:cxn ang="0">
                  <a:pos x="49" y="1"/>
                </a:cxn>
                <a:cxn ang="0">
                  <a:pos x="32" y="0"/>
                </a:cxn>
                <a:cxn ang="0">
                  <a:pos x="0" y="0"/>
                </a:cxn>
                <a:cxn ang="0">
                  <a:pos x="43" y="49"/>
                </a:cxn>
                <a:cxn ang="0">
                  <a:pos x="58" y="66"/>
                </a:cxn>
                <a:cxn ang="0">
                  <a:pos x="75" y="85"/>
                </a:cxn>
                <a:cxn ang="0">
                  <a:pos x="91" y="106"/>
                </a:cxn>
                <a:cxn ang="0">
                  <a:pos x="104" y="125"/>
                </a:cxn>
                <a:cxn ang="0">
                  <a:pos x="116" y="142"/>
                </a:cxn>
                <a:cxn ang="0">
                  <a:pos x="129" y="162"/>
                </a:cxn>
                <a:cxn ang="0">
                  <a:pos x="139" y="175"/>
                </a:cxn>
                <a:cxn ang="0">
                  <a:pos x="147" y="181"/>
                </a:cxn>
                <a:cxn ang="0">
                  <a:pos x="154" y="181"/>
                </a:cxn>
                <a:cxn ang="0">
                  <a:pos x="156" y="173"/>
                </a:cxn>
                <a:cxn ang="0">
                  <a:pos x="158" y="159"/>
                </a:cxn>
              </a:cxnLst>
              <a:rect l="0" t="0" r="r" b="b"/>
              <a:pathLst>
                <a:path w="158" h="181">
                  <a:moveTo>
                    <a:pt x="158" y="159"/>
                  </a:moveTo>
                  <a:lnTo>
                    <a:pt x="156" y="146"/>
                  </a:lnTo>
                  <a:lnTo>
                    <a:pt x="151" y="133"/>
                  </a:lnTo>
                  <a:lnTo>
                    <a:pt x="145" y="122"/>
                  </a:lnTo>
                  <a:lnTo>
                    <a:pt x="137" y="110"/>
                  </a:lnTo>
                  <a:lnTo>
                    <a:pt x="133" y="95"/>
                  </a:lnTo>
                  <a:lnTo>
                    <a:pt x="130" y="78"/>
                  </a:lnTo>
                  <a:lnTo>
                    <a:pt x="129" y="63"/>
                  </a:lnTo>
                  <a:lnTo>
                    <a:pt x="126" y="53"/>
                  </a:lnTo>
                  <a:lnTo>
                    <a:pt x="118" y="45"/>
                  </a:lnTo>
                  <a:lnTo>
                    <a:pt x="107" y="37"/>
                  </a:lnTo>
                  <a:lnTo>
                    <a:pt x="80" y="21"/>
                  </a:lnTo>
                  <a:lnTo>
                    <a:pt x="72" y="13"/>
                  </a:lnTo>
                  <a:lnTo>
                    <a:pt x="63" y="7"/>
                  </a:lnTo>
                  <a:lnTo>
                    <a:pt x="49" y="1"/>
                  </a:lnTo>
                  <a:lnTo>
                    <a:pt x="32" y="0"/>
                  </a:lnTo>
                  <a:lnTo>
                    <a:pt x="0" y="0"/>
                  </a:lnTo>
                  <a:lnTo>
                    <a:pt x="43" y="49"/>
                  </a:lnTo>
                  <a:lnTo>
                    <a:pt x="58" y="66"/>
                  </a:lnTo>
                  <a:lnTo>
                    <a:pt x="75" y="85"/>
                  </a:lnTo>
                  <a:lnTo>
                    <a:pt x="91" y="106"/>
                  </a:lnTo>
                  <a:lnTo>
                    <a:pt x="104" y="125"/>
                  </a:lnTo>
                  <a:lnTo>
                    <a:pt x="116" y="142"/>
                  </a:lnTo>
                  <a:lnTo>
                    <a:pt x="129" y="162"/>
                  </a:lnTo>
                  <a:lnTo>
                    <a:pt x="139" y="175"/>
                  </a:lnTo>
                  <a:lnTo>
                    <a:pt x="147" y="181"/>
                  </a:lnTo>
                  <a:lnTo>
                    <a:pt x="154" y="181"/>
                  </a:lnTo>
                  <a:lnTo>
                    <a:pt x="156" y="173"/>
                  </a:lnTo>
                  <a:lnTo>
                    <a:pt x="158" y="15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12" name="Freeform 65"/>
            <p:cNvSpPr>
              <a:spLocks/>
            </p:cNvSpPr>
            <p:nvPr/>
          </p:nvSpPr>
          <p:spPr bwMode="auto">
            <a:xfrm>
              <a:off x="7540233" y="2434622"/>
              <a:ext cx="78653" cy="94106"/>
            </a:xfrm>
            <a:custGeom>
              <a:avLst/>
              <a:gdLst/>
              <a:ahLst/>
              <a:cxnLst>
                <a:cxn ang="0">
                  <a:pos x="46" y="137"/>
                </a:cxn>
                <a:cxn ang="0">
                  <a:pos x="58" y="120"/>
                </a:cxn>
                <a:cxn ang="0">
                  <a:pos x="87" y="80"/>
                </a:cxn>
                <a:cxn ang="0">
                  <a:pos x="103" y="60"/>
                </a:cxn>
                <a:cxn ang="0">
                  <a:pos x="117" y="45"/>
                </a:cxn>
                <a:cxn ang="0">
                  <a:pos x="158" y="0"/>
                </a:cxn>
                <a:cxn ang="0">
                  <a:pos x="126" y="0"/>
                </a:cxn>
                <a:cxn ang="0">
                  <a:pos x="109" y="1"/>
                </a:cxn>
                <a:cxn ang="0">
                  <a:pos x="95" y="7"/>
                </a:cxn>
                <a:cxn ang="0">
                  <a:pos x="86" y="13"/>
                </a:cxn>
                <a:cxn ang="0">
                  <a:pos x="78" y="21"/>
                </a:cxn>
                <a:cxn ang="0">
                  <a:pos x="51" y="37"/>
                </a:cxn>
                <a:cxn ang="0">
                  <a:pos x="40" y="45"/>
                </a:cxn>
                <a:cxn ang="0">
                  <a:pos x="32" y="53"/>
                </a:cxn>
                <a:cxn ang="0">
                  <a:pos x="29" y="63"/>
                </a:cxn>
                <a:cxn ang="0">
                  <a:pos x="28" y="78"/>
                </a:cxn>
                <a:cxn ang="0">
                  <a:pos x="25" y="95"/>
                </a:cxn>
                <a:cxn ang="0">
                  <a:pos x="21" y="110"/>
                </a:cxn>
                <a:cxn ang="0">
                  <a:pos x="13" y="122"/>
                </a:cxn>
                <a:cxn ang="0">
                  <a:pos x="7" y="134"/>
                </a:cxn>
                <a:cxn ang="0">
                  <a:pos x="2" y="147"/>
                </a:cxn>
                <a:cxn ang="0">
                  <a:pos x="0" y="162"/>
                </a:cxn>
                <a:cxn ang="0">
                  <a:pos x="2" y="175"/>
                </a:cxn>
                <a:cxn ang="0">
                  <a:pos x="5" y="183"/>
                </a:cxn>
                <a:cxn ang="0">
                  <a:pos x="9" y="187"/>
                </a:cxn>
                <a:cxn ang="0">
                  <a:pos x="12" y="187"/>
                </a:cxn>
                <a:cxn ang="0">
                  <a:pos x="15" y="183"/>
                </a:cxn>
                <a:cxn ang="0">
                  <a:pos x="19" y="177"/>
                </a:cxn>
                <a:cxn ang="0">
                  <a:pos x="25" y="168"/>
                </a:cxn>
                <a:cxn ang="0">
                  <a:pos x="34" y="155"/>
                </a:cxn>
                <a:cxn ang="0">
                  <a:pos x="46" y="137"/>
                </a:cxn>
              </a:cxnLst>
              <a:rect l="0" t="0" r="r" b="b"/>
              <a:pathLst>
                <a:path w="158" h="187">
                  <a:moveTo>
                    <a:pt x="46" y="137"/>
                  </a:moveTo>
                  <a:lnTo>
                    <a:pt x="58" y="120"/>
                  </a:lnTo>
                  <a:lnTo>
                    <a:pt x="87" y="80"/>
                  </a:lnTo>
                  <a:lnTo>
                    <a:pt x="103" y="60"/>
                  </a:lnTo>
                  <a:lnTo>
                    <a:pt x="117" y="45"/>
                  </a:lnTo>
                  <a:lnTo>
                    <a:pt x="158" y="0"/>
                  </a:lnTo>
                  <a:lnTo>
                    <a:pt x="126" y="0"/>
                  </a:lnTo>
                  <a:lnTo>
                    <a:pt x="109" y="1"/>
                  </a:lnTo>
                  <a:lnTo>
                    <a:pt x="95" y="7"/>
                  </a:lnTo>
                  <a:lnTo>
                    <a:pt x="86" y="13"/>
                  </a:lnTo>
                  <a:lnTo>
                    <a:pt x="78" y="21"/>
                  </a:lnTo>
                  <a:lnTo>
                    <a:pt x="51" y="37"/>
                  </a:lnTo>
                  <a:lnTo>
                    <a:pt x="40" y="45"/>
                  </a:lnTo>
                  <a:lnTo>
                    <a:pt x="32" y="53"/>
                  </a:lnTo>
                  <a:lnTo>
                    <a:pt x="29" y="63"/>
                  </a:lnTo>
                  <a:lnTo>
                    <a:pt x="28" y="78"/>
                  </a:lnTo>
                  <a:lnTo>
                    <a:pt x="25" y="95"/>
                  </a:lnTo>
                  <a:lnTo>
                    <a:pt x="21" y="110"/>
                  </a:lnTo>
                  <a:lnTo>
                    <a:pt x="13" y="122"/>
                  </a:lnTo>
                  <a:lnTo>
                    <a:pt x="7" y="134"/>
                  </a:lnTo>
                  <a:lnTo>
                    <a:pt x="2" y="147"/>
                  </a:lnTo>
                  <a:lnTo>
                    <a:pt x="0" y="162"/>
                  </a:lnTo>
                  <a:lnTo>
                    <a:pt x="2" y="175"/>
                  </a:lnTo>
                  <a:lnTo>
                    <a:pt x="5" y="183"/>
                  </a:lnTo>
                  <a:lnTo>
                    <a:pt x="9" y="187"/>
                  </a:lnTo>
                  <a:lnTo>
                    <a:pt x="12" y="187"/>
                  </a:lnTo>
                  <a:lnTo>
                    <a:pt x="15" y="183"/>
                  </a:lnTo>
                  <a:lnTo>
                    <a:pt x="19" y="177"/>
                  </a:lnTo>
                  <a:lnTo>
                    <a:pt x="25" y="168"/>
                  </a:lnTo>
                  <a:lnTo>
                    <a:pt x="34" y="155"/>
                  </a:lnTo>
                  <a:lnTo>
                    <a:pt x="46" y="13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E202A">
                    <a:shade val="30000"/>
                    <a:satMod val="115000"/>
                  </a:srgbClr>
                </a:gs>
                <a:gs pos="50000">
                  <a:srgbClr val="CE202A">
                    <a:shade val="67500"/>
                    <a:satMod val="115000"/>
                  </a:srgbClr>
                </a:gs>
                <a:gs pos="100000">
                  <a:srgbClr val="CE202A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0">
              <a:solidFill>
                <a:srgbClr val="CE202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grpSp>
          <p:nvGrpSpPr>
            <p:cNvPr id="313" name="Group 312"/>
            <p:cNvGrpSpPr/>
            <p:nvPr/>
          </p:nvGrpSpPr>
          <p:grpSpPr bwMode="auto">
            <a:xfrm>
              <a:off x="5971415" y="2229718"/>
              <a:ext cx="1969080" cy="1411032"/>
              <a:chOff x="1404938" y="525463"/>
              <a:chExt cx="6207125" cy="4448175"/>
            </a:xfrm>
            <a:solidFill>
              <a:srgbClr val="82B545"/>
            </a:solidFill>
          </p:grpSpPr>
          <p:sp>
            <p:nvSpPr>
              <p:cNvPr id="328" name="Freeform 14"/>
              <p:cNvSpPr>
                <a:spLocks/>
              </p:cNvSpPr>
              <p:nvPr/>
            </p:nvSpPr>
            <p:spPr bwMode="auto">
              <a:xfrm>
                <a:off x="3157538" y="4821238"/>
                <a:ext cx="223838" cy="152400"/>
              </a:xfrm>
              <a:custGeom>
                <a:avLst/>
                <a:gdLst/>
                <a:ahLst/>
                <a:cxnLst>
                  <a:cxn ang="0">
                    <a:pos x="74" y="90"/>
                  </a:cxn>
                  <a:cxn ang="0">
                    <a:pos x="77" y="83"/>
                  </a:cxn>
                  <a:cxn ang="0">
                    <a:pos x="85" y="78"/>
                  </a:cxn>
                  <a:cxn ang="0">
                    <a:pos x="95" y="71"/>
                  </a:cxn>
                  <a:cxn ang="0">
                    <a:pos x="105" y="65"/>
                  </a:cxn>
                  <a:cxn ang="0">
                    <a:pos x="114" y="56"/>
                  </a:cxn>
                  <a:cxn ang="0">
                    <a:pos x="123" y="45"/>
                  </a:cxn>
                  <a:cxn ang="0">
                    <a:pos x="131" y="32"/>
                  </a:cxn>
                  <a:cxn ang="0">
                    <a:pos x="138" y="20"/>
                  </a:cxn>
                  <a:cxn ang="0">
                    <a:pos x="141" y="11"/>
                  </a:cxn>
                  <a:cxn ang="0">
                    <a:pos x="141" y="3"/>
                  </a:cxn>
                  <a:cxn ang="0">
                    <a:pos x="138" y="0"/>
                  </a:cxn>
                  <a:cxn ang="0">
                    <a:pos x="119" y="0"/>
                  </a:cxn>
                  <a:cxn ang="0">
                    <a:pos x="103" y="6"/>
                  </a:cxn>
                  <a:cxn ang="0">
                    <a:pos x="89" y="15"/>
                  </a:cxn>
                  <a:cxn ang="0">
                    <a:pos x="81" y="20"/>
                  </a:cxn>
                  <a:cxn ang="0">
                    <a:pos x="72" y="24"/>
                  </a:cxn>
                  <a:cxn ang="0">
                    <a:pos x="59" y="24"/>
                  </a:cxn>
                  <a:cxn ang="0">
                    <a:pos x="44" y="23"/>
                  </a:cxn>
                  <a:cxn ang="0">
                    <a:pos x="27" y="20"/>
                  </a:cxn>
                  <a:cxn ang="0">
                    <a:pos x="17" y="21"/>
                  </a:cxn>
                  <a:cxn ang="0">
                    <a:pos x="9" y="25"/>
                  </a:cxn>
                  <a:cxn ang="0">
                    <a:pos x="5" y="35"/>
                  </a:cxn>
                  <a:cxn ang="0">
                    <a:pos x="1" y="49"/>
                  </a:cxn>
                  <a:cxn ang="0">
                    <a:pos x="0" y="58"/>
                  </a:cxn>
                  <a:cxn ang="0">
                    <a:pos x="1" y="66"/>
                  </a:cxn>
                  <a:cxn ang="0">
                    <a:pos x="5" y="71"/>
                  </a:cxn>
                  <a:cxn ang="0">
                    <a:pos x="13" y="77"/>
                  </a:cxn>
                  <a:cxn ang="0">
                    <a:pos x="26" y="83"/>
                  </a:cxn>
                  <a:cxn ang="0">
                    <a:pos x="44" y="91"/>
                  </a:cxn>
                  <a:cxn ang="0">
                    <a:pos x="59" y="95"/>
                  </a:cxn>
                  <a:cxn ang="0">
                    <a:pos x="68" y="96"/>
                  </a:cxn>
                  <a:cxn ang="0">
                    <a:pos x="73" y="95"/>
                  </a:cxn>
                  <a:cxn ang="0">
                    <a:pos x="74" y="90"/>
                  </a:cxn>
                </a:cxnLst>
                <a:rect l="0" t="0" r="r" b="b"/>
                <a:pathLst>
                  <a:path w="141" h="96">
                    <a:moveTo>
                      <a:pt x="74" y="90"/>
                    </a:moveTo>
                    <a:lnTo>
                      <a:pt x="77" y="83"/>
                    </a:lnTo>
                    <a:lnTo>
                      <a:pt x="85" y="78"/>
                    </a:lnTo>
                    <a:lnTo>
                      <a:pt x="95" y="71"/>
                    </a:lnTo>
                    <a:lnTo>
                      <a:pt x="105" y="65"/>
                    </a:lnTo>
                    <a:lnTo>
                      <a:pt x="114" y="56"/>
                    </a:lnTo>
                    <a:lnTo>
                      <a:pt x="123" y="45"/>
                    </a:lnTo>
                    <a:lnTo>
                      <a:pt x="131" y="32"/>
                    </a:lnTo>
                    <a:lnTo>
                      <a:pt x="138" y="20"/>
                    </a:lnTo>
                    <a:lnTo>
                      <a:pt x="141" y="11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19" y="0"/>
                    </a:lnTo>
                    <a:lnTo>
                      <a:pt x="103" y="6"/>
                    </a:lnTo>
                    <a:lnTo>
                      <a:pt x="89" y="15"/>
                    </a:lnTo>
                    <a:lnTo>
                      <a:pt x="81" y="20"/>
                    </a:lnTo>
                    <a:lnTo>
                      <a:pt x="72" y="24"/>
                    </a:lnTo>
                    <a:lnTo>
                      <a:pt x="59" y="24"/>
                    </a:lnTo>
                    <a:lnTo>
                      <a:pt x="44" y="23"/>
                    </a:lnTo>
                    <a:lnTo>
                      <a:pt x="27" y="20"/>
                    </a:lnTo>
                    <a:lnTo>
                      <a:pt x="17" y="21"/>
                    </a:lnTo>
                    <a:lnTo>
                      <a:pt x="9" y="25"/>
                    </a:lnTo>
                    <a:lnTo>
                      <a:pt x="5" y="35"/>
                    </a:lnTo>
                    <a:lnTo>
                      <a:pt x="1" y="49"/>
                    </a:lnTo>
                    <a:lnTo>
                      <a:pt x="0" y="58"/>
                    </a:lnTo>
                    <a:lnTo>
                      <a:pt x="1" y="66"/>
                    </a:lnTo>
                    <a:lnTo>
                      <a:pt x="5" y="71"/>
                    </a:lnTo>
                    <a:lnTo>
                      <a:pt x="13" y="77"/>
                    </a:lnTo>
                    <a:lnTo>
                      <a:pt x="26" y="83"/>
                    </a:lnTo>
                    <a:lnTo>
                      <a:pt x="44" y="91"/>
                    </a:lnTo>
                    <a:lnTo>
                      <a:pt x="59" y="95"/>
                    </a:lnTo>
                    <a:lnTo>
                      <a:pt x="68" y="96"/>
                    </a:lnTo>
                    <a:lnTo>
                      <a:pt x="73" y="95"/>
                    </a:lnTo>
                    <a:lnTo>
                      <a:pt x="74" y="9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29" name="Freeform 15"/>
              <p:cNvSpPr>
                <a:spLocks/>
              </p:cNvSpPr>
              <p:nvPr/>
            </p:nvSpPr>
            <p:spPr bwMode="auto">
              <a:xfrm>
                <a:off x="5635625" y="4821238"/>
                <a:ext cx="223838" cy="152400"/>
              </a:xfrm>
              <a:custGeom>
                <a:avLst/>
                <a:gdLst/>
                <a:ahLst/>
                <a:cxnLst>
                  <a:cxn ang="0">
                    <a:pos x="111" y="83"/>
                  </a:cxn>
                  <a:cxn ang="0">
                    <a:pos x="127" y="77"/>
                  </a:cxn>
                  <a:cxn ang="0">
                    <a:pos x="136" y="71"/>
                  </a:cxn>
                  <a:cxn ang="0">
                    <a:pos x="141" y="66"/>
                  </a:cxn>
                  <a:cxn ang="0">
                    <a:pos x="141" y="58"/>
                  </a:cxn>
                  <a:cxn ang="0">
                    <a:pos x="140" y="49"/>
                  </a:cxn>
                  <a:cxn ang="0">
                    <a:pos x="136" y="35"/>
                  </a:cxn>
                  <a:cxn ang="0">
                    <a:pos x="132" y="25"/>
                  </a:cxn>
                  <a:cxn ang="0">
                    <a:pos x="124" y="21"/>
                  </a:cxn>
                  <a:cxn ang="0">
                    <a:pos x="114" y="20"/>
                  </a:cxn>
                  <a:cxn ang="0">
                    <a:pos x="97" y="23"/>
                  </a:cxn>
                  <a:cxn ang="0">
                    <a:pos x="82" y="24"/>
                  </a:cxn>
                  <a:cxn ang="0">
                    <a:pos x="69" y="24"/>
                  </a:cxn>
                  <a:cxn ang="0">
                    <a:pos x="60" y="20"/>
                  </a:cxn>
                  <a:cxn ang="0">
                    <a:pos x="52" y="15"/>
                  </a:cxn>
                  <a:cxn ang="0">
                    <a:pos x="38" y="6"/>
                  </a:cxn>
                  <a:cxn ang="0">
                    <a:pos x="22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1"/>
                  </a:cxn>
                  <a:cxn ang="0">
                    <a:pos x="3" y="20"/>
                  </a:cxn>
                  <a:cxn ang="0">
                    <a:pos x="10" y="32"/>
                  </a:cxn>
                  <a:cxn ang="0">
                    <a:pos x="18" y="45"/>
                  </a:cxn>
                  <a:cxn ang="0">
                    <a:pos x="27" y="56"/>
                  </a:cxn>
                  <a:cxn ang="0">
                    <a:pos x="36" y="65"/>
                  </a:cxn>
                  <a:cxn ang="0">
                    <a:pos x="46" y="71"/>
                  </a:cxn>
                  <a:cxn ang="0">
                    <a:pos x="56" y="78"/>
                  </a:cxn>
                  <a:cxn ang="0">
                    <a:pos x="64" y="83"/>
                  </a:cxn>
                  <a:cxn ang="0">
                    <a:pos x="67" y="90"/>
                  </a:cxn>
                  <a:cxn ang="0">
                    <a:pos x="68" y="94"/>
                  </a:cxn>
                  <a:cxn ang="0">
                    <a:pos x="69" y="96"/>
                  </a:cxn>
                  <a:cxn ang="0">
                    <a:pos x="74" y="96"/>
                  </a:cxn>
                  <a:cxn ang="0">
                    <a:pos x="82" y="95"/>
                  </a:cxn>
                  <a:cxn ang="0">
                    <a:pos x="94" y="90"/>
                  </a:cxn>
                  <a:cxn ang="0">
                    <a:pos x="111" y="83"/>
                  </a:cxn>
                </a:cxnLst>
                <a:rect l="0" t="0" r="r" b="b"/>
                <a:pathLst>
                  <a:path w="141" h="96">
                    <a:moveTo>
                      <a:pt x="111" y="83"/>
                    </a:moveTo>
                    <a:lnTo>
                      <a:pt x="127" y="77"/>
                    </a:lnTo>
                    <a:lnTo>
                      <a:pt x="136" y="71"/>
                    </a:lnTo>
                    <a:lnTo>
                      <a:pt x="141" y="66"/>
                    </a:lnTo>
                    <a:lnTo>
                      <a:pt x="141" y="58"/>
                    </a:lnTo>
                    <a:lnTo>
                      <a:pt x="140" y="49"/>
                    </a:lnTo>
                    <a:lnTo>
                      <a:pt x="136" y="35"/>
                    </a:lnTo>
                    <a:lnTo>
                      <a:pt x="132" y="25"/>
                    </a:lnTo>
                    <a:lnTo>
                      <a:pt x="124" y="21"/>
                    </a:lnTo>
                    <a:lnTo>
                      <a:pt x="114" y="20"/>
                    </a:lnTo>
                    <a:lnTo>
                      <a:pt x="97" y="23"/>
                    </a:lnTo>
                    <a:lnTo>
                      <a:pt x="82" y="24"/>
                    </a:lnTo>
                    <a:lnTo>
                      <a:pt x="69" y="24"/>
                    </a:lnTo>
                    <a:lnTo>
                      <a:pt x="60" y="20"/>
                    </a:lnTo>
                    <a:lnTo>
                      <a:pt x="52" y="15"/>
                    </a:lnTo>
                    <a:lnTo>
                      <a:pt x="38" y="6"/>
                    </a:lnTo>
                    <a:lnTo>
                      <a:pt x="22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11"/>
                    </a:lnTo>
                    <a:lnTo>
                      <a:pt x="3" y="20"/>
                    </a:lnTo>
                    <a:lnTo>
                      <a:pt x="10" y="32"/>
                    </a:lnTo>
                    <a:lnTo>
                      <a:pt x="18" y="45"/>
                    </a:lnTo>
                    <a:lnTo>
                      <a:pt x="27" y="56"/>
                    </a:lnTo>
                    <a:lnTo>
                      <a:pt x="36" y="65"/>
                    </a:lnTo>
                    <a:lnTo>
                      <a:pt x="46" y="71"/>
                    </a:lnTo>
                    <a:lnTo>
                      <a:pt x="56" y="78"/>
                    </a:lnTo>
                    <a:lnTo>
                      <a:pt x="64" y="83"/>
                    </a:lnTo>
                    <a:lnTo>
                      <a:pt x="67" y="90"/>
                    </a:lnTo>
                    <a:lnTo>
                      <a:pt x="68" y="94"/>
                    </a:lnTo>
                    <a:lnTo>
                      <a:pt x="69" y="96"/>
                    </a:lnTo>
                    <a:lnTo>
                      <a:pt x="74" y="96"/>
                    </a:lnTo>
                    <a:lnTo>
                      <a:pt x="82" y="95"/>
                    </a:lnTo>
                    <a:lnTo>
                      <a:pt x="94" y="90"/>
                    </a:lnTo>
                    <a:lnTo>
                      <a:pt x="111" y="8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0" name="Freeform 16"/>
              <p:cNvSpPr>
                <a:spLocks/>
              </p:cNvSpPr>
              <p:nvPr/>
            </p:nvSpPr>
            <p:spPr bwMode="auto">
              <a:xfrm>
                <a:off x="2908300" y="4568825"/>
                <a:ext cx="257175" cy="369888"/>
              </a:xfrm>
              <a:custGeom>
                <a:avLst/>
                <a:gdLst/>
                <a:ahLst/>
                <a:cxnLst>
                  <a:cxn ang="0">
                    <a:pos x="145" y="219"/>
                  </a:cxn>
                  <a:cxn ang="0">
                    <a:pos x="146" y="209"/>
                  </a:cxn>
                  <a:cxn ang="0">
                    <a:pos x="150" y="198"/>
                  </a:cxn>
                  <a:cxn ang="0">
                    <a:pos x="155" y="186"/>
                  </a:cxn>
                  <a:cxn ang="0">
                    <a:pos x="159" y="177"/>
                  </a:cxn>
                  <a:cxn ang="0">
                    <a:pos x="162" y="169"/>
                  </a:cxn>
                  <a:cxn ang="0">
                    <a:pos x="161" y="161"/>
                  </a:cxn>
                  <a:cxn ang="0">
                    <a:pos x="157" y="153"/>
                  </a:cxn>
                  <a:cxn ang="0">
                    <a:pos x="150" y="142"/>
                  </a:cxn>
                  <a:cxn ang="0">
                    <a:pos x="142" y="132"/>
                  </a:cxn>
                  <a:cxn ang="0">
                    <a:pos x="138" y="124"/>
                  </a:cxn>
                  <a:cxn ang="0">
                    <a:pos x="137" y="116"/>
                  </a:cxn>
                  <a:cxn ang="0">
                    <a:pos x="138" y="107"/>
                  </a:cxn>
                  <a:cxn ang="0">
                    <a:pos x="147" y="79"/>
                  </a:cxn>
                  <a:cxn ang="0">
                    <a:pos x="147" y="67"/>
                  </a:cxn>
                  <a:cxn ang="0">
                    <a:pos x="143" y="61"/>
                  </a:cxn>
                  <a:cxn ang="0">
                    <a:pos x="134" y="58"/>
                  </a:cxn>
                  <a:cxn ang="0">
                    <a:pos x="120" y="61"/>
                  </a:cxn>
                  <a:cxn ang="0">
                    <a:pos x="108" y="62"/>
                  </a:cxn>
                  <a:cxn ang="0">
                    <a:pos x="100" y="61"/>
                  </a:cxn>
                  <a:cxn ang="0">
                    <a:pos x="93" y="57"/>
                  </a:cxn>
                  <a:cxn ang="0">
                    <a:pos x="88" y="48"/>
                  </a:cxn>
                  <a:cxn ang="0">
                    <a:pos x="84" y="37"/>
                  </a:cxn>
                  <a:cxn ang="0">
                    <a:pos x="82" y="24"/>
                  </a:cxn>
                  <a:cxn ang="0">
                    <a:pos x="83" y="12"/>
                  </a:cxn>
                  <a:cxn ang="0">
                    <a:pos x="84" y="6"/>
                  </a:cxn>
                  <a:cxn ang="0">
                    <a:pos x="84" y="2"/>
                  </a:cxn>
                  <a:cxn ang="0">
                    <a:pos x="83" y="0"/>
                  </a:cxn>
                  <a:cxn ang="0">
                    <a:pos x="79" y="2"/>
                  </a:cxn>
                  <a:cxn ang="0">
                    <a:pos x="71" y="6"/>
                  </a:cxn>
                  <a:cxn ang="0">
                    <a:pos x="61" y="12"/>
                  </a:cxn>
                  <a:cxn ang="0">
                    <a:pos x="46" y="22"/>
                  </a:cxn>
                  <a:cxn ang="0">
                    <a:pos x="33" y="31"/>
                  </a:cxn>
                  <a:cxn ang="0">
                    <a:pos x="20" y="39"/>
                  </a:cxn>
                  <a:cxn ang="0">
                    <a:pos x="11" y="46"/>
                  </a:cxn>
                  <a:cxn ang="0">
                    <a:pos x="4" y="50"/>
                  </a:cxn>
                  <a:cxn ang="0">
                    <a:pos x="0" y="53"/>
                  </a:cxn>
                  <a:cxn ang="0">
                    <a:pos x="0" y="54"/>
                  </a:cxn>
                  <a:cxn ang="0">
                    <a:pos x="2" y="57"/>
                  </a:cxn>
                  <a:cxn ang="0">
                    <a:pos x="4" y="61"/>
                  </a:cxn>
                  <a:cxn ang="0">
                    <a:pos x="8" y="64"/>
                  </a:cxn>
                  <a:cxn ang="0">
                    <a:pos x="13" y="69"/>
                  </a:cxn>
                  <a:cxn ang="0">
                    <a:pos x="19" y="73"/>
                  </a:cxn>
                  <a:cxn ang="0">
                    <a:pos x="29" y="85"/>
                  </a:cxn>
                  <a:cxn ang="0">
                    <a:pos x="40" y="100"/>
                  </a:cxn>
                  <a:cxn ang="0">
                    <a:pos x="49" y="121"/>
                  </a:cxn>
                  <a:cxn ang="0">
                    <a:pos x="57" y="142"/>
                  </a:cxn>
                  <a:cxn ang="0">
                    <a:pos x="63" y="165"/>
                  </a:cxn>
                  <a:cxn ang="0">
                    <a:pos x="66" y="202"/>
                  </a:cxn>
                  <a:cxn ang="0">
                    <a:pos x="71" y="216"/>
                  </a:cxn>
                  <a:cxn ang="0">
                    <a:pos x="80" y="225"/>
                  </a:cxn>
                  <a:cxn ang="0">
                    <a:pos x="93" y="232"/>
                  </a:cxn>
                  <a:cxn ang="0">
                    <a:pos x="112" y="233"/>
                  </a:cxn>
                  <a:cxn ang="0">
                    <a:pos x="128" y="232"/>
                  </a:cxn>
                  <a:cxn ang="0">
                    <a:pos x="137" y="230"/>
                  </a:cxn>
                  <a:cxn ang="0">
                    <a:pos x="142" y="225"/>
                  </a:cxn>
                  <a:cxn ang="0">
                    <a:pos x="145" y="219"/>
                  </a:cxn>
                </a:cxnLst>
                <a:rect l="0" t="0" r="r" b="b"/>
                <a:pathLst>
                  <a:path w="162" h="233">
                    <a:moveTo>
                      <a:pt x="145" y="219"/>
                    </a:moveTo>
                    <a:lnTo>
                      <a:pt x="146" y="209"/>
                    </a:lnTo>
                    <a:lnTo>
                      <a:pt x="150" y="198"/>
                    </a:lnTo>
                    <a:lnTo>
                      <a:pt x="155" y="186"/>
                    </a:lnTo>
                    <a:lnTo>
                      <a:pt x="159" y="177"/>
                    </a:lnTo>
                    <a:lnTo>
                      <a:pt x="162" y="169"/>
                    </a:lnTo>
                    <a:lnTo>
                      <a:pt x="161" y="161"/>
                    </a:lnTo>
                    <a:lnTo>
                      <a:pt x="157" y="153"/>
                    </a:lnTo>
                    <a:lnTo>
                      <a:pt x="150" y="142"/>
                    </a:lnTo>
                    <a:lnTo>
                      <a:pt x="142" y="132"/>
                    </a:lnTo>
                    <a:lnTo>
                      <a:pt x="138" y="124"/>
                    </a:lnTo>
                    <a:lnTo>
                      <a:pt x="137" y="116"/>
                    </a:lnTo>
                    <a:lnTo>
                      <a:pt x="138" y="107"/>
                    </a:lnTo>
                    <a:lnTo>
                      <a:pt x="147" y="79"/>
                    </a:lnTo>
                    <a:lnTo>
                      <a:pt x="147" y="67"/>
                    </a:lnTo>
                    <a:lnTo>
                      <a:pt x="143" y="61"/>
                    </a:lnTo>
                    <a:lnTo>
                      <a:pt x="134" y="58"/>
                    </a:lnTo>
                    <a:lnTo>
                      <a:pt x="120" y="61"/>
                    </a:lnTo>
                    <a:lnTo>
                      <a:pt x="108" y="62"/>
                    </a:lnTo>
                    <a:lnTo>
                      <a:pt x="100" y="61"/>
                    </a:lnTo>
                    <a:lnTo>
                      <a:pt x="93" y="57"/>
                    </a:lnTo>
                    <a:lnTo>
                      <a:pt x="88" y="48"/>
                    </a:lnTo>
                    <a:lnTo>
                      <a:pt x="84" y="37"/>
                    </a:lnTo>
                    <a:lnTo>
                      <a:pt x="82" y="24"/>
                    </a:lnTo>
                    <a:lnTo>
                      <a:pt x="83" y="12"/>
                    </a:lnTo>
                    <a:lnTo>
                      <a:pt x="84" y="6"/>
                    </a:lnTo>
                    <a:lnTo>
                      <a:pt x="84" y="2"/>
                    </a:lnTo>
                    <a:lnTo>
                      <a:pt x="83" y="0"/>
                    </a:lnTo>
                    <a:lnTo>
                      <a:pt x="79" y="2"/>
                    </a:lnTo>
                    <a:lnTo>
                      <a:pt x="71" y="6"/>
                    </a:lnTo>
                    <a:lnTo>
                      <a:pt x="61" y="12"/>
                    </a:lnTo>
                    <a:lnTo>
                      <a:pt x="46" y="22"/>
                    </a:lnTo>
                    <a:lnTo>
                      <a:pt x="33" y="31"/>
                    </a:lnTo>
                    <a:lnTo>
                      <a:pt x="20" y="39"/>
                    </a:lnTo>
                    <a:lnTo>
                      <a:pt x="11" y="46"/>
                    </a:lnTo>
                    <a:lnTo>
                      <a:pt x="4" y="50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2" y="57"/>
                    </a:lnTo>
                    <a:lnTo>
                      <a:pt x="4" y="61"/>
                    </a:lnTo>
                    <a:lnTo>
                      <a:pt x="8" y="64"/>
                    </a:lnTo>
                    <a:lnTo>
                      <a:pt x="13" y="69"/>
                    </a:lnTo>
                    <a:lnTo>
                      <a:pt x="19" y="73"/>
                    </a:lnTo>
                    <a:lnTo>
                      <a:pt x="29" y="85"/>
                    </a:lnTo>
                    <a:lnTo>
                      <a:pt x="40" y="100"/>
                    </a:lnTo>
                    <a:lnTo>
                      <a:pt x="49" y="121"/>
                    </a:lnTo>
                    <a:lnTo>
                      <a:pt x="57" y="142"/>
                    </a:lnTo>
                    <a:lnTo>
                      <a:pt x="63" y="165"/>
                    </a:lnTo>
                    <a:lnTo>
                      <a:pt x="66" y="202"/>
                    </a:lnTo>
                    <a:lnTo>
                      <a:pt x="71" y="216"/>
                    </a:lnTo>
                    <a:lnTo>
                      <a:pt x="80" y="225"/>
                    </a:lnTo>
                    <a:lnTo>
                      <a:pt x="93" y="232"/>
                    </a:lnTo>
                    <a:lnTo>
                      <a:pt x="112" y="233"/>
                    </a:lnTo>
                    <a:lnTo>
                      <a:pt x="128" y="232"/>
                    </a:lnTo>
                    <a:lnTo>
                      <a:pt x="137" y="230"/>
                    </a:lnTo>
                    <a:lnTo>
                      <a:pt x="142" y="225"/>
                    </a:lnTo>
                    <a:lnTo>
                      <a:pt x="145" y="21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1" name="Freeform 17"/>
              <p:cNvSpPr>
                <a:spLocks/>
              </p:cNvSpPr>
              <p:nvPr/>
            </p:nvSpPr>
            <p:spPr bwMode="auto">
              <a:xfrm>
                <a:off x="5851525" y="4568825"/>
                <a:ext cx="257175" cy="369888"/>
              </a:xfrm>
              <a:custGeom>
                <a:avLst/>
                <a:gdLst/>
                <a:ahLst/>
                <a:cxnLst>
                  <a:cxn ang="0">
                    <a:pos x="90" y="217"/>
                  </a:cxn>
                  <a:cxn ang="0">
                    <a:pos x="93" y="207"/>
                  </a:cxn>
                  <a:cxn ang="0">
                    <a:pos x="96" y="195"/>
                  </a:cxn>
                  <a:cxn ang="0">
                    <a:pos x="97" y="183"/>
                  </a:cxn>
                  <a:cxn ang="0">
                    <a:pos x="99" y="165"/>
                  </a:cxn>
                  <a:cxn ang="0">
                    <a:pos x="105" y="142"/>
                  </a:cxn>
                  <a:cxn ang="0">
                    <a:pos x="113" y="121"/>
                  </a:cxn>
                  <a:cxn ang="0">
                    <a:pos x="122" y="100"/>
                  </a:cxn>
                  <a:cxn ang="0">
                    <a:pos x="133" y="85"/>
                  </a:cxn>
                  <a:cxn ang="0">
                    <a:pos x="143" y="73"/>
                  </a:cxn>
                  <a:cxn ang="0">
                    <a:pos x="149" y="69"/>
                  </a:cxn>
                  <a:cxn ang="0">
                    <a:pos x="154" y="64"/>
                  </a:cxn>
                  <a:cxn ang="0">
                    <a:pos x="158" y="61"/>
                  </a:cxn>
                  <a:cxn ang="0">
                    <a:pos x="160" y="57"/>
                  </a:cxn>
                  <a:cxn ang="0">
                    <a:pos x="162" y="54"/>
                  </a:cxn>
                  <a:cxn ang="0">
                    <a:pos x="162" y="53"/>
                  </a:cxn>
                  <a:cxn ang="0">
                    <a:pos x="158" y="50"/>
                  </a:cxn>
                  <a:cxn ang="0">
                    <a:pos x="151" y="46"/>
                  </a:cxn>
                  <a:cxn ang="0">
                    <a:pos x="142" y="39"/>
                  </a:cxn>
                  <a:cxn ang="0">
                    <a:pos x="129" y="31"/>
                  </a:cxn>
                  <a:cxn ang="0">
                    <a:pos x="116" y="22"/>
                  </a:cxn>
                  <a:cxn ang="0">
                    <a:pos x="101" y="12"/>
                  </a:cxn>
                  <a:cxn ang="0">
                    <a:pos x="91" y="6"/>
                  </a:cxn>
                  <a:cxn ang="0">
                    <a:pos x="83" y="2"/>
                  </a:cxn>
                  <a:cxn ang="0">
                    <a:pos x="79" y="0"/>
                  </a:cxn>
                  <a:cxn ang="0">
                    <a:pos x="78" y="2"/>
                  </a:cxn>
                  <a:cxn ang="0">
                    <a:pos x="78" y="6"/>
                  </a:cxn>
                  <a:cxn ang="0">
                    <a:pos x="79" y="12"/>
                  </a:cxn>
                  <a:cxn ang="0">
                    <a:pos x="80" y="24"/>
                  </a:cxn>
                  <a:cxn ang="0">
                    <a:pos x="78" y="37"/>
                  </a:cxn>
                  <a:cxn ang="0">
                    <a:pos x="74" y="48"/>
                  </a:cxn>
                  <a:cxn ang="0">
                    <a:pos x="69" y="57"/>
                  </a:cxn>
                  <a:cxn ang="0">
                    <a:pos x="62" y="61"/>
                  </a:cxn>
                  <a:cxn ang="0">
                    <a:pos x="54" y="62"/>
                  </a:cxn>
                  <a:cxn ang="0">
                    <a:pos x="42" y="61"/>
                  </a:cxn>
                  <a:cxn ang="0">
                    <a:pos x="28" y="58"/>
                  </a:cxn>
                  <a:cxn ang="0">
                    <a:pos x="19" y="61"/>
                  </a:cxn>
                  <a:cxn ang="0">
                    <a:pos x="15" y="67"/>
                  </a:cxn>
                  <a:cxn ang="0">
                    <a:pos x="15" y="79"/>
                  </a:cxn>
                  <a:cxn ang="0">
                    <a:pos x="24" y="107"/>
                  </a:cxn>
                  <a:cxn ang="0">
                    <a:pos x="25" y="116"/>
                  </a:cxn>
                  <a:cxn ang="0">
                    <a:pos x="24" y="124"/>
                  </a:cxn>
                  <a:cxn ang="0">
                    <a:pos x="20" y="132"/>
                  </a:cxn>
                  <a:cxn ang="0">
                    <a:pos x="12" y="142"/>
                  </a:cxn>
                  <a:cxn ang="0">
                    <a:pos x="5" y="153"/>
                  </a:cxn>
                  <a:cxn ang="0">
                    <a:pos x="1" y="161"/>
                  </a:cxn>
                  <a:cxn ang="0">
                    <a:pos x="0" y="169"/>
                  </a:cxn>
                  <a:cxn ang="0">
                    <a:pos x="3" y="177"/>
                  </a:cxn>
                  <a:cxn ang="0">
                    <a:pos x="7" y="186"/>
                  </a:cxn>
                  <a:cxn ang="0">
                    <a:pos x="12" y="198"/>
                  </a:cxn>
                  <a:cxn ang="0">
                    <a:pos x="16" y="209"/>
                  </a:cxn>
                  <a:cxn ang="0">
                    <a:pos x="17" y="219"/>
                  </a:cxn>
                  <a:cxn ang="0">
                    <a:pos x="21" y="226"/>
                  </a:cxn>
                  <a:cxn ang="0">
                    <a:pos x="30" y="232"/>
                  </a:cxn>
                  <a:cxn ang="0">
                    <a:pos x="42" y="233"/>
                  </a:cxn>
                  <a:cxn ang="0">
                    <a:pos x="57" y="233"/>
                  </a:cxn>
                  <a:cxn ang="0">
                    <a:pos x="70" y="230"/>
                  </a:cxn>
                  <a:cxn ang="0">
                    <a:pos x="82" y="225"/>
                  </a:cxn>
                  <a:cxn ang="0">
                    <a:pos x="90" y="217"/>
                  </a:cxn>
                </a:cxnLst>
                <a:rect l="0" t="0" r="r" b="b"/>
                <a:pathLst>
                  <a:path w="162" h="233">
                    <a:moveTo>
                      <a:pt x="90" y="217"/>
                    </a:moveTo>
                    <a:lnTo>
                      <a:pt x="93" y="207"/>
                    </a:lnTo>
                    <a:lnTo>
                      <a:pt x="96" y="195"/>
                    </a:lnTo>
                    <a:lnTo>
                      <a:pt x="97" y="183"/>
                    </a:lnTo>
                    <a:lnTo>
                      <a:pt x="99" y="165"/>
                    </a:lnTo>
                    <a:lnTo>
                      <a:pt x="105" y="142"/>
                    </a:lnTo>
                    <a:lnTo>
                      <a:pt x="113" y="121"/>
                    </a:lnTo>
                    <a:lnTo>
                      <a:pt x="122" y="100"/>
                    </a:lnTo>
                    <a:lnTo>
                      <a:pt x="133" y="85"/>
                    </a:lnTo>
                    <a:lnTo>
                      <a:pt x="143" y="73"/>
                    </a:lnTo>
                    <a:lnTo>
                      <a:pt x="149" y="69"/>
                    </a:lnTo>
                    <a:lnTo>
                      <a:pt x="154" y="64"/>
                    </a:lnTo>
                    <a:lnTo>
                      <a:pt x="158" y="61"/>
                    </a:lnTo>
                    <a:lnTo>
                      <a:pt x="160" y="57"/>
                    </a:lnTo>
                    <a:lnTo>
                      <a:pt x="162" y="54"/>
                    </a:lnTo>
                    <a:lnTo>
                      <a:pt x="162" y="53"/>
                    </a:lnTo>
                    <a:lnTo>
                      <a:pt x="158" y="50"/>
                    </a:lnTo>
                    <a:lnTo>
                      <a:pt x="151" y="46"/>
                    </a:lnTo>
                    <a:lnTo>
                      <a:pt x="142" y="39"/>
                    </a:lnTo>
                    <a:lnTo>
                      <a:pt x="129" y="31"/>
                    </a:lnTo>
                    <a:lnTo>
                      <a:pt x="116" y="22"/>
                    </a:lnTo>
                    <a:lnTo>
                      <a:pt x="101" y="12"/>
                    </a:lnTo>
                    <a:lnTo>
                      <a:pt x="91" y="6"/>
                    </a:lnTo>
                    <a:lnTo>
                      <a:pt x="83" y="2"/>
                    </a:lnTo>
                    <a:lnTo>
                      <a:pt x="79" y="0"/>
                    </a:lnTo>
                    <a:lnTo>
                      <a:pt x="78" y="2"/>
                    </a:lnTo>
                    <a:lnTo>
                      <a:pt x="78" y="6"/>
                    </a:lnTo>
                    <a:lnTo>
                      <a:pt x="79" y="12"/>
                    </a:lnTo>
                    <a:lnTo>
                      <a:pt x="80" y="24"/>
                    </a:lnTo>
                    <a:lnTo>
                      <a:pt x="78" y="37"/>
                    </a:lnTo>
                    <a:lnTo>
                      <a:pt x="74" y="48"/>
                    </a:lnTo>
                    <a:lnTo>
                      <a:pt x="69" y="57"/>
                    </a:lnTo>
                    <a:lnTo>
                      <a:pt x="62" y="61"/>
                    </a:lnTo>
                    <a:lnTo>
                      <a:pt x="54" y="62"/>
                    </a:lnTo>
                    <a:lnTo>
                      <a:pt x="42" y="61"/>
                    </a:lnTo>
                    <a:lnTo>
                      <a:pt x="28" y="58"/>
                    </a:lnTo>
                    <a:lnTo>
                      <a:pt x="19" y="61"/>
                    </a:lnTo>
                    <a:lnTo>
                      <a:pt x="15" y="67"/>
                    </a:lnTo>
                    <a:lnTo>
                      <a:pt x="15" y="79"/>
                    </a:lnTo>
                    <a:lnTo>
                      <a:pt x="24" y="107"/>
                    </a:lnTo>
                    <a:lnTo>
                      <a:pt x="25" y="116"/>
                    </a:lnTo>
                    <a:lnTo>
                      <a:pt x="24" y="124"/>
                    </a:lnTo>
                    <a:lnTo>
                      <a:pt x="20" y="132"/>
                    </a:lnTo>
                    <a:lnTo>
                      <a:pt x="12" y="142"/>
                    </a:lnTo>
                    <a:lnTo>
                      <a:pt x="5" y="153"/>
                    </a:lnTo>
                    <a:lnTo>
                      <a:pt x="1" y="161"/>
                    </a:lnTo>
                    <a:lnTo>
                      <a:pt x="0" y="169"/>
                    </a:lnTo>
                    <a:lnTo>
                      <a:pt x="3" y="177"/>
                    </a:lnTo>
                    <a:lnTo>
                      <a:pt x="7" y="186"/>
                    </a:lnTo>
                    <a:lnTo>
                      <a:pt x="12" y="198"/>
                    </a:lnTo>
                    <a:lnTo>
                      <a:pt x="16" y="209"/>
                    </a:lnTo>
                    <a:lnTo>
                      <a:pt x="17" y="219"/>
                    </a:lnTo>
                    <a:lnTo>
                      <a:pt x="21" y="226"/>
                    </a:lnTo>
                    <a:lnTo>
                      <a:pt x="30" y="232"/>
                    </a:lnTo>
                    <a:lnTo>
                      <a:pt x="42" y="233"/>
                    </a:lnTo>
                    <a:lnTo>
                      <a:pt x="57" y="233"/>
                    </a:lnTo>
                    <a:lnTo>
                      <a:pt x="70" y="230"/>
                    </a:lnTo>
                    <a:lnTo>
                      <a:pt x="82" y="225"/>
                    </a:lnTo>
                    <a:lnTo>
                      <a:pt x="90" y="21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2" name="Freeform 18"/>
              <p:cNvSpPr>
                <a:spLocks/>
              </p:cNvSpPr>
              <p:nvPr/>
            </p:nvSpPr>
            <p:spPr bwMode="auto">
              <a:xfrm>
                <a:off x="3365500" y="4845050"/>
                <a:ext cx="201613" cy="77788"/>
              </a:xfrm>
              <a:custGeom>
                <a:avLst/>
                <a:gdLst/>
                <a:ahLst/>
                <a:cxnLst>
                  <a:cxn ang="0">
                    <a:pos x="109" y="38"/>
                  </a:cxn>
                  <a:cxn ang="0">
                    <a:pos x="118" y="30"/>
                  </a:cxn>
                  <a:cxn ang="0">
                    <a:pos x="125" y="21"/>
                  </a:cxn>
                  <a:cxn ang="0">
                    <a:pos x="127" y="13"/>
                  </a:cxn>
                  <a:cxn ang="0">
                    <a:pos x="126" y="8"/>
                  </a:cxn>
                  <a:cxn ang="0">
                    <a:pos x="123" y="5"/>
                  </a:cxn>
                  <a:cxn ang="0">
                    <a:pos x="117" y="4"/>
                  </a:cxn>
                  <a:cxn ang="0">
                    <a:pos x="108" y="4"/>
                  </a:cxn>
                  <a:cxn ang="0">
                    <a:pos x="92" y="6"/>
                  </a:cxn>
                  <a:cxn ang="0">
                    <a:pos x="76" y="8"/>
                  </a:cxn>
                  <a:cxn ang="0">
                    <a:pos x="62" y="8"/>
                  </a:cxn>
                  <a:cxn ang="0">
                    <a:pos x="50" y="5"/>
                  </a:cxn>
                  <a:cxn ang="0">
                    <a:pos x="31" y="0"/>
                  </a:cxn>
                  <a:cxn ang="0">
                    <a:pos x="25" y="0"/>
                  </a:cxn>
                  <a:cxn ang="0">
                    <a:pos x="18" y="6"/>
                  </a:cxn>
                  <a:cxn ang="0">
                    <a:pos x="12" y="18"/>
                  </a:cxn>
                  <a:cxn ang="0">
                    <a:pos x="7" y="28"/>
                  </a:cxn>
                  <a:cxn ang="0">
                    <a:pos x="4" y="35"/>
                  </a:cxn>
                  <a:cxn ang="0">
                    <a:pos x="1" y="42"/>
                  </a:cxn>
                  <a:cxn ang="0">
                    <a:pos x="0" y="45"/>
                  </a:cxn>
                  <a:cxn ang="0">
                    <a:pos x="4" y="46"/>
                  </a:cxn>
                  <a:cxn ang="0">
                    <a:pos x="13" y="47"/>
                  </a:cxn>
                  <a:cxn ang="0">
                    <a:pos x="29" y="47"/>
                  </a:cxn>
                  <a:cxn ang="0">
                    <a:pos x="46" y="49"/>
                  </a:cxn>
                  <a:cxn ang="0">
                    <a:pos x="74" y="49"/>
                  </a:cxn>
                  <a:cxn ang="0">
                    <a:pos x="95" y="45"/>
                  </a:cxn>
                  <a:cxn ang="0">
                    <a:pos x="109" y="38"/>
                  </a:cxn>
                </a:cxnLst>
                <a:rect l="0" t="0" r="r" b="b"/>
                <a:pathLst>
                  <a:path w="127" h="49">
                    <a:moveTo>
                      <a:pt x="109" y="38"/>
                    </a:moveTo>
                    <a:lnTo>
                      <a:pt x="118" y="30"/>
                    </a:lnTo>
                    <a:lnTo>
                      <a:pt x="125" y="21"/>
                    </a:lnTo>
                    <a:lnTo>
                      <a:pt x="127" y="13"/>
                    </a:lnTo>
                    <a:lnTo>
                      <a:pt x="126" y="8"/>
                    </a:lnTo>
                    <a:lnTo>
                      <a:pt x="123" y="5"/>
                    </a:lnTo>
                    <a:lnTo>
                      <a:pt x="117" y="4"/>
                    </a:lnTo>
                    <a:lnTo>
                      <a:pt x="108" y="4"/>
                    </a:lnTo>
                    <a:lnTo>
                      <a:pt x="92" y="6"/>
                    </a:lnTo>
                    <a:lnTo>
                      <a:pt x="76" y="8"/>
                    </a:lnTo>
                    <a:lnTo>
                      <a:pt x="62" y="8"/>
                    </a:lnTo>
                    <a:lnTo>
                      <a:pt x="50" y="5"/>
                    </a:lnTo>
                    <a:lnTo>
                      <a:pt x="31" y="0"/>
                    </a:lnTo>
                    <a:lnTo>
                      <a:pt x="25" y="0"/>
                    </a:lnTo>
                    <a:lnTo>
                      <a:pt x="18" y="6"/>
                    </a:lnTo>
                    <a:lnTo>
                      <a:pt x="12" y="18"/>
                    </a:lnTo>
                    <a:lnTo>
                      <a:pt x="7" y="28"/>
                    </a:lnTo>
                    <a:lnTo>
                      <a:pt x="4" y="35"/>
                    </a:lnTo>
                    <a:lnTo>
                      <a:pt x="1" y="42"/>
                    </a:lnTo>
                    <a:lnTo>
                      <a:pt x="0" y="45"/>
                    </a:lnTo>
                    <a:lnTo>
                      <a:pt x="4" y="46"/>
                    </a:lnTo>
                    <a:lnTo>
                      <a:pt x="13" y="47"/>
                    </a:lnTo>
                    <a:lnTo>
                      <a:pt x="29" y="47"/>
                    </a:lnTo>
                    <a:lnTo>
                      <a:pt x="46" y="49"/>
                    </a:lnTo>
                    <a:lnTo>
                      <a:pt x="74" y="49"/>
                    </a:lnTo>
                    <a:lnTo>
                      <a:pt x="95" y="45"/>
                    </a:lnTo>
                    <a:lnTo>
                      <a:pt x="109" y="3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3" name="Freeform 19"/>
              <p:cNvSpPr>
                <a:spLocks/>
              </p:cNvSpPr>
              <p:nvPr/>
            </p:nvSpPr>
            <p:spPr bwMode="auto">
              <a:xfrm>
                <a:off x="5449888" y="4845050"/>
                <a:ext cx="201613" cy="77788"/>
              </a:xfrm>
              <a:custGeom>
                <a:avLst/>
                <a:gdLst/>
                <a:ahLst/>
                <a:cxnLst>
                  <a:cxn ang="0">
                    <a:pos x="127" y="45"/>
                  </a:cxn>
                  <a:cxn ang="0">
                    <a:pos x="126" y="42"/>
                  </a:cxn>
                  <a:cxn ang="0">
                    <a:pos x="123" y="35"/>
                  </a:cxn>
                  <a:cxn ang="0">
                    <a:pos x="120" y="28"/>
                  </a:cxn>
                  <a:cxn ang="0">
                    <a:pos x="115" y="18"/>
                  </a:cxn>
                  <a:cxn ang="0">
                    <a:pos x="109" y="6"/>
                  </a:cxn>
                  <a:cxn ang="0">
                    <a:pos x="102" y="0"/>
                  </a:cxn>
                  <a:cxn ang="0">
                    <a:pos x="96" y="0"/>
                  </a:cxn>
                  <a:cxn ang="0">
                    <a:pos x="77" y="5"/>
                  </a:cxn>
                  <a:cxn ang="0">
                    <a:pos x="65" y="8"/>
                  </a:cxn>
                  <a:cxn ang="0">
                    <a:pos x="51" y="8"/>
                  </a:cxn>
                  <a:cxn ang="0">
                    <a:pos x="35" y="6"/>
                  </a:cxn>
                  <a:cxn ang="0">
                    <a:pos x="19" y="4"/>
                  </a:cxn>
                  <a:cxn ang="0">
                    <a:pos x="10" y="4"/>
                  </a:cxn>
                  <a:cxn ang="0">
                    <a:pos x="4" y="5"/>
                  </a:cxn>
                  <a:cxn ang="0">
                    <a:pos x="1" y="8"/>
                  </a:cxn>
                  <a:cxn ang="0">
                    <a:pos x="0" y="13"/>
                  </a:cxn>
                  <a:cxn ang="0">
                    <a:pos x="4" y="26"/>
                  </a:cxn>
                  <a:cxn ang="0">
                    <a:pos x="14" y="37"/>
                  </a:cxn>
                  <a:cxn ang="0">
                    <a:pos x="31" y="45"/>
                  </a:cxn>
                  <a:cxn ang="0">
                    <a:pos x="53" y="49"/>
                  </a:cxn>
                  <a:cxn ang="0">
                    <a:pos x="81" y="49"/>
                  </a:cxn>
                  <a:cxn ang="0">
                    <a:pos x="98" y="47"/>
                  </a:cxn>
                  <a:cxn ang="0">
                    <a:pos x="114" y="47"/>
                  </a:cxn>
                  <a:cxn ang="0">
                    <a:pos x="123" y="46"/>
                  </a:cxn>
                  <a:cxn ang="0">
                    <a:pos x="127" y="45"/>
                  </a:cxn>
                </a:cxnLst>
                <a:rect l="0" t="0" r="r" b="b"/>
                <a:pathLst>
                  <a:path w="127" h="49">
                    <a:moveTo>
                      <a:pt x="127" y="45"/>
                    </a:moveTo>
                    <a:lnTo>
                      <a:pt x="126" y="42"/>
                    </a:lnTo>
                    <a:lnTo>
                      <a:pt x="123" y="35"/>
                    </a:lnTo>
                    <a:lnTo>
                      <a:pt x="120" y="28"/>
                    </a:lnTo>
                    <a:lnTo>
                      <a:pt x="115" y="18"/>
                    </a:lnTo>
                    <a:lnTo>
                      <a:pt x="109" y="6"/>
                    </a:lnTo>
                    <a:lnTo>
                      <a:pt x="102" y="0"/>
                    </a:lnTo>
                    <a:lnTo>
                      <a:pt x="96" y="0"/>
                    </a:lnTo>
                    <a:lnTo>
                      <a:pt x="77" y="5"/>
                    </a:lnTo>
                    <a:lnTo>
                      <a:pt x="65" y="8"/>
                    </a:lnTo>
                    <a:lnTo>
                      <a:pt x="51" y="8"/>
                    </a:lnTo>
                    <a:lnTo>
                      <a:pt x="35" y="6"/>
                    </a:lnTo>
                    <a:lnTo>
                      <a:pt x="19" y="4"/>
                    </a:lnTo>
                    <a:lnTo>
                      <a:pt x="10" y="4"/>
                    </a:lnTo>
                    <a:lnTo>
                      <a:pt x="4" y="5"/>
                    </a:lnTo>
                    <a:lnTo>
                      <a:pt x="1" y="8"/>
                    </a:lnTo>
                    <a:lnTo>
                      <a:pt x="0" y="13"/>
                    </a:lnTo>
                    <a:lnTo>
                      <a:pt x="4" y="26"/>
                    </a:lnTo>
                    <a:lnTo>
                      <a:pt x="14" y="37"/>
                    </a:lnTo>
                    <a:lnTo>
                      <a:pt x="31" y="45"/>
                    </a:lnTo>
                    <a:lnTo>
                      <a:pt x="53" y="49"/>
                    </a:lnTo>
                    <a:lnTo>
                      <a:pt x="81" y="49"/>
                    </a:lnTo>
                    <a:lnTo>
                      <a:pt x="98" y="47"/>
                    </a:lnTo>
                    <a:lnTo>
                      <a:pt x="114" y="47"/>
                    </a:lnTo>
                    <a:lnTo>
                      <a:pt x="123" y="46"/>
                    </a:lnTo>
                    <a:lnTo>
                      <a:pt x="127" y="4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4" name="Freeform 24"/>
              <p:cNvSpPr>
                <a:spLocks/>
              </p:cNvSpPr>
              <p:nvPr/>
            </p:nvSpPr>
            <p:spPr bwMode="auto">
              <a:xfrm>
                <a:off x="2749550" y="4202113"/>
                <a:ext cx="336550" cy="415925"/>
              </a:xfrm>
              <a:custGeom>
                <a:avLst/>
                <a:gdLst/>
                <a:ahLst/>
                <a:cxnLst>
                  <a:cxn ang="0">
                    <a:pos x="150" y="238"/>
                  </a:cxn>
                  <a:cxn ang="0">
                    <a:pos x="170" y="224"/>
                  </a:cxn>
                  <a:cxn ang="0">
                    <a:pos x="187" y="207"/>
                  </a:cxn>
                  <a:cxn ang="0">
                    <a:pos x="200" y="191"/>
                  </a:cxn>
                  <a:cxn ang="0">
                    <a:pos x="209" y="174"/>
                  </a:cxn>
                  <a:cxn ang="0">
                    <a:pos x="212" y="159"/>
                  </a:cxn>
                  <a:cxn ang="0">
                    <a:pos x="209" y="153"/>
                  </a:cxn>
                  <a:cxn ang="0">
                    <a:pos x="203" y="143"/>
                  </a:cxn>
                  <a:cxn ang="0">
                    <a:pos x="193" y="133"/>
                  </a:cxn>
                  <a:cxn ang="0">
                    <a:pos x="163" y="103"/>
                  </a:cxn>
                  <a:cxn ang="0">
                    <a:pos x="158" y="94"/>
                  </a:cxn>
                  <a:cxn ang="0">
                    <a:pos x="157" y="83"/>
                  </a:cxn>
                  <a:cxn ang="0">
                    <a:pos x="157" y="69"/>
                  </a:cxn>
                  <a:cxn ang="0">
                    <a:pos x="162" y="26"/>
                  </a:cxn>
                  <a:cxn ang="0">
                    <a:pos x="162" y="12"/>
                  </a:cxn>
                  <a:cxn ang="0">
                    <a:pos x="161" y="3"/>
                  </a:cxn>
                  <a:cxn ang="0">
                    <a:pos x="157" y="0"/>
                  </a:cxn>
                  <a:cxn ang="0">
                    <a:pos x="153" y="2"/>
                  </a:cxn>
                  <a:cxn ang="0">
                    <a:pos x="150" y="3"/>
                  </a:cxn>
                  <a:cxn ang="0">
                    <a:pos x="146" y="5"/>
                  </a:cxn>
                  <a:cxn ang="0">
                    <a:pos x="144" y="8"/>
                  </a:cxn>
                  <a:cxn ang="0">
                    <a:pos x="138" y="12"/>
                  </a:cxn>
                  <a:cxn ang="0">
                    <a:pos x="129" y="13"/>
                  </a:cxn>
                  <a:cxn ang="0">
                    <a:pos x="117" y="13"/>
                  </a:cxn>
                  <a:cxn ang="0">
                    <a:pos x="103" y="12"/>
                  </a:cxn>
                  <a:cxn ang="0">
                    <a:pos x="86" y="13"/>
                  </a:cxn>
                  <a:cxn ang="0">
                    <a:pos x="70" y="16"/>
                  </a:cxn>
                  <a:cxn ang="0">
                    <a:pos x="54" y="20"/>
                  </a:cxn>
                  <a:cxn ang="0">
                    <a:pos x="41" y="25"/>
                  </a:cxn>
                  <a:cxn ang="0">
                    <a:pos x="33" y="32"/>
                  </a:cxn>
                  <a:cxn ang="0">
                    <a:pos x="32" y="37"/>
                  </a:cxn>
                  <a:cxn ang="0">
                    <a:pos x="31" y="45"/>
                  </a:cxn>
                  <a:cxn ang="0">
                    <a:pos x="25" y="57"/>
                  </a:cxn>
                  <a:cxn ang="0">
                    <a:pos x="7" y="75"/>
                  </a:cxn>
                  <a:cxn ang="0">
                    <a:pos x="2" y="83"/>
                  </a:cxn>
                  <a:cxn ang="0">
                    <a:pos x="0" y="88"/>
                  </a:cxn>
                  <a:cxn ang="0">
                    <a:pos x="3" y="91"/>
                  </a:cxn>
                  <a:cxn ang="0">
                    <a:pos x="8" y="97"/>
                  </a:cxn>
                  <a:cxn ang="0">
                    <a:pos x="11" y="109"/>
                  </a:cxn>
                  <a:cxn ang="0">
                    <a:pos x="12" y="124"/>
                  </a:cxn>
                  <a:cxn ang="0">
                    <a:pos x="12" y="138"/>
                  </a:cxn>
                  <a:cxn ang="0">
                    <a:pos x="15" y="146"/>
                  </a:cxn>
                  <a:cxn ang="0">
                    <a:pos x="20" y="150"/>
                  </a:cxn>
                  <a:cxn ang="0">
                    <a:pos x="29" y="151"/>
                  </a:cxn>
                  <a:cxn ang="0">
                    <a:pos x="44" y="154"/>
                  </a:cxn>
                  <a:cxn ang="0">
                    <a:pos x="59" y="162"/>
                  </a:cxn>
                  <a:cxn ang="0">
                    <a:pos x="74" y="174"/>
                  </a:cxn>
                  <a:cxn ang="0">
                    <a:pos x="86" y="188"/>
                  </a:cxn>
                  <a:cxn ang="0">
                    <a:pos x="96" y="204"/>
                  </a:cxn>
                  <a:cxn ang="0">
                    <a:pos x="103" y="220"/>
                  </a:cxn>
                  <a:cxn ang="0">
                    <a:pos x="105" y="235"/>
                  </a:cxn>
                  <a:cxn ang="0">
                    <a:pos x="103" y="250"/>
                  </a:cxn>
                  <a:cxn ang="0">
                    <a:pos x="102" y="258"/>
                  </a:cxn>
                  <a:cxn ang="0">
                    <a:pos x="103" y="262"/>
                  </a:cxn>
                  <a:cxn ang="0">
                    <a:pos x="107" y="262"/>
                  </a:cxn>
                  <a:cxn ang="0">
                    <a:pos x="116" y="258"/>
                  </a:cxn>
                  <a:cxn ang="0">
                    <a:pos x="130" y="250"/>
                  </a:cxn>
                  <a:cxn ang="0">
                    <a:pos x="150" y="238"/>
                  </a:cxn>
                </a:cxnLst>
                <a:rect l="0" t="0" r="r" b="b"/>
                <a:pathLst>
                  <a:path w="212" h="262">
                    <a:moveTo>
                      <a:pt x="150" y="238"/>
                    </a:moveTo>
                    <a:lnTo>
                      <a:pt x="170" y="224"/>
                    </a:lnTo>
                    <a:lnTo>
                      <a:pt x="187" y="207"/>
                    </a:lnTo>
                    <a:lnTo>
                      <a:pt x="200" y="191"/>
                    </a:lnTo>
                    <a:lnTo>
                      <a:pt x="209" y="174"/>
                    </a:lnTo>
                    <a:lnTo>
                      <a:pt x="212" y="159"/>
                    </a:lnTo>
                    <a:lnTo>
                      <a:pt x="209" y="153"/>
                    </a:lnTo>
                    <a:lnTo>
                      <a:pt x="203" y="143"/>
                    </a:lnTo>
                    <a:lnTo>
                      <a:pt x="193" y="133"/>
                    </a:lnTo>
                    <a:lnTo>
                      <a:pt x="163" y="103"/>
                    </a:lnTo>
                    <a:lnTo>
                      <a:pt x="158" y="94"/>
                    </a:lnTo>
                    <a:lnTo>
                      <a:pt x="157" y="83"/>
                    </a:lnTo>
                    <a:lnTo>
                      <a:pt x="157" y="69"/>
                    </a:lnTo>
                    <a:lnTo>
                      <a:pt x="162" y="26"/>
                    </a:lnTo>
                    <a:lnTo>
                      <a:pt x="162" y="12"/>
                    </a:lnTo>
                    <a:lnTo>
                      <a:pt x="161" y="3"/>
                    </a:lnTo>
                    <a:lnTo>
                      <a:pt x="157" y="0"/>
                    </a:lnTo>
                    <a:lnTo>
                      <a:pt x="153" y="2"/>
                    </a:lnTo>
                    <a:lnTo>
                      <a:pt x="150" y="3"/>
                    </a:lnTo>
                    <a:lnTo>
                      <a:pt x="146" y="5"/>
                    </a:lnTo>
                    <a:lnTo>
                      <a:pt x="144" y="8"/>
                    </a:lnTo>
                    <a:lnTo>
                      <a:pt x="138" y="12"/>
                    </a:lnTo>
                    <a:lnTo>
                      <a:pt x="129" y="13"/>
                    </a:lnTo>
                    <a:lnTo>
                      <a:pt x="117" y="13"/>
                    </a:lnTo>
                    <a:lnTo>
                      <a:pt x="103" y="12"/>
                    </a:lnTo>
                    <a:lnTo>
                      <a:pt x="86" y="13"/>
                    </a:lnTo>
                    <a:lnTo>
                      <a:pt x="70" y="16"/>
                    </a:lnTo>
                    <a:lnTo>
                      <a:pt x="54" y="20"/>
                    </a:lnTo>
                    <a:lnTo>
                      <a:pt x="41" y="25"/>
                    </a:lnTo>
                    <a:lnTo>
                      <a:pt x="33" y="32"/>
                    </a:lnTo>
                    <a:lnTo>
                      <a:pt x="32" y="37"/>
                    </a:lnTo>
                    <a:lnTo>
                      <a:pt x="31" y="45"/>
                    </a:lnTo>
                    <a:lnTo>
                      <a:pt x="25" y="57"/>
                    </a:lnTo>
                    <a:lnTo>
                      <a:pt x="7" y="75"/>
                    </a:lnTo>
                    <a:lnTo>
                      <a:pt x="2" y="83"/>
                    </a:lnTo>
                    <a:lnTo>
                      <a:pt x="0" y="88"/>
                    </a:lnTo>
                    <a:lnTo>
                      <a:pt x="3" y="91"/>
                    </a:lnTo>
                    <a:lnTo>
                      <a:pt x="8" y="97"/>
                    </a:lnTo>
                    <a:lnTo>
                      <a:pt x="11" y="109"/>
                    </a:lnTo>
                    <a:lnTo>
                      <a:pt x="12" y="124"/>
                    </a:lnTo>
                    <a:lnTo>
                      <a:pt x="12" y="138"/>
                    </a:lnTo>
                    <a:lnTo>
                      <a:pt x="15" y="146"/>
                    </a:lnTo>
                    <a:lnTo>
                      <a:pt x="20" y="150"/>
                    </a:lnTo>
                    <a:lnTo>
                      <a:pt x="29" y="151"/>
                    </a:lnTo>
                    <a:lnTo>
                      <a:pt x="44" y="154"/>
                    </a:lnTo>
                    <a:lnTo>
                      <a:pt x="59" y="162"/>
                    </a:lnTo>
                    <a:lnTo>
                      <a:pt x="74" y="174"/>
                    </a:lnTo>
                    <a:lnTo>
                      <a:pt x="86" y="188"/>
                    </a:lnTo>
                    <a:lnTo>
                      <a:pt x="96" y="204"/>
                    </a:lnTo>
                    <a:lnTo>
                      <a:pt x="103" y="220"/>
                    </a:lnTo>
                    <a:lnTo>
                      <a:pt x="105" y="235"/>
                    </a:lnTo>
                    <a:lnTo>
                      <a:pt x="103" y="250"/>
                    </a:lnTo>
                    <a:lnTo>
                      <a:pt x="102" y="258"/>
                    </a:lnTo>
                    <a:lnTo>
                      <a:pt x="103" y="262"/>
                    </a:lnTo>
                    <a:lnTo>
                      <a:pt x="107" y="262"/>
                    </a:lnTo>
                    <a:lnTo>
                      <a:pt x="116" y="258"/>
                    </a:lnTo>
                    <a:lnTo>
                      <a:pt x="130" y="250"/>
                    </a:lnTo>
                    <a:lnTo>
                      <a:pt x="150" y="23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5" name="Freeform 25"/>
              <p:cNvSpPr>
                <a:spLocks/>
              </p:cNvSpPr>
              <p:nvPr/>
            </p:nvSpPr>
            <p:spPr bwMode="auto">
              <a:xfrm>
                <a:off x="5930900" y="4202113"/>
                <a:ext cx="336550" cy="415925"/>
              </a:xfrm>
              <a:custGeom>
                <a:avLst/>
                <a:gdLst/>
                <a:ahLst/>
                <a:cxnLst>
                  <a:cxn ang="0">
                    <a:pos x="109" y="250"/>
                  </a:cxn>
                  <a:cxn ang="0">
                    <a:pos x="107" y="235"/>
                  </a:cxn>
                  <a:cxn ang="0">
                    <a:pos x="109" y="220"/>
                  </a:cxn>
                  <a:cxn ang="0">
                    <a:pos x="116" y="204"/>
                  </a:cxn>
                  <a:cxn ang="0">
                    <a:pos x="126" y="188"/>
                  </a:cxn>
                  <a:cxn ang="0">
                    <a:pos x="138" y="174"/>
                  </a:cxn>
                  <a:cxn ang="0">
                    <a:pos x="153" y="162"/>
                  </a:cxn>
                  <a:cxn ang="0">
                    <a:pos x="168" y="154"/>
                  </a:cxn>
                  <a:cxn ang="0">
                    <a:pos x="183" y="151"/>
                  </a:cxn>
                  <a:cxn ang="0">
                    <a:pos x="192" y="150"/>
                  </a:cxn>
                  <a:cxn ang="0">
                    <a:pos x="197" y="146"/>
                  </a:cxn>
                  <a:cxn ang="0">
                    <a:pos x="200" y="138"/>
                  </a:cxn>
                  <a:cxn ang="0">
                    <a:pos x="200" y="124"/>
                  </a:cxn>
                  <a:cxn ang="0">
                    <a:pos x="201" y="109"/>
                  </a:cxn>
                  <a:cxn ang="0">
                    <a:pos x="204" y="97"/>
                  </a:cxn>
                  <a:cxn ang="0">
                    <a:pos x="209" y="91"/>
                  </a:cxn>
                  <a:cxn ang="0">
                    <a:pos x="212" y="88"/>
                  </a:cxn>
                  <a:cxn ang="0">
                    <a:pos x="210" y="83"/>
                  </a:cxn>
                  <a:cxn ang="0">
                    <a:pos x="205" y="75"/>
                  </a:cxn>
                  <a:cxn ang="0">
                    <a:pos x="187" y="57"/>
                  </a:cxn>
                  <a:cxn ang="0">
                    <a:pos x="181" y="45"/>
                  </a:cxn>
                  <a:cxn ang="0">
                    <a:pos x="180" y="37"/>
                  </a:cxn>
                  <a:cxn ang="0">
                    <a:pos x="179" y="32"/>
                  </a:cxn>
                  <a:cxn ang="0">
                    <a:pos x="171" y="25"/>
                  </a:cxn>
                  <a:cxn ang="0">
                    <a:pos x="158" y="20"/>
                  </a:cxn>
                  <a:cxn ang="0">
                    <a:pos x="142" y="16"/>
                  </a:cxn>
                  <a:cxn ang="0">
                    <a:pos x="126" y="13"/>
                  </a:cxn>
                  <a:cxn ang="0">
                    <a:pos x="109" y="12"/>
                  </a:cxn>
                  <a:cxn ang="0">
                    <a:pos x="95" y="13"/>
                  </a:cxn>
                  <a:cxn ang="0">
                    <a:pos x="83" y="13"/>
                  </a:cxn>
                  <a:cxn ang="0">
                    <a:pos x="74" y="12"/>
                  </a:cxn>
                  <a:cxn ang="0">
                    <a:pos x="68" y="8"/>
                  </a:cxn>
                  <a:cxn ang="0">
                    <a:pos x="66" y="5"/>
                  </a:cxn>
                  <a:cxn ang="0">
                    <a:pos x="62" y="3"/>
                  </a:cxn>
                  <a:cxn ang="0">
                    <a:pos x="59" y="2"/>
                  </a:cxn>
                  <a:cxn ang="0">
                    <a:pos x="55" y="0"/>
                  </a:cxn>
                  <a:cxn ang="0">
                    <a:pos x="51" y="3"/>
                  </a:cxn>
                  <a:cxn ang="0">
                    <a:pos x="50" y="12"/>
                  </a:cxn>
                  <a:cxn ang="0">
                    <a:pos x="50" y="26"/>
                  </a:cxn>
                  <a:cxn ang="0">
                    <a:pos x="55" y="69"/>
                  </a:cxn>
                  <a:cxn ang="0">
                    <a:pos x="55" y="83"/>
                  </a:cxn>
                  <a:cxn ang="0">
                    <a:pos x="54" y="94"/>
                  </a:cxn>
                  <a:cxn ang="0">
                    <a:pos x="49" y="103"/>
                  </a:cxn>
                  <a:cxn ang="0">
                    <a:pos x="19" y="133"/>
                  </a:cxn>
                  <a:cxn ang="0">
                    <a:pos x="9" y="143"/>
                  </a:cxn>
                  <a:cxn ang="0">
                    <a:pos x="3" y="153"/>
                  </a:cxn>
                  <a:cxn ang="0">
                    <a:pos x="0" y="158"/>
                  </a:cxn>
                  <a:cxn ang="0">
                    <a:pos x="3" y="172"/>
                  </a:cxn>
                  <a:cxn ang="0">
                    <a:pos x="11" y="188"/>
                  </a:cxn>
                  <a:cxn ang="0">
                    <a:pos x="22" y="205"/>
                  </a:cxn>
                  <a:cxn ang="0">
                    <a:pos x="40" y="221"/>
                  </a:cxn>
                  <a:cxn ang="0">
                    <a:pos x="59" y="237"/>
                  </a:cxn>
                  <a:cxn ang="0">
                    <a:pos x="79" y="250"/>
                  </a:cxn>
                  <a:cxn ang="0">
                    <a:pos x="93" y="258"/>
                  </a:cxn>
                  <a:cxn ang="0">
                    <a:pos x="104" y="262"/>
                  </a:cxn>
                  <a:cxn ang="0">
                    <a:pos x="109" y="262"/>
                  </a:cxn>
                  <a:cxn ang="0">
                    <a:pos x="110" y="258"/>
                  </a:cxn>
                  <a:cxn ang="0">
                    <a:pos x="109" y="250"/>
                  </a:cxn>
                </a:cxnLst>
                <a:rect l="0" t="0" r="r" b="b"/>
                <a:pathLst>
                  <a:path w="212" h="262">
                    <a:moveTo>
                      <a:pt x="109" y="250"/>
                    </a:moveTo>
                    <a:lnTo>
                      <a:pt x="107" y="235"/>
                    </a:lnTo>
                    <a:lnTo>
                      <a:pt x="109" y="220"/>
                    </a:lnTo>
                    <a:lnTo>
                      <a:pt x="116" y="204"/>
                    </a:lnTo>
                    <a:lnTo>
                      <a:pt x="126" y="188"/>
                    </a:lnTo>
                    <a:lnTo>
                      <a:pt x="138" y="174"/>
                    </a:lnTo>
                    <a:lnTo>
                      <a:pt x="153" y="162"/>
                    </a:lnTo>
                    <a:lnTo>
                      <a:pt x="168" y="154"/>
                    </a:lnTo>
                    <a:lnTo>
                      <a:pt x="183" y="151"/>
                    </a:lnTo>
                    <a:lnTo>
                      <a:pt x="192" y="150"/>
                    </a:lnTo>
                    <a:lnTo>
                      <a:pt x="197" y="146"/>
                    </a:lnTo>
                    <a:lnTo>
                      <a:pt x="200" y="138"/>
                    </a:lnTo>
                    <a:lnTo>
                      <a:pt x="200" y="124"/>
                    </a:lnTo>
                    <a:lnTo>
                      <a:pt x="201" y="109"/>
                    </a:lnTo>
                    <a:lnTo>
                      <a:pt x="204" y="97"/>
                    </a:lnTo>
                    <a:lnTo>
                      <a:pt x="209" y="91"/>
                    </a:lnTo>
                    <a:lnTo>
                      <a:pt x="212" y="88"/>
                    </a:lnTo>
                    <a:lnTo>
                      <a:pt x="210" y="83"/>
                    </a:lnTo>
                    <a:lnTo>
                      <a:pt x="205" y="75"/>
                    </a:lnTo>
                    <a:lnTo>
                      <a:pt x="187" y="57"/>
                    </a:lnTo>
                    <a:lnTo>
                      <a:pt x="181" y="45"/>
                    </a:lnTo>
                    <a:lnTo>
                      <a:pt x="180" y="37"/>
                    </a:lnTo>
                    <a:lnTo>
                      <a:pt x="179" y="32"/>
                    </a:lnTo>
                    <a:lnTo>
                      <a:pt x="171" y="25"/>
                    </a:lnTo>
                    <a:lnTo>
                      <a:pt x="158" y="20"/>
                    </a:lnTo>
                    <a:lnTo>
                      <a:pt x="142" y="16"/>
                    </a:lnTo>
                    <a:lnTo>
                      <a:pt x="126" y="13"/>
                    </a:lnTo>
                    <a:lnTo>
                      <a:pt x="109" y="12"/>
                    </a:lnTo>
                    <a:lnTo>
                      <a:pt x="95" y="13"/>
                    </a:lnTo>
                    <a:lnTo>
                      <a:pt x="83" y="13"/>
                    </a:lnTo>
                    <a:lnTo>
                      <a:pt x="74" y="12"/>
                    </a:lnTo>
                    <a:lnTo>
                      <a:pt x="68" y="8"/>
                    </a:lnTo>
                    <a:lnTo>
                      <a:pt x="66" y="5"/>
                    </a:lnTo>
                    <a:lnTo>
                      <a:pt x="62" y="3"/>
                    </a:lnTo>
                    <a:lnTo>
                      <a:pt x="59" y="2"/>
                    </a:lnTo>
                    <a:lnTo>
                      <a:pt x="55" y="0"/>
                    </a:lnTo>
                    <a:lnTo>
                      <a:pt x="51" y="3"/>
                    </a:lnTo>
                    <a:lnTo>
                      <a:pt x="50" y="12"/>
                    </a:lnTo>
                    <a:lnTo>
                      <a:pt x="50" y="26"/>
                    </a:lnTo>
                    <a:lnTo>
                      <a:pt x="55" y="69"/>
                    </a:lnTo>
                    <a:lnTo>
                      <a:pt x="55" y="83"/>
                    </a:lnTo>
                    <a:lnTo>
                      <a:pt x="54" y="94"/>
                    </a:lnTo>
                    <a:lnTo>
                      <a:pt x="49" y="103"/>
                    </a:lnTo>
                    <a:lnTo>
                      <a:pt x="19" y="133"/>
                    </a:lnTo>
                    <a:lnTo>
                      <a:pt x="9" y="143"/>
                    </a:lnTo>
                    <a:lnTo>
                      <a:pt x="3" y="153"/>
                    </a:lnTo>
                    <a:lnTo>
                      <a:pt x="0" y="158"/>
                    </a:lnTo>
                    <a:lnTo>
                      <a:pt x="3" y="172"/>
                    </a:lnTo>
                    <a:lnTo>
                      <a:pt x="11" y="188"/>
                    </a:lnTo>
                    <a:lnTo>
                      <a:pt x="22" y="205"/>
                    </a:lnTo>
                    <a:lnTo>
                      <a:pt x="40" y="221"/>
                    </a:lnTo>
                    <a:lnTo>
                      <a:pt x="59" y="237"/>
                    </a:lnTo>
                    <a:lnTo>
                      <a:pt x="79" y="250"/>
                    </a:lnTo>
                    <a:lnTo>
                      <a:pt x="93" y="258"/>
                    </a:lnTo>
                    <a:lnTo>
                      <a:pt x="104" y="262"/>
                    </a:lnTo>
                    <a:lnTo>
                      <a:pt x="109" y="262"/>
                    </a:lnTo>
                    <a:lnTo>
                      <a:pt x="110" y="258"/>
                    </a:lnTo>
                    <a:lnTo>
                      <a:pt x="109" y="25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6" name="Freeform 34"/>
              <p:cNvSpPr>
                <a:spLocks/>
              </p:cNvSpPr>
              <p:nvPr/>
            </p:nvSpPr>
            <p:spPr bwMode="auto">
              <a:xfrm>
                <a:off x="2520950" y="3821113"/>
                <a:ext cx="368300" cy="404813"/>
              </a:xfrm>
              <a:custGeom>
                <a:avLst/>
                <a:gdLst/>
                <a:ahLst/>
                <a:cxnLst>
                  <a:cxn ang="0">
                    <a:pos x="205" y="248"/>
                  </a:cxn>
                  <a:cxn ang="0">
                    <a:pos x="232" y="240"/>
                  </a:cxn>
                  <a:cxn ang="0">
                    <a:pos x="232" y="167"/>
                  </a:cxn>
                  <a:cxn ang="0">
                    <a:pos x="231" y="152"/>
                  </a:cxn>
                  <a:cxn ang="0">
                    <a:pos x="228" y="143"/>
                  </a:cxn>
                  <a:cxn ang="0">
                    <a:pos x="222" y="139"/>
                  </a:cxn>
                  <a:cxn ang="0">
                    <a:pos x="202" y="132"/>
                  </a:cxn>
                  <a:cxn ang="0">
                    <a:pos x="193" y="126"/>
                  </a:cxn>
                  <a:cxn ang="0">
                    <a:pos x="189" y="117"/>
                  </a:cxn>
                  <a:cxn ang="0">
                    <a:pos x="190" y="106"/>
                  </a:cxn>
                  <a:cxn ang="0">
                    <a:pos x="196" y="94"/>
                  </a:cxn>
                  <a:cxn ang="0">
                    <a:pos x="200" y="84"/>
                  </a:cxn>
                  <a:cxn ang="0">
                    <a:pos x="198" y="73"/>
                  </a:cxn>
                  <a:cxn ang="0">
                    <a:pos x="194" y="64"/>
                  </a:cxn>
                  <a:cxn ang="0">
                    <a:pos x="186" y="59"/>
                  </a:cxn>
                  <a:cxn ang="0">
                    <a:pos x="176" y="56"/>
                  </a:cxn>
                  <a:cxn ang="0">
                    <a:pos x="167" y="54"/>
                  </a:cxn>
                  <a:cxn ang="0">
                    <a:pos x="159" y="44"/>
                  </a:cxn>
                  <a:cxn ang="0">
                    <a:pos x="154" y="34"/>
                  </a:cxn>
                  <a:cxn ang="0">
                    <a:pos x="152" y="22"/>
                  </a:cxn>
                  <a:cxn ang="0">
                    <a:pos x="154" y="12"/>
                  </a:cxn>
                  <a:cxn ang="0">
                    <a:pos x="155" y="4"/>
                  </a:cxn>
                  <a:cxn ang="0">
                    <a:pos x="152" y="1"/>
                  </a:cxn>
                  <a:cxn ang="0">
                    <a:pos x="144" y="0"/>
                  </a:cxn>
                  <a:cxn ang="0">
                    <a:pos x="129" y="2"/>
                  </a:cxn>
                  <a:cxn ang="0">
                    <a:pos x="92" y="12"/>
                  </a:cxn>
                  <a:cxn ang="0">
                    <a:pos x="68" y="18"/>
                  </a:cxn>
                  <a:cxn ang="0">
                    <a:pos x="46" y="25"/>
                  </a:cxn>
                  <a:cxn ang="0">
                    <a:pos x="25" y="31"/>
                  </a:cxn>
                  <a:cxn ang="0">
                    <a:pos x="10" y="37"/>
                  </a:cxn>
                  <a:cxn ang="0">
                    <a:pos x="2" y="40"/>
                  </a:cxn>
                  <a:cxn ang="0">
                    <a:pos x="0" y="44"/>
                  </a:cxn>
                  <a:cxn ang="0">
                    <a:pos x="2" y="48"/>
                  </a:cxn>
                  <a:cxn ang="0">
                    <a:pos x="8" y="52"/>
                  </a:cxn>
                  <a:cxn ang="0">
                    <a:pos x="16" y="58"/>
                  </a:cxn>
                  <a:cxn ang="0">
                    <a:pos x="26" y="65"/>
                  </a:cxn>
                  <a:cxn ang="0">
                    <a:pos x="38" y="75"/>
                  </a:cxn>
                  <a:cxn ang="0">
                    <a:pos x="52" y="86"/>
                  </a:cxn>
                  <a:cxn ang="0">
                    <a:pos x="67" y="97"/>
                  </a:cxn>
                  <a:cxn ang="0">
                    <a:pos x="109" y="131"/>
                  </a:cxn>
                  <a:cxn ang="0">
                    <a:pos x="106" y="177"/>
                  </a:cxn>
                  <a:cxn ang="0">
                    <a:pos x="105" y="198"/>
                  </a:cxn>
                  <a:cxn ang="0">
                    <a:pos x="105" y="213"/>
                  </a:cxn>
                  <a:cxn ang="0">
                    <a:pos x="108" y="222"/>
                  </a:cxn>
                  <a:cxn ang="0">
                    <a:pos x="113" y="228"/>
                  </a:cxn>
                  <a:cxn ang="0">
                    <a:pos x="122" y="235"/>
                  </a:cxn>
                  <a:cxn ang="0">
                    <a:pos x="136" y="243"/>
                  </a:cxn>
                  <a:cxn ang="0">
                    <a:pos x="151" y="249"/>
                  </a:cxn>
                  <a:cxn ang="0">
                    <a:pos x="163" y="253"/>
                  </a:cxn>
                  <a:cxn ang="0">
                    <a:pos x="173" y="255"/>
                  </a:cxn>
                  <a:cxn ang="0">
                    <a:pos x="186" y="252"/>
                  </a:cxn>
                  <a:cxn ang="0">
                    <a:pos x="205" y="248"/>
                  </a:cxn>
                </a:cxnLst>
                <a:rect l="0" t="0" r="r" b="b"/>
                <a:pathLst>
                  <a:path w="232" h="255">
                    <a:moveTo>
                      <a:pt x="205" y="248"/>
                    </a:moveTo>
                    <a:lnTo>
                      <a:pt x="232" y="240"/>
                    </a:lnTo>
                    <a:lnTo>
                      <a:pt x="232" y="167"/>
                    </a:lnTo>
                    <a:lnTo>
                      <a:pt x="231" y="152"/>
                    </a:lnTo>
                    <a:lnTo>
                      <a:pt x="228" y="143"/>
                    </a:lnTo>
                    <a:lnTo>
                      <a:pt x="222" y="139"/>
                    </a:lnTo>
                    <a:lnTo>
                      <a:pt x="202" y="132"/>
                    </a:lnTo>
                    <a:lnTo>
                      <a:pt x="193" y="126"/>
                    </a:lnTo>
                    <a:lnTo>
                      <a:pt x="189" y="117"/>
                    </a:lnTo>
                    <a:lnTo>
                      <a:pt x="190" y="106"/>
                    </a:lnTo>
                    <a:lnTo>
                      <a:pt x="196" y="94"/>
                    </a:lnTo>
                    <a:lnTo>
                      <a:pt x="200" y="84"/>
                    </a:lnTo>
                    <a:lnTo>
                      <a:pt x="198" y="73"/>
                    </a:lnTo>
                    <a:lnTo>
                      <a:pt x="194" y="64"/>
                    </a:lnTo>
                    <a:lnTo>
                      <a:pt x="186" y="59"/>
                    </a:lnTo>
                    <a:lnTo>
                      <a:pt x="176" y="56"/>
                    </a:lnTo>
                    <a:lnTo>
                      <a:pt x="167" y="54"/>
                    </a:lnTo>
                    <a:lnTo>
                      <a:pt x="159" y="44"/>
                    </a:lnTo>
                    <a:lnTo>
                      <a:pt x="154" y="34"/>
                    </a:lnTo>
                    <a:lnTo>
                      <a:pt x="152" y="22"/>
                    </a:lnTo>
                    <a:lnTo>
                      <a:pt x="154" y="12"/>
                    </a:lnTo>
                    <a:lnTo>
                      <a:pt x="155" y="4"/>
                    </a:lnTo>
                    <a:lnTo>
                      <a:pt x="152" y="1"/>
                    </a:lnTo>
                    <a:lnTo>
                      <a:pt x="144" y="0"/>
                    </a:lnTo>
                    <a:lnTo>
                      <a:pt x="129" y="2"/>
                    </a:lnTo>
                    <a:lnTo>
                      <a:pt x="92" y="12"/>
                    </a:lnTo>
                    <a:lnTo>
                      <a:pt x="68" y="18"/>
                    </a:lnTo>
                    <a:lnTo>
                      <a:pt x="46" y="25"/>
                    </a:lnTo>
                    <a:lnTo>
                      <a:pt x="25" y="31"/>
                    </a:lnTo>
                    <a:lnTo>
                      <a:pt x="10" y="37"/>
                    </a:lnTo>
                    <a:lnTo>
                      <a:pt x="2" y="40"/>
                    </a:lnTo>
                    <a:lnTo>
                      <a:pt x="0" y="44"/>
                    </a:lnTo>
                    <a:lnTo>
                      <a:pt x="2" y="48"/>
                    </a:lnTo>
                    <a:lnTo>
                      <a:pt x="8" y="52"/>
                    </a:lnTo>
                    <a:lnTo>
                      <a:pt x="16" y="58"/>
                    </a:lnTo>
                    <a:lnTo>
                      <a:pt x="26" y="65"/>
                    </a:lnTo>
                    <a:lnTo>
                      <a:pt x="38" y="75"/>
                    </a:lnTo>
                    <a:lnTo>
                      <a:pt x="52" y="86"/>
                    </a:lnTo>
                    <a:lnTo>
                      <a:pt x="67" y="97"/>
                    </a:lnTo>
                    <a:lnTo>
                      <a:pt x="109" y="131"/>
                    </a:lnTo>
                    <a:lnTo>
                      <a:pt x="106" y="177"/>
                    </a:lnTo>
                    <a:lnTo>
                      <a:pt x="105" y="198"/>
                    </a:lnTo>
                    <a:lnTo>
                      <a:pt x="105" y="213"/>
                    </a:lnTo>
                    <a:lnTo>
                      <a:pt x="108" y="222"/>
                    </a:lnTo>
                    <a:lnTo>
                      <a:pt x="113" y="228"/>
                    </a:lnTo>
                    <a:lnTo>
                      <a:pt x="122" y="235"/>
                    </a:lnTo>
                    <a:lnTo>
                      <a:pt x="136" y="243"/>
                    </a:lnTo>
                    <a:lnTo>
                      <a:pt x="151" y="249"/>
                    </a:lnTo>
                    <a:lnTo>
                      <a:pt x="163" y="253"/>
                    </a:lnTo>
                    <a:lnTo>
                      <a:pt x="173" y="255"/>
                    </a:lnTo>
                    <a:lnTo>
                      <a:pt x="186" y="252"/>
                    </a:lnTo>
                    <a:lnTo>
                      <a:pt x="205" y="24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7" name="Freeform 35"/>
              <p:cNvSpPr>
                <a:spLocks/>
              </p:cNvSpPr>
              <p:nvPr/>
            </p:nvSpPr>
            <p:spPr bwMode="auto">
              <a:xfrm>
                <a:off x="6127750" y="3821113"/>
                <a:ext cx="368300" cy="404813"/>
              </a:xfrm>
              <a:custGeom>
                <a:avLst/>
                <a:gdLst/>
                <a:ahLst/>
                <a:cxnLst>
                  <a:cxn ang="0">
                    <a:pos x="96" y="242"/>
                  </a:cxn>
                  <a:cxn ang="0">
                    <a:pos x="109" y="235"/>
                  </a:cxn>
                  <a:cxn ang="0">
                    <a:pos x="118" y="230"/>
                  </a:cxn>
                  <a:cxn ang="0">
                    <a:pos x="123" y="223"/>
                  </a:cxn>
                  <a:cxn ang="0">
                    <a:pos x="126" y="211"/>
                  </a:cxn>
                  <a:cxn ang="0">
                    <a:pos x="126" y="196"/>
                  </a:cxn>
                  <a:cxn ang="0">
                    <a:pos x="124" y="172"/>
                  </a:cxn>
                  <a:cxn ang="0">
                    <a:pos x="124" y="146"/>
                  </a:cxn>
                  <a:cxn ang="0">
                    <a:pos x="127" y="136"/>
                  </a:cxn>
                  <a:cxn ang="0">
                    <a:pos x="131" y="129"/>
                  </a:cxn>
                  <a:cxn ang="0">
                    <a:pos x="139" y="119"/>
                  </a:cxn>
                  <a:cxn ang="0">
                    <a:pos x="149" y="110"/>
                  </a:cxn>
                  <a:cxn ang="0">
                    <a:pos x="165" y="97"/>
                  </a:cxn>
                  <a:cxn ang="0">
                    <a:pos x="180" y="86"/>
                  </a:cxn>
                  <a:cxn ang="0">
                    <a:pos x="194" y="75"/>
                  </a:cxn>
                  <a:cxn ang="0">
                    <a:pos x="206" y="65"/>
                  </a:cxn>
                  <a:cxn ang="0">
                    <a:pos x="216" y="58"/>
                  </a:cxn>
                  <a:cxn ang="0">
                    <a:pos x="224" y="52"/>
                  </a:cxn>
                  <a:cxn ang="0">
                    <a:pos x="230" y="48"/>
                  </a:cxn>
                  <a:cxn ang="0">
                    <a:pos x="232" y="44"/>
                  </a:cxn>
                  <a:cxn ang="0">
                    <a:pos x="230" y="40"/>
                  </a:cxn>
                  <a:cxn ang="0">
                    <a:pos x="222" y="37"/>
                  </a:cxn>
                  <a:cxn ang="0">
                    <a:pos x="207" y="31"/>
                  </a:cxn>
                  <a:cxn ang="0">
                    <a:pos x="186" y="25"/>
                  </a:cxn>
                  <a:cxn ang="0">
                    <a:pos x="164" y="18"/>
                  </a:cxn>
                  <a:cxn ang="0">
                    <a:pos x="140" y="12"/>
                  </a:cxn>
                  <a:cxn ang="0">
                    <a:pos x="103" y="2"/>
                  </a:cxn>
                  <a:cxn ang="0">
                    <a:pos x="88" y="0"/>
                  </a:cxn>
                  <a:cxn ang="0">
                    <a:pos x="80" y="1"/>
                  </a:cxn>
                  <a:cxn ang="0">
                    <a:pos x="77" y="4"/>
                  </a:cxn>
                  <a:cxn ang="0">
                    <a:pos x="78" y="12"/>
                  </a:cxn>
                  <a:cxn ang="0">
                    <a:pos x="80" y="22"/>
                  </a:cxn>
                  <a:cxn ang="0">
                    <a:pos x="78" y="34"/>
                  </a:cxn>
                  <a:cxn ang="0">
                    <a:pos x="73" y="44"/>
                  </a:cxn>
                  <a:cxn ang="0">
                    <a:pos x="65" y="54"/>
                  </a:cxn>
                  <a:cxn ang="0">
                    <a:pos x="56" y="56"/>
                  </a:cxn>
                  <a:cxn ang="0">
                    <a:pos x="46" y="59"/>
                  </a:cxn>
                  <a:cxn ang="0">
                    <a:pos x="38" y="64"/>
                  </a:cxn>
                  <a:cxn ang="0">
                    <a:pos x="34" y="73"/>
                  </a:cxn>
                  <a:cxn ang="0">
                    <a:pos x="32" y="84"/>
                  </a:cxn>
                  <a:cxn ang="0">
                    <a:pos x="36" y="94"/>
                  </a:cxn>
                  <a:cxn ang="0">
                    <a:pos x="42" y="106"/>
                  </a:cxn>
                  <a:cxn ang="0">
                    <a:pos x="43" y="117"/>
                  </a:cxn>
                  <a:cxn ang="0">
                    <a:pos x="39" y="126"/>
                  </a:cxn>
                  <a:cxn ang="0">
                    <a:pos x="30" y="132"/>
                  </a:cxn>
                  <a:cxn ang="0">
                    <a:pos x="10" y="139"/>
                  </a:cxn>
                  <a:cxn ang="0">
                    <a:pos x="4" y="143"/>
                  </a:cxn>
                  <a:cxn ang="0">
                    <a:pos x="1" y="152"/>
                  </a:cxn>
                  <a:cxn ang="0">
                    <a:pos x="0" y="167"/>
                  </a:cxn>
                  <a:cxn ang="0">
                    <a:pos x="0" y="211"/>
                  </a:cxn>
                  <a:cxn ang="0">
                    <a:pos x="1" y="224"/>
                  </a:cxn>
                  <a:cxn ang="0">
                    <a:pos x="2" y="235"/>
                  </a:cxn>
                  <a:cxn ang="0">
                    <a:pos x="6" y="240"/>
                  </a:cxn>
                  <a:cxn ang="0">
                    <a:pos x="13" y="244"/>
                  </a:cxn>
                  <a:cxn ang="0">
                    <a:pos x="23" y="247"/>
                  </a:cxn>
                  <a:cxn ang="0">
                    <a:pos x="42" y="252"/>
                  </a:cxn>
                  <a:cxn ang="0">
                    <a:pos x="55" y="255"/>
                  </a:cxn>
                  <a:cxn ang="0">
                    <a:pos x="67" y="253"/>
                  </a:cxn>
                  <a:cxn ang="0">
                    <a:pos x="80" y="249"/>
                  </a:cxn>
                  <a:cxn ang="0">
                    <a:pos x="96" y="242"/>
                  </a:cxn>
                </a:cxnLst>
                <a:rect l="0" t="0" r="r" b="b"/>
                <a:pathLst>
                  <a:path w="232" h="255">
                    <a:moveTo>
                      <a:pt x="96" y="242"/>
                    </a:moveTo>
                    <a:lnTo>
                      <a:pt x="109" y="235"/>
                    </a:lnTo>
                    <a:lnTo>
                      <a:pt x="118" y="230"/>
                    </a:lnTo>
                    <a:lnTo>
                      <a:pt x="123" y="223"/>
                    </a:lnTo>
                    <a:lnTo>
                      <a:pt x="126" y="211"/>
                    </a:lnTo>
                    <a:lnTo>
                      <a:pt x="126" y="196"/>
                    </a:lnTo>
                    <a:lnTo>
                      <a:pt x="124" y="172"/>
                    </a:lnTo>
                    <a:lnTo>
                      <a:pt x="124" y="146"/>
                    </a:lnTo>
                    <a:lnTo>
                      <a:pt x="127" y="136"/>
                    </a:lnTo>
                    <a:lnTo>
                      <a:pt x="131" y="129"/>
                    </a:lnTo>
                    <a:lnTo>
                      <a:pt x="139" y="119"/>
                    </a:lnTo>
                    <a:lnTo>
                      <a:pt x="149" y="110"/>
                    </a:lnTo>
                    <a:lnTo>
                      <a:pt x="165" y="97"/>
                    </a:lnTo>
                    <a:lnTo>
                      <a:pt x="180" y="86"/>
                    </a:lnTo>
                    <a:lnTo>
                      <a:pt x="194" y="75"/>
                    </a:lnTo>
                    <a:lnTo>
                      <a:pt x="206" y="65"/>
                    </a:lnTo>
                    <a:lnTo>
                      <a:pt x="216" y="58"/>
                    </a:lnTo>
                    <a:lnTo>
                      <a:pt x="224" y="52"/>
                    </a:lnTo>
                    <a:lnTo>
                      <a:pt x="230" y="48"/>
                    </a:lnTo>
                    <a:lnTo>
                      <a:pt x="232" y="44"/>
                    </a:lnTo>
                    <a:lnTo>
                      <a:pt x="230" y="40"/>
                    </a:lnTo>
                    <a:lnTo>
                      <a:pt x="222" y="37"/>
                    </a:lnTo>
                    <a:lnTo>
                      <a:pt x="207" y="31"/>
                    </a:lnTo>
                    <a:lnTo>
                      <a:pt x="186" y="25"/>
                    </a:lnTo>
                    <a:lnTo>
                      <a:pt x="164" y="18"/>
                    </a:lnTo>
                    <a:lnTo>
                      <a:pt x="140" y="12"/>
                    </a:lnTo>
                    <a:lnTo>
                      <a:pt x="103" y="2"/>
                    </a:lnTo>
                    <a:lnTo>
                      <a:pt x="88" y="0"/>
                    </a:lnTo>
                    <a:lnTo>
                      <a:pt x="80" y="1"/>
                    </a:lnTo>
                    <a:lnTo>
                      <a:pt x="77" y="4"/>
                    </a:lnTo>
                    <a:lnTo>
                      <a:pt x="78" y="12"/>
                    </a:lnTo>
                    <a:lnTo>
                      <a:pt x="80" y="22"/>
                    </a:lnTo>
                    <a:lnTo>
                      <a:pt x="78" y="34"/>
                    </a:lnTo>
                    <a:lnTo>
                      <a:pt x="73" y="44"/>
                    </a:lnTo>
                    <a:lnTo>
                      <a:pt x="65" y="54"/>
                    </a:lnTo>
                    <a:lnTo>
                      <a:pt x="56" y="56"/>
                    </a:lnTo>
                    <a:lnTo>
                      <a:pt x="46" y="59"/>
                    </a:lnTo>
                    <a:lnTo>
                      <a:pt x="38" y="64"/>
                    </a:lnTo>
                    <a:lnTo>
                      <a:pt x="34" y="73"/>
                    </a:lnTo>
                    <a:lnTo>
                      <a:pt x="32" y="84"/>
                    </a:lnTo>
                    <a:lnTo>
                      <a:pt x="36" y="94"/>
                    </a:lnTo>
                    <a:lnTo>
                      <a:pt x="42" y="106"/>
                    </a:lnTo>
                    <a:lnTo>
                      <a:pt x="43" y="117"/>
                    </a:lnTo>
                    <a:lnTo>
                      <a:pt x="39" y="126"/>
                    </a:lnTo>
                    <a:lnTo>
                      <a:pt x="30" y="132"/>
                    </a:lnTo>
                    <a:lnTo>
                      <a:pt x="10" y="139"/>
                    </a:lnTo>
                    <a:lnTo>
                      <a:pt x="4" y="143"/>
                    </a:lnTo>
                    <a:lnTo>
                      <a:pt x="1" y="152"/>
                    </a:lnTo>
                    <a:lnTo>
                      <a:pt x="0" y="167"/>
                    </a:lnTo>
                    <a:lnTo>
                      <a:pt x="0" y="211"/>
                    </a:lnTo>
                    <a:lnTo>
                      <a:pt x="1" y="224"/>
                    </a:lnTo>
                    <a:lnTo>
                      <a:pt x="2" y="235"/>
                    </a:lnTo>
                    <a:lnTo>
                      <a:pt x="6" y="240"/>
                    </a:lnTo>
                    <a:lnTo>
                      <a:pt x="13" y="244"/>
                    </a:lnTo>
                    <a:lnTo>
                      <a:pt x="23" y="247"/>
                    </a:lnTo>
                    <a:lnTo>
                      <a:pt x="42" y="252"/>
                    </a:lnTo>
                    <a:lnTo>
                      <a:pt x="55" y="255"/>
                    </a:lnTo>
                    <a:lnTo>
                      <a:pt x="67" y="253"/>
                    </a:lnTo>
                    <a:lnTo>
                      <a:pt x="80" y="249"/>
                    </a:lnTo>
                    <a:lnTo>
                      <a:pt x="96" y="2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8" name="Freeform 38"/>
              <p:cNvSpPr>
                <a:spLocks/>
              </p:cNvSpPr>
              <p:nvPr/>
            </p:nvSpPr>
            <p:spPr bwMode="auto">
              <a:xfrm>
                <a:off x="2414588" y="3403600"/>
                <a:ext cx="373063" cy="463550"/>
              </a:xfrm>
              <a:custGeom>
                <a:avLst/>
                <a:gdLst/>
                <a:ahLst/>
                <a:cxnLst>
                  <a:cxn ang="0">
                    <a:pos x="207" y="255"/>
                  </a:cxn>
                  <a:cxn ang="0">
                    <a:pos x="215" y="254"/>
                  </a:cxn>
                  <a:cxn ang="0">
                    <a:pos x="224" y="250"/>
                  </a:cxn>
                  <a:cxn ang="0">
                    <a:pos x="231" y="243"/>
                  </a:cxn>
                  <a:cxn ang="0">
                    <a:pos x="235" y="236"/>
                  </a:cxn>
                  <a:cxn ang="0">
                    <a:pos x="235" y="231"/>
                  </a:cxn>
                  <a:cxn ang="0">
                    <a:pos x="232" y="223"/>
                  </a:cxn>
                  <a:cxn ang="0">
                    <a:pos x="226" y="214"/>
                  </a:cxn>
                  <a:cxn ang="0">
                    <a:pos x="215" y="202"/>
                  </a:cxn>
                  <a:cxn ang="0">
                    <a:pos x="203" y="187"/>
                  </a:cxn>
                  <a:cxn ang="0">
                    <a:pos x="196" y="172"/>
                  </a:cxn>
                  <a:cxn ang="0">
                    <a:pos x="193" y="155"/>
                  </a:cxn>
                  <a:cxn ang="0">
                    <a:pos x="192" y="134"/>
                  </a:cxn>
                  <a:cxn ang="0">
                    <a:pos x="192" y="116"/>
                  </a:cxn>
                  <a:cxn ang="0">
                    <a:pos x="190" y="104"/>
                  </a:cxn>
                  <a:cxn ang="0">
                    <a:pos x="186" y="97"/>
                  </a:cxn>
                  <a:cxn ang="0">
                    <a:pos x="179" y="95"/>
                  </a:cxn>
                  <a:cxn ang="0">
                    <a:pos x="168" y="95"/>
                  </a:cxn>
                  <a:cxn ang="0">
                    <a:pos x="156" y="93"/>
                  </a:cxn>
                  <a:cxn ang="0">
                    <a:pos x="147" y="91"/>
                  </a:cxn>
                  <a:cxn ang="0">
                    <a:pos x="142" y="83"/>
                  </a:cxn>
                  <a:cxn ang="0">
                    <a:pos x="138" y="72"/>
                  </a:cxn>
                  <a:cxn ang="0">
                    <a:pos x="135" y="56"/>
                  </a:cxn>
                  <a:cxn ang="0">
                    <a:pos x="135" y="18"/>
                  </a:cxn>
                  <a:cxn ang="0">
                    <a:pos x="133" y="8"/>
                  </a:cxn>
                  <a:cxn ang="0">
                    <a:pos x="129" y="1"/>
                  </a:cxn>
                  <a:cxn ang="0">
                    <a:pos x="123" y="0"/>
                  </a:cxn>
                  <a:cxn ang="0">
                    <a:pos x="114" y="4"/>
                  </a:cxn>
                  <a:cxn ang="0">
                    <a:pos x="102" y="10"/>
                  </a:cxn>
                  <a:cxn ang="0">
                    <a:pos x="88" y="22"/>
                  </a:cxn>
                  <a:cxn ang="0">
                    <a:pos x="75" y="31"/>
                  </a:cxn>
                  <a:cxn ang="0">
                    <a:pos x="59" y="42"/>
                  </a:cxn>
                  <a:cxn ang="0">
                    <a:pos x="43" y="51"/>
                  </a:cxn>
                  <a:cxn ang="0">
                    <a:pos x="17" y="67"/>
                  </a:cxn>
                  <a:cxn ang="0">
                    <a:pos x="8" y="75"/>
                  </a:cxn>
                  <a:cxn ang="0">
                    <a:pos x="2" y="85"/>
                  </a:cxn>
                  <a:cxn ang="0">
                    <a:pos x="0" y="100"/>
                  </a:cxn>
                  <a:cxn ang="0">
                    <a:pos x="0" y="114"/>
                  </a:cxn>
                  <a:cxn ang="0">
                    <a:pos x="2" y="122"/>
                  </a:cxn>
                  <a:cxn ang="0">
                    <a:pos x="8" y="125"/>
                  </a:cxn>
                  <a:cxn ang="0">
                    <a:pos x="17" y="126"/>
                  </a:cxn>
                  <a:cxn ang="0">
                    <a:pos x="34" y="129"/>
                  </a:cxn>
                  <a:cxn ang="0">
                    <a:pos x="46" y="135"/>
                  </a:cxn>
                  <a:cxn ang="0">
                    <a:pos x="55" y="148"/>
                  </a:cxn>
                  <a:cxn ang="0">
                    <a:pos x="62" y="168"/>
                  </a:cxn>
                  <a:cxn ang="0">
                    <a:pos x="66" y="193"/>
                  </a:cxn>
                  <a:cxn ang="0">
                    <a:pos x="67" y="226"/>
                  </a:cxn>
                  <a:cxn ang="0">
                    <a:pos x="67" y="292"/>
                  </a:cxn>
                  <a:cxn ang="0">
                    <a:pos x="130" y="273"/>
                  </a:cxn>
                  <a:cxn ang="0">
                    <a:pos x="151" y="267"/>
                  </a:cxn>
                  <a:cxn ang="0">
                    <a:pos x="169" y="263"/>
                  </a:cxn>
                  <a:cxn ang="0">
                    <a:pos x="186" y="259"/>
                  </a:cxn>
                  <a:cxn ang="0">
                    <a:pos x="200" y="256"/>
                  </a:cxn>
                  <a:cxn ang="0">
                    <a:pos x="207" y="255"/>
                  </a:cxn>
                </a:cxnLst>
                <a:rect l="0" t="0" r="r" b="b"/>
                <a:pathLst>
                  <a:path w="235" h="292">
                    <a:moveTo>
                      <a:pt x="207" y="255"/>
                    </a:moveTo>
                    <a:lnTo>
                      <a:pt x="215" y="254"/>
                    </a:lnTo>
                    <a:lnTo>
                      <a:pt x="224" y="250"/>
                    </a:lnTo>
                    <a:lnTo>
                      <a:pt x="231" y="243"/>
                    </a:lnTo>
                    <a:lnTo>
                      <a:pt x="235" y="236"/>
                    </a:lnTo>
                    <a:lnTo>
                      <a:pt x="235" y="231"/>
                    </a:lnTo>
                    <a:lnTo>
                      <a:pt x="232" y="223"/>
                    </a:lnTo>
                    <a:lnTo>
                      <a:pt x="226" y="214"/>
                    </a:lnTo>
                    <a:lnTo>
                      <a:pt x="215" y="202"/>
                    </a:lnTo>
                    <a:lnTo>
                      <a:pt x="203" y="187"/>
                    </a:lnTo>
                    <a:lnTo>
                      <a:pt x="196" y="172"/>
                    </a:lnTo>
                    <a:lnTo>
                      <a:pt x="193" y="155"/>
                    </a:lnTo>
                    <a:lnTo>
                      <a:pt x="192" y="134"/>
                    </a:lnTo>
                    <a:lnTo>
                      <a:pt x="192" y="116"/>
                    </a:lnTo>
                    <a:lnTo>
                      <a:pt x="190" y="104"/>
                    </a:lnTo>
                    <a:lnTo>
                      <a:pt x="186" y="97"/>
                    </a:lnTo>
                    <a:lnTo>
                      <a:pt x="179" y="95"/>
                    </a:lnTo>
                    <a:lnTo>
                      <a:pt x="168" y="95"/>
                    </a:lnTo>
                    <a:lnTo>
                      <a:pt x="156" y="93"/>
                    </a:lnTo>
                    <a:lnTo>
                      <a:pt x="147" y="91"/>
                    </a:lnTo>
                    <a:lnTo>
                      <a:pt x="142" y="83"/>
                    </a:lnTo>
                    <a:lnTo>
                      <a:pt x="138" y="72"/>
                    </a:lnTo>
                    <a:lnTo>
                      <a:pt x="135" y="56"/>
                    </a:lnTo>
                    <a:lnTo>
                      <a:pt x="135" y="18"/>
                    </a:lnTo>
                    <a:lnTo>
                      <a:pt x="133" y="8"/>
                    </a:lnTo>
                    <a:lnTo>
                      <a:pt x="129" y="1"/>
                    </a:lnTo>
                    <a:lnTo>
                      <a:pt x="123" y="0"/>
                    </a:lnTo>
                    <a:lnTo>
                      <a:pt x="114" y="4"/>
                    </a:lnTo>
                    <a:lnTo>
                      <a:pt x="102" y="10"/>
                    </a:lnTo>
                    <a:lnTo>
                      <a:pt x="88" y="22"/>
                    </a:lnTo>
                    <a:lnTo>
                      <a:pt x="75" y="31"/>
                    </a:lnTo>
                    <a:lnTo>
                      <a:pt x="59" y="42"/>
                    </a:lnTo>
                    <a:lnTo>
                      <a:pt x="43" y="51"/>
                    </a:lnTo>
                    <a:lnTo>
                      <a:pt x="17" y="67"/>
                    </a:lnTo>
                    <a:lnTo>
                      <a:pt x="8" y="75"/>
                    </a:lnTo>
                    <a:lnTo>
                      <a:pt x="2" y="85"/>
                    </a:lnTo>
                    <a:lnTo>
                      <a:pt x="0" y="100"/>
                    </a:lnTo>
                    <a:lnTo>
                      <a:pt x="0" y="114"/>
                    </a:lnTo>
                    <a:lnTo>
                      <a:pt x="2" y="122"/>
                    </a:lnTo>
                    <a:lnTo>
                      <a:pt x="8" y="125"/>
                    </a:lnTo>
                    <a:lnTo>
                      <a:pt x="17" y="126"/>
                    </a:lnTo>
                    <a:lnTo>
                      <a:pt x="34" y="129"/>
                    </a:lnTo>
                    <a:lnTo>
                      <a:pt x="46" y="135"/>
                    </a:lnTo>
                    <a:lnTo>
                      <a:pt x="55" y="148"/>
                    </a:lnTo>
                    <a:lnTo>
                      <a:pt x="62" y="168"/>
                    </a:lnTo>
                    <a:lnTo>
                      <a:pt x="66" y="193"/>
                    </a:lnTo>
                    <a:lnTo>
                      <a:pt x="67" y="226"/>
                    </a:lnTo>
                    <a:lnTo>
                      <a:pt x="67" y="292"/>
                    </a:lnTo>
                    <a:lnTo>
                      <a:pt x="130" y="273"/>
                    </a:lnTo>
                    <a:lnTo>
                      <a:pt x="151" y="267"/>
                    </a:lnTo>
                    <a:lnTo>
                      <a:pt x="169" y="263"/>
                    </a:lnTo>
                    <a:lnTo>
                      <a:pt x="186" y="259"/>
                    </a:lnTo>
                    <a:lnTo>
                      <a:pt x="200" y="256"/>
                    </a:lnTo>
                    <a:lnTo>
                      <a:pt x="207" y="25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39" name="Freeform 39"/>
              <p:cNvSpPr>
                <a:spLocks/>
              </p:cNvSpPr>
              <p:nvPr/>
            </p:nvSpPr>
            <p:spPr bwMode="auto">
              <a:xfrm>
                <a:off x="6229350" y="3403600"/>
                <a:ext cx="373063" cy="466725"/>
              </a:xfrm>
              <a:custGeom>
                <a:avLst/>
                <a:gdLst/>
                <a:ahLst/>
                <a:cxnLst>
                  <a:cxn ang="0">
                    <a:pos x="168" y="227"/>
                  </a:cxn>
                  <a:cxn ang="0">
                    <a:pos x="169" y="194"/>
                  </a:cxn>
                  <a:cxn ang="0">
                    <a:pos x="173" y="168"/>
                  </a:cxn>
                  <a:cxn ang="0">
                    <a:pos x="180" y="150"/>
                  </a:cxn>
                  <a:cxn ang="0">
                    <a:pos x="189" y="137"/>
                  </a:cxn>
                  <a:cxn ang="0">
                    <a:pos x="201" y="129"/>
                  </a:cxn>
                  <a:cxn ang="0">
                    <a:pos x="218" y="126"/>
                  </a:cxn>
                  <a:cxn ang="0">
                    <a:pos x="227" y="125"/>
                  </a:cxn>
                  <a:cxn ang="0">
                    <a:pos x="233" y="122"/>
                  </a:cxn>
                  <a:cxn ang="0">
                    <a:pos x="235" y="114"/>
                  </a:cxn>
                  <a:cxn ang="0">
                    <a:pos x="235" y="100"/>
                  </a:cxn>
                  <a:cxn ang="0">
                    <a:pos x="233" y="85"/>
                  </a:cxn>
                  <a:cxn ang="0">
                    <a:pos x="227" y="75"/>
                  </a:cxn>
                  <a:cxn ang="0">
                    <a:pos x="218" y="67"/>
                  </a:cxn>
                  <a:cxn ang="0">
                    <a:pos x="192" y="51"/>
                  </a:cxn>
                  <a:cxn ang="0">
                    <a:pos x="176" y="42"/>
                  </a:cxn>
                  <a:cxn ang="0">
                    <a:pos x="160" y="31"/>
                  </a:cxn>
                  <a:cxn ang="0">
                    <a:pos x="147" y="22"/>
                  </a:cxn>
                  <a:cxn ang="0">
                    <a:pos x="133" y="10"/>
                  </a:cxn>
                  <a:cxn ang="0">
                    <a:pos x="121" y="4"/>
                  </a:cxn>
                  <a:cxn ang="0">
                    <a:pos x="112" y="0"/>
                  </a:cxn>
                  <a:cxn ang="0">
                    <a:pos x="106" y="1"/>
                  </a:cxn>
                  <a:cxn ang="0">
                    <a:pos x="102" y="8"/>
                  </a:cxn>
                  <a:cxn ang="0">
                    <a:pos x="100" y="18"/>
                  </a:cxn>
                  <a:cxn ang="0">
                    <a:pos x="100" y="56"/>
                  </a:cxn>
                  <a:cxn ang="0">
                    <a:pos x="97" y="72"/>
                  </a:cxn>
                  <a:cxn ang="0">
                    <a:pos x="93" y="83"/>
                  </a:cxn>
                  <a:cxn ang="0">
                    <a:pos x="88" y="91"/>
                  </a:cxn>
                  <a:cxn ang="0">
                    <a:pos x="79" y="93"/>
                  </a:cxn>
                  <a:cxn ang="0">
                    <a:pos x="67" y="95"/>
                  </a:cxn>
                  <a:cxn ang="0">
                    <a:pos x="56" y="95"/>
                  </a:cxn>
                  <a:cxn ang="0">
                    <a:pos x="49" y="97"/>
                  </a:cxn>
                  <a:cxn ang="0">
                    <a:pos x="45" y="104"/>
                  </a:cxn>
                  <a:cxn ang="0">
                    <a:pos x="43" y="116"/>
                  </a:cxn>
                  <a:cxn ang="0">
                    <a:pos x="43" y="134"/>
                  </a:cxn>
                  <a:cxn ang="0">
                    <a:pos x="42" y="155"/>
                  </a:cxn>
                  <a:cxn ang="0">
                    <a:pos x="39" y="172"/>
                  </a:cxn>
                  <a:cxn ang="0">
                    <a:pos x="32" y="187"/>
                  </a:cxn>
                  <a:cxn ang="0">
                    <a:pos x="20" y="202"/>
                  </a:cxn>
                  <a:cxn ang="0">
                    <a:pos x="9" y="214"/>
                  </a:cxn>
                  <a:cxn ang="0">
                    <a:pos x="3" y="223"/>
                  </a:cxn>
                  <a:cxn ang="0">
                    <a:pos x="0" y="231"/>
                  </a:cxn>
                  <a:cxn ang="0">
                    <a:pos x="0" y="236"/>
                  </a:cxn>
                  <a:cxn ang="0">
                    <a:pos x="4" y="243"/>
                  </a:cxn>
                  <a:cxn ang="0">
                    <a:pos x="11" y="250"/>
                  </a:cxn>
                  <a:cxn ang="0">
                    <a:pos x="21" y="254"/>
                  </a:cxn>
                  <a:cxn ang="0">
                    <a:pos x="32" y="255"/>
                  </a:cxn>
                  <a:cxn ang="0">
                    <a:pos x="51" y="259"/>
                  </a:cxn>
                  <a:cxn ang="0">
                    <a:pos x="67" y="263"/>
                  </a:cxn>
                  <a:cxn ang="0">
                    <a:pos x="85" y="268"/>
                  </a:cxn>
                  <a:cxn ang="0">
                    <a:pos x="105" y="273"/>
                  </a:cxn>
                  <a:cxn ang="0">
                    <a:pos x="124" y="279"/>
                  </a:cxn>
                  <a:cxn ang="0">
                    <a:pos x="141" y="284"/>
                  </a:cxn>
                  <a:cxn ang="0">
                    <a:pos x="155" y="289"/>
                  </a:cxn>
                  <a:cxn ang="0">
                    <a:pos x="164" y="292"/>
                  </a:cxn>
                  <a:cxn ang="0">
                    <a:pos x="168" y="294"/>
                  </a:cxn>
                  <a:cxn ang="0">
                    <a:pos x="168" y="227"/>
                  </a:cxn>
                </a:cxnLst>
                <a:rect l="0" t="0" r="r" b="b"/>
                <a:pathLst>
                  <a:path w="235" h="294">
                    <a:moveTo>
                      <a:pt x="168" y="227"/>
                    </a:moveTo>
                    <a:lnTo>
                      <a:pt x="169" y="194"/>
                    </a:lnTo>
                    <a:lnTo>
                      <a:pt x="173" y="168"/>
                    </a:lnTo>
                    <a:lnTo>
                      <a:pt x="180" y="150"/>
                    </a:lnTo>
                    <a:lnTo>
                      <a:pt x="189" y="137"/>
                    </a:lnTo>
                    <a:lnTo>
                      <a:pt x="201" y="129"/>
                    </a:lnTo>
                    <a:lnTo>
                      <a:pt x="218" y="126"/>
                    </a:lnTo>
                    <a:lnTo>
                      <a:pt x="227" y="125"/>
                    </a:lnTo>
                    <a:lnTo>
                      <a:pt x="233" y="122"/>
                    </a:lnTo>
                    <a:lnTo>
                      <a:pt x="235" y="114"/>
                    </a:lnTo>
                    <a:lnTo>
                      <a:pt x="235" y="100"/>
                    </a:lnTo>
                    <a:lnTo>
                      <a:pt x="233" y="85"/>
                    </a:lnTo>
                    <a:lnTo>
                      <a:pt x="227" y="75"/>
                    </a:lnTo>
                    <a:lnTo>
                      <a:pt x="218" y="67"/>
                    </a:lnTo>
                    <a:lnTo>
                      <a:pt x="192" y="51"/>
                    </a:lnTo>
                    <a:lnTo>
                      <a:pt x="176" y="42"/>
                    </a:lnTo>
                    <a:lnTo>
                      <a:pt x="160" y="31"/>
                    </a:lnTo>
                    <a:lnTo>
                      <a:pt x="147" y="22"/>
                    </a:lnTo>
                    <a:lnTo>
                      <a:pt x="133" y="10"/>
                    </a:lnTo>
                    <a:lnTo>
                      <a:pt x="121" y="4"/>
                    </a:lnTo>
                    <a:lnTo>
                      <a:pt x="112" y="0"/>
                    </a:lnTo>
                    <a:lnTo>
                      <a:pt x="106" y="1"/>
                    </a:lnTo>
                    <a:lnTo>
                      <a:pt x="102" y="8"/>
                    </a:lnTo>
                    <a:lnTo>
                      <a:pt x="100" y="18"/>
                    </a:lnTo>
                    <a:lnTo>
                      <a:pt x="100" y="56"/>
                    </a:lnTo>
                    <a:lnTo>
                      <a:pt x="97" y="72"/>
                    </a:lnTo>
                    <a:lnTo>
                      <a:pt x="93" y="83"/>
                    </a:lnTo>
                    <a:lnTo>
                      <a:pt x="88" y="91"/>
                    </a:lnTo>
                    <a:lnTo>
                      <a:pt x="79" y="93"/>
                    </a:lnTo>
                    <a:lnTo>
                      <a:pt x="67" y="95"/>
                    </a:lnTo>
                    <a:lnTo>
                      <a:pt x="56" y="95"/>
                    </a:lnTo>
                    <a:lnTo>
                      <a:pt x="49" y="97"/>
                    </a:lnTo>
                    <a:lnTo>
                      <a:pt x="45" y="104"/>
                    </a:lnTo>
                    <a:lnTo>
                      <a:pt x="43" y="116"/>
                    </a:lnTo>
                    <a:lnTo>
                      <a:pt x="43" y="134"/>
                    </a:lnTo>
                    <a:lnTo>
                      <a:pt x="42" y="155"/>
                    </a:lnTo>
                    <a:lnTo>
                      <a:pt x="39" y="172"/>
                    </a:lnTo>
                    <a:lnTo>
                      <a:pt x="32" y="187"/>
                    </a:lnTo>
                    <a:lnTo>
                      <a:pt x="20" y="202"/>
                    </a:lnTo>
                    <a:lnTo>
                      <a:pt x="9" y="214"/>
                    </a:lnTo>
                    <a:lnTo>
                      <a:pt x="3" y="223"/>
                    </a:lnTo>
                    <a:lnTo>
                      <a:pt x="0" y="231"/>
                    </a:lnTo>
                    <a:lnTo>
                      <a:pt x="0" y="236"/>
                    </a:lnTo>
                    <a:lnTo>
                      <a:pt x="4" y="243"/>
                    </a:lnTo>
                    <a:lnTo>
                      <a:pt x="11" y="250"/>
                    </a:lnTo>
                    <a:lnTo>
                      <a:pt x="21" y="254"/>
                    </a:lnTo>
                    <a:lnTo>
                      <a:pt x="32" y="255"/>
                    </a:lnTo>
                    <a:lnTo>
                      <a:pt x="51" y="259"/>
                    </a:lnTo>
                    <a:lnTo>
                      <a:pt x="67" y="263"/>
                    </a:lnTo>
                    <a:lnTo>
                      <a:pt x="85" y="268"/>
                    </a:lnTo>
                    <a:lnTo>
                      <a:pt x="105" y="273"/>
                    </a:lnTo>
                    <a:lnTo>
                      <a:pt x="124" y="279"/>
                    </a:lnTo>
                    <a:lnTo>
                      <a:pt x="141" y="284"/>
                    </a:lnTo>
                    <a:lnTo>
                      <a:pt x="155" y="289"/>
                    </a:lnTo>
                    <a:lnTo>
                      <a:pt x="164" y="292"/>
                    </a:lnTo>
                    <a:lnTo>
                      <a:pt x="168" y="294"/>
                    </a:lnTo>
                    <a:lnTo>
                      <a:pt x="168" y="22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0" name="Freeform 44"/>
              <p:cNvSpPr>
                <a:spLocks/>
              </p:cNvSpPr>
              <p:nvPr/>
            </p:nvSpPr>
            <p:spPr bwMode="auto">
              <a:xfrm>
                <a:off x="2032000" y="2400300"/>
                <a:ext cx="558800" cy="884238"/>
              </a:xfrm>
              <a:custGeom>
                <a:avLst/>
                <a:gdLst/>
                <a:ahLst/>
                <a:cxnLst>
                  <a:cxn ang="0">
                    <a:pos x="338" y="550"/>
                  </a:cxn>
                  <a:cxn ang="0">
                    <a:pos x="351" y="537"/>
                  </a:cxn>
                  <a:cxn ang="0">
                    <a:pos x="351" y="510"/>
                  </a:cxn>
                  <a:cxn ang="0">
                    <a:pos x="345" y="490"/>
                  </a:cxn>
                  <a:cxn ang="0">
                    <a:pos x="334" y="460"/>
                  </a:cxn>
                  <a:cxn ang="0">
                    <a:pos x="325" y="436"/>
                  </a:cxn>
                  <a:cxn ang="0">
                    <a:pos x="300" y="420"/>
                  </a:cxn>
                  <a:cxn ang="0">
                    <a:pos x="284" y="390"/>
                  </a:cxn>
                  <a:cxn ang="0">
                    <a:pos x="285" y="361"/>
                  </a:cxn>
                  <a:cxn ang="0">
                    <a:pos x="278" y="347"/>
                  </a:cxn>
                  <a:cxn ang="0">
                    <a:pos x="243" y="326"/>
                  </a:cxn>
                  <a:cxn ang="0">
                    <a:pos x="218" y="293"/>
                  </a:cxn>
                  <a:cxn ang="0">
                    <a:pos x="222" y="264"/>
                  </a:cxn>
                  <a:cxn ang="0">
                    <a:pos x="230" y="229"/>
                  </a:cxn>
                  <a:cxn ang="0">
                    <a:pos x="233" y="200"/>
                  </a:cxn>
                  <a:cxn ang="0">
                    <a:pos x="218" y="177"/>
                  </a:cxn>
                  <a:cxn ang="0">
                    <a:pos x="201" y="146"/>
                  </a:cxn>
                  <a:cxn ang="0">
                    <a:pos x="199" y="129"/>
                  </a:cxn>
                  <a:cxn ang="0">
                    <a:pos x="184" y="113"/>
                  </a:cxn>
                  <a:cxn ang="0">
                    <a:pos x="150" y="95"/>
                  </a:cxn>
                  <a:cxn ang="0">
                    <a:pos x="73" y="50"/>
                  </a:cxn>
                  <a:cxn ang="0">
                    <a:pos x="16" y="10"/>
                  </a:cxn>
                  <a:cxn ang="0">
                    <a:pos x="7" y="3"/>
                  </a:cxn>
                  <a:cxn ang="0">
                    <a:pos x="0" y="0"/>
                  </a:cxn>
                  <a:cxn ang="0">
                    <a:pos x="2" y="5"/>
                  </a:cxn>
                  <a:cxn ang="0">
                    <a:pos x="4" y="18"/>
                  </a:cxn>
                  <a:cxn ang="0">
                    <a:pos x="7" y="52"/>
                  </a:cxn>
                  <a:cxn ang="0">
                    <a:pos x="8" y="179"/>
                  </a:cxn>
                  <a:cxn ang="0">
                    <a:pos x="69" y="251"/>
                  </a:cxn>
                  <a:cxn ang="0">
                    <a:pos x="96" y="293"/>
                  </a:cxn>
                  <a:cxn ang="0">
                    <a:pos x="109" y="331"/>
                  </a:cxn>
                  <a:cxn ang="0">
                    <a:pos x="108" y="397"/>
                  </a:cxn>
                  <a:cxn ang="0">
                    <a:pos x="115" y="427"/>
                  </a:cxn>
                  <a:cxn ang="0">
                    <a:pos x="129" y="451"/>
                  </a:cxn>
                  <a:cxn ang="0">
                    <a:pos x="136" y="483"/>
                  </a:cxn>
                  <a:cxn ang="0">
                    <a:pos x="142" y="524"/>
                  </a:cxn>
                  <a:cxn ang="0">
                    <a:pos x="158" y="548"/>
                  </a:cxn>
                  <a:cxn ang="0">
                    <a:pos x="186" y="554"/>
                  </a:cxn>
                  <a:cxn ang="0">
                    <a:pos x="232" y="557"/>
                  </a:cxn>
                  <a:cxn ang="0">
                    <a:pos x="283" y="556"/>
                  </a:cxn>
                  <a:cxn ang="0">
                    <a:pos x="322" y="553"/>
                  </a:cxn>
                </a:cxnLst>
                <a:rect l="0" t="0" r="r" b="b"/>
                <a:pathLst>
                  <a:path w="352" h="557">
                    <a:moveTo>
                      <a:pt x="322" y="553"/>
                    </a:moveTo>
                    <a:lnTo>
                      <a:pt x="338" y="550"/>
                    </a:lnTo>
                    <a:lnTo>
                      <a:pt x="347" y="545"/>
                    </a:lnTo>
                    <a:lnTo>
                      <a:pt x="351" y="537"/>
                    </a:lnTo>
                    <a:lnTo>
                      <a:pt x="352" y="523"/>
                    </a:lnTo>
                    <a:lnTo>
                      <a:pt x="351" y="510"/>
                    </a:lnTo>
                    <a:lnTo>
                      <a:pt x="349" y="498"/>
                    </a:lnTo>
                    <a:lnTo>
                      <a:pt x="345" y="490"/>
                    </a:lnTo>
                    <a:lnTo>
                      <a:pt x="339" y="483"/>
                    </a:lnTo>
                    <a:lnTo>
                      <a:pt x="334" y="460"/>
                    </a:lnTo>
                    <a:lnTo>
                      <a:pt x="331" y="447"/>
                    </a:lnTo>
                    <a:lnTo>
                      <a:pt x="325" y="436"/>
                    </a:lnTo>
                    <a:lnTo>
                      <a:pt x="314" y="430"/>
                    </a:lnTo>
                    <a:lnTo>
                      <a:pt x="300" y="420"/>
                    </a:lnTo>
                    <a:lnTo>
                      <a:pt x="289" y="406"/>
                    </a:lnTo>
                    <a:lnTo>
                      <a:pt x="284" y="390"/>
                    </a:lnTo>
                    <a:lnTo>
                      <a:pt x="284" y="372"/>
                    </a:lnTo>
                    <a:lnTo>
                      <a:pt x="285" y="361"/>
                    </a:lnTo>
                    <a:lnTo>
                      <a:pt x="284" y="353"/>
                    </a:lnTo>
                    <a:lnTo>
                      <a:pt x="278" y="347"/>
                    </a:lnTo>
                    <a:lnTo>
                      <a:pt x="267" y="340"/>
                    </a:lnTo>
                    <a:lnTo>
                      <a:pt x="243" y="326"/>
                    </a:lnTo>
                    <a:lnTo>
                      <a:pt x="228" y="310"/>
                    </a:lnTo>
                    <a:lnTo>
                      <a:pt x="218" y="293"/>
                    </a:lnTo>
                    <a:lnTo>
                      <a:pt x="218" y="277"/>
                    </a:lnTo>
                    <a:lnTo>
                      <a:pt x="222" y="264"/>
                    </a:lnTo>
                    <a:lnTo>
                      <a:pt x="226" y="247"/>
                    </a:lnTo>
                    <a:lnTo>
                      <a:pt x="230" y="229"/>
                    </a:lnTo>
                    <a:lnTo>
                      <a:pt x="234" y="211"/>
                    </a:lnTo>
                    <a:lnTo>
                      <a:pt x="233" y="200"/>
                    </a:lnTo>
                    <a:lnTo>
                      <a:pt x="229" y="189"/>
                    </a:lnTo>
                    <a:lnTo>
                      <a:pt x="218" y="177"/>
                    </a:lnTo>
                    <a:lnTo>
                      <a:pt x="205" y="156"/>
                    </a:lnTo>
                    <a:lnTo>
                      <a:pt x="201" y="146"/>
                    </a:lnTo>
                    <a:lnTo>
                      <a:pt x="200" y="137"/>
                    </a:lnTo>
                    <a:lnTo>
                      <a:pt x="199" y="129"/>
                    </a:lnTo>
                    <a:lnTo>
                      <a:pt x="194" y="121"/>
                    </a:lnTo>
                    <a:lnTo>
                      <a:pt x="184" y="113"/>
                    </a:lnTo>
                    <a:lnTo>
                      <a:pt x="170" y="105"/>
                    </a:lnTo>
                    <a:lnTo>
                      <a:pt x="150" y="95"/>
                    </a:lnTo>
                    <a:lnTo>
                      <a:pt x="109" y="72"/>
                    </a:lnTo>
                    <a:lnTo>
                      <a:pt x="73" y="50"/>
                    </a:lnTo>
                    <a:lnTo>
                      <a:pt x="41" y="29"/>
                    </a:lnTo>
                    <a:lnTo>
                      <a:pt x="16" y="10"/>
                    </a:lnTo>
                    <a:lnTo>
                      <a:pt x="11" y="7"/>
                    </a:lnTo>
                    <a:lnTo>
                      <a:pt x="7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3" y="9"/>
                    </a:lnTo>
                    <a:lnTo>
                      <a:pt x="4" y="18"/>
                    </a:lnTo>
                    <a:lnTo>
                      <a:pt x="6" y="33"/>
                    </a:lnTo>
                    <a:lnTo>
                      <a:pt x="7" y="52"/>
                    </a:lnTo>
                    <a:lnTo>
                      <a:pt x="8" y="76"/>
                    </a:lnTo>
                    <a:lnTo>
                      <a:pt x="8" y="179"/>
                    </a:lnTo>
                    <a:lnTo>
                      <a:pt x="49" y="226"/>
                    </a:lnTo>
                    <a:lnTo>
                      <a:pt x="69" y="251"/>
                    </a:lnTo>
                    <a:lnTo>
                      <a:pt x="84" y="273"/>
                    </a:lnTo>
                    <a:lnTo>
                      <a:pt x="96" y="293"/>
                    </a:lnTo>
                    <a:lnTo>
                      <a:pt x="104" y="313"/>
                    </a:lnTo>
                    <a:lnTo>
                      <a:pt x="109" y="331"/>
                    </a:lnTo>
                    <a:lnTo>
                      <a:pt x="111" y="352"/>
                    </a:lnTo>
                    <a:lnTo>
                      <a:pt x="108" y="397"/>
                    </a:lnTo>
                    <a:lnTo>
                      <a:pt x="109" y="414"/>
                    </a:lnTo>
                    <a:lnTo>
                      <a:pt x="115" y="427"/>
                    </a:lnTo>
                    <a:lnTo>
                      <a:pt x="121" y="437"/>
                    </a:lnTo>
                    <a:lnTo>
                      <a:pt x="129" y="451"/>
                    </a:lnTo>
                    <a:lnTo>
                      <a:pt x="133" y="468"/>
                    </a:lnTo>
                    <a:lnTo>
                      <a:pt x="136" y="483"/>
                    </a:lnTo>
                    <a:lnTo>
                      <a:pt x="137" y="506"/>
                    </a:lnTo>
                    <a:lnTo>
                      <a:pt x="142" y="524"/>
                    </a:lnTo>
                    <a:lnTo>
                      <a:pt x="149" y="539"/>
                    </a:lnTo>
                    <a:lnTo>
                      <a:pt x="158" y="548"/>
                    </a:lnTo>
                    <a:lnTo>
                      <a:pt x="170" y="553"/>
                    </a:lnTo>
                    <a:lnTo>
                      <a:pt x="186" y="554"/>
                    </a:lnTo>
                    <a:lnTo>
                      <a:pt x="207" y="556"/>
                    </a:lnTo>
                    <a:lnTo>
                      <a:pt x="232" y="557"/>
                    </a:lnTo>
                    <a:lnTo>
                      <a:pt x="258" y="557"/>
                    </a:lnTo>
                    <a:lnTo>
                      <a:pt x="283" y="556"/>
                    </a:lnTo>
                    <a:lnTo>
                      <a:pt x="305" y="554"/>
                    </a:lnTo>
                    <a:lnTo>
                      <a:pt x="322" y="55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1" name="Freeform 45"/>
              <p:cNvSpPr>
                <a:spLocks/>
              </p:cNvSpPr>
              <p:nvPr/>
            </p:nvSpPr>
            <p:spPr bwMode="auto">
              <a:xfrm>
                <a:off x="6426200" y="2400300"/>
                <a:ext cx="558800" cy="882650"/>
              </a:xfrm>
              <a:custGeom>
                <a:avLst/>
                <a:gdLst/>
                <a:ahLst/>
                <a:cxnLst>
                  <a:cxn ang="0">
                    <a:pos x="204" y="539"/>
                  </a:cxn>
                  <a:cxn ang="0">
                    <a:pos x="212" y="510"/>
                  </a:cxn>
                  <a:cxn ang="0">
                    <a:pos x="219" y="473"/>
                  </a:cxn>
                  <a:cxn ang="0">
                    <a:pos x="228" y="441"/>
                  </a:cxn>
                  <a:cxn ang="0">
                    <a:pos x="240" y="426"/>
                  </a:cxn>
                  <a:cxn ang="0">
                    <a:pos x="244" y="398"/>
                  </a:cxn>
                  <a:cxn ang="0">
                    <a:pos x="243" y="332"/>
                  </a:cxn>
                  <a:cxn ang="0">
                    <a:pos x="256" y="293"/>
                  </a:cxn>
                  <a:cxn ang="0">
                    <a:pos x="283" y="251"/>
                  </a:cxn>
                  <a:cxn ang="0">
                    <a:pos x="344" y="179"/>
                  </a:cxn>
                  <a:cxn ang="0">
                    <a:pos x="345" y="52"/>
                  </a:cxn>
                  <a:cxn ang="0">
                    <a:pos x="348" y="18"/>
                  </a:cxn>
                  <a:cxn ang="0">
                    <a:pos x="350" y="5"/>
                  </a:cxn>
                  <a:cxn ang="0">
                    <a:pos x="352" y="0"/>
                  </a:cxn>
                  <a:cxn ang="0">
                    <a:pos x="345" y="3"/>
                  </a:cxn>
                  <a:cxn ang="0">
                    <a:pos x="336" y="10"/>
                  </a:cxn>
                  <a:cxn ang="0">
                    <a:pos x="279" y="50"/>
                  </a:cxn>
                  <a:cxn ang="0">
                    <a:pos x="202" y="95"/>
                  </a:cxn>
                  <a:cxn ang="0">
                    <a:pos x="168" y="113"/>
                  </a:cxn>
                  <a:cxn ang="0">
                    <a:pos x="153" y="129"/>
                  </a:cxn>
                  <a:cxn ang="0">
                    <a:pos x="151" y="146"/>
                  </a:cxn>
                  <a:cxn ang="0">
                    <a:pos x="134" y="177"/>
                  </a:cxn>
                  <a:cxn ang="0">
                    <a:pos x="119" y="200"/>
                  </a:cxn>
                  <a:cxn ang="0">
                    <a:pos x="122" y="229"/>
                  </a:cxn>
                  <a:cxn ang="0">
                    <a:pos x="130" y="264"/>
                  </a:cxn>
                  <a:cxn ang="0">
                    <a:pos x="134" y="293"/>
                  </a:cxn>
                  <a:cxn ang="0">
                    <a:pos x="109" y="326"/>
                  </a:cxn>
                  <a:cxn ang="0">
                    <a:pos x="74" y="347"/>
                  </a:cxn>
                  <a:cxn ang="0">
                    <a:pos x="67" y="361"/>
                  </a:cxn>
                  <a:cxn ang="0">
                    <a:pos x="68" y="390"/>
                  </a:cxn>
                  <a:cxn ang="0">
                    <a:pos x="52" y="420"/>
                  </a:cxn>
                  <a:cxn ang="0">
                    <a:pos x="27" y="436"/>
                  </a:cxn>
                  <a:cxn ang="0">
                    <a:pos x="18" y="460"/>
                  </a:cxn>
                  <a:cxn ang="0">
                    <a:pos x="7" y="490"/>
                  </a:cxn>
                  <a:cxn ang="0">
                    <a:pos x="1" y="510"/>
                  </a:cxn>
                  <a:cxn ang="0">
                    <a:pos x="1" y="537"/>
                  </a:cxn>
                  <a:cxn ang="0">
                    <a:pos x="10" y="550"/>
                  </a:cxn>
                  <a:cxn ang="0">
                    <a:pos x="38" y="554"/>
                  </a:cxn>
                  <a:cxn ang="0">
                    <a:pos x="110" y="556"/>
                  </a:cxn>
                  <a:cxn ang="0">
                    <a:pos x="158" y="553"/>
                  </a:cxn>
                  <a:cxn ang="0">
                    <a:pos x="193" y="548"/>
                  </a:cxn>
                </a:cxnLst>
                <a:rect l="0" t="0" r="r" b="b"/>
                <a:pathLst>
                  <a:path w="352" h="556">
                    <a:moveTo>
                      <a:pt x="201" y="545"/>
                    </a:moveTo>
                    <a:lnTo>
                      <a:pt x="204" y="539"/>
                    </a:lnTo>
                    <a:lnTo>
                      <a:pt x="208" y="526"/>
                    </a:lnTo>
                    <a:lnTo>
                      <a:pt x="212" y="510"/>
                    </a:lnTo>
                    <a:lnTo>
                      <a:pt x="215" y="491"/>
                    </a:lnTo>
                    <a:lnTo>
                      <a:pt x="219" y="473"/>
                    </a:lnTo>
                    <a:lnTo>
                      <a:pt x="223" y="456"/>
                    </a:lnTo>
                    <a:lnTo>
                      <a:pt x="228" y="441"/>
                    </a:lnTo>
                    <a:lnTo>
                      <a:pt x="233" y="434"/>
                    </a:lnTo>
                    <a:lnTo>
                      <a:pt x="240" y="426"/>
                    </a:lnTo>
                    <a:lnTo>
                      <a:pt x="243" y="414"/>
                    </a:lnTo>
                    <a:lnTo>
                      <a:pt x="244" y="398"/>
                    </a:lnTo>
                    <a:lnTo>
                      <a:pt x="241" y="353"/>
                    </a:lnTo>
                    <a:lnTo>
                      <a:pt x="243" y="332"/>
                    </a:lnTo>
                    <a:lnTo>
                      <a:pt x="248" y="313"/>
                    </a:lnTo>
                    <a:lnTo>
                      <a:pt x="256" y="293"/>
                    </a:lnTo>
                    <a:lnTo>
                      <a:pt x="268" y="273"/>
                    </a:lnTo>
                    <a:lnTo>
                      <a:pt x="283" y="251"/>
                    </a:lnTo>
                    <a:lnTo>
                      <a:pt x="303" y="226"/>
                    </a:lnTo>
                    <a:lnTo>
                      <a:pt x="344" y="179"/>
                    </a:lnTo>
                    <a:lnTo>
                      <a:pt x="344" y="76"/>
                    </a:lnTo>
                    <a:lnTo>
                      <a:pt x="345" y="52"/>
                    </a:lnTo>
                    <a:lnTo>
                      <a:pt x="346" y="33"/>
                    </a:lnTo>
                    <a:lnTo>
                      <a:pt x="348" y="18"/>
                    </a:lnTo>
                    <a:lnTo>
                      <a:pt x="349" y="9"/>
                    </a:lnTo>
                    <a:lnTo>
                      <a:pt x="350" y="5"/>
                    </a:lnTo>
                    <a:lnTo>
                      <a:pt x="352" y="3"/>
                    </a:lnTo>
                    <a:lnTo>
                      <a:pt x="352" y="0"/>
                    </a:lnTo>
                    <a:lnTo>
                      <a:pt x="350" y="0"/>
                    </a:lnTo>
                    <a:lnTo>
                      <a:pt x="345" y="3"/>
                    </a:lnTo>
                    <a:lnTo>
                      <a:pt x="341" y="7"/>
                    </a:lnTo>
                    <a:lnTo>
                      <a:pt x="336" y="10"/>
                    </a:lnTo>
                    <a:lnTo>
                      <a:pt x="311" y="29"/>
                    </a:lnTo>
                    <a:lnTo>
                      <a:pt x="279" y="50"/>
                    </a:lnTo>
                    <a:lnTo>
                      <a:pt x="243" y="72"/>
                    </a:lnTo>
                    <a:lnTo>
                      <a:pt x="202" y="95"/>
                    </a:lnTo>
                    <a:lnTo>
                      <a:pt x="182" y="105"/>
                    </a:lnTo>
                    <a:lnTo>
                      <a:pt x="168" y="113"/>
                    </a:lnTo>
                    <a:lnTo>
                      <a:pt x="158" y="121"/>
                    </a:lnTo>
                    <a:lnTo>
                      <a:pt x="153" y="129"/>
                    </a:lnTo>
                    <a:lnTo>
                      <a:pt x="152" y="137"/>
                    </a:lnTo>
                    <a:lnTo>
                      <a:pt x="151" y="146"/>
                    </a:lnTo>
                    <a:lnTo>
                      <a:pt x="147" y="156"/>
                    </a:lnTo>
                    <a:lnTo>
                      <a:pt x="134" y="177"/>
                    </a:lnTo>
                    <a:lnTo>
                      <a:pt x="123" y="189"/>
                    </a:lnTo>
                    <a:lnTo>
                      <a:pt x="119" y="200"/>
                    </a:lnTo>
                    <a:lnTo>
                      <a:pt x="118" y="211"/>
                    </a:lnTo>
                    <a:lnTo>
                      <a:pt x="122" y="229"/>
                    </a:lnTo>
                    <a:lnTo>
                      <a:pt x="126" y="247"/>
                    </a:lnTo>
                    <a:lnTo>
                      <a:pt x="130" y="264"/>
                    </a:lnTo>
                    <a:lnTo>
                      <a:pt x="134" y="277"/>
                    </a:lnTo>
                    <a:lnTo>
                      <a:pt x="134" y="293"/>
                    </a:lnTo>
                    <a:lnTo>
                      <a:pt x="124" y="310"/>
                    </a:lnTo>
                    <a:lnTo>
                      <a:pt x="109" y="326"/>
                    </a:lnTo>
                    <a:lnTo>
                      <a:pt x="85" y="340"/>
                    </a:lnTo>
                    <a:lnTo>
                      <a:pt x="74" y="347"/>
                    </a:lnTo>
                    <a:lnTo>
                      <a:pt x="68" y="353"/>
                    </a:lnTo>
                    <a:lnTo>
                      <a:pt x="67" y="361"/>
                    </a:lnTo>
                    <a:lnTo>
                      <a:pt x="68" y="372"/>
                    </a:lnTo>
                    <a:lnTo>
                      <a:pt x="68" y="390"/>
                    </a:lnTo>
                    <a:lnTo>
                      <a:pt x="63" y="406"/>
                    </a:lnTo>
                    <a:lnTo>
                      <a:pt x="52" y="420"/>
                    </a:lnTo>
                    <a:lnTo>
                      <a:pt x="38" y="430"/>
                    </a:lnTo>
                    <a:lnTo>
                      <a:pt x="27" y="436"/>
                    </a:lnTo>
                    <a:lnTo>
                      <a:pt x="21" y="447"/>
                    </a:lnTo>
                    <a:lnTo>
                      <a:pt x="18" y="460"/>
                    </a:lnTo>
                    <a:lnTo>
                      <a:pt x="13" y="483"/>
                    </a:lnTo>
                    <a:lnTo>
                      <a:pt x="7" y="490"/>
                    </a:lnTo>
                    <a:lnTo>
                      <a:pt x="3" y="498"/>
                    </a:lnTo>
                    <a:lnTo>
                      <a:pt x="1" y="510"/>
                    </a:lnTo>
                    <a:lnTo>
                      <a:pt x="0" y="524"/>
                    </a:lnTo>
                    <a:lnTo>
                      <a:pt x="1" y="537"/>
                    </a:lnTo>
                    <a:lnTo>
                      <a:pt x="3" y="545"/>
                    </a:lnTo>
                    <a:lnTo>
                      <a:pt x="10" y="550"/>
                    </a:lnTo>
                    <a:lnTo>
                      <a:pt x="22" y="553"/>
                    </a:lnTo>
                    <a:lnTo>
                      <a:pt x="38" y="554"/>
                    </a:lnTo>
                    <a:lnTo>
                      <a:pt x="59" y="556"/>
                    </a:lnTo>
                    <a:lnTo>
                      <a:pt x="110" y="556"/>
                    </a:lnTo>
                    <a:lnTo>
                      <a:pt x="135" y="554"/>
                    </a:lnTo>
                    <a:lnTo>
                      <a:pt x="158" y="553"/>
                    </a:lnTo>
                    <a:lnTo>
                      <a:pt x="178" y="550"/>
                    </a:lnTo>
                    <a:lnTo>
                      <a:pt x="193" y="548"/>
                    </a:lnTo>
                    <a:lnTo>
                      <a:pt x="201" y="54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2" name="Freeform 56"/>
              <p:cNvSpPr>
                <a:spLocks/>
              </p:cNvSpPr>
              <p:nvPr/>
            </p:nvSpPr>
            <p:spPr bwMode="auto">
              <a:xfrm>
                <a:off x="1498600" y="1138238"/>
                <a:ext cx="784225" cy="1397000"/>
              </a:xfrm>
              <a:custGeom>
                <a:avLst/>
                <a:gdLst/>
                <a:ahLst/>
                <a:cxnLst>
                  <a:cxn ang="0">
                    <a:pos x="474" y="842"/>
                  </a:cxn>
                  <a:cxn ang="0">
                    <a:pos x="468" y="798"/>
                  </a:cxn>
                  <a:cxn ang="0">
                    <a:pos x="435" y="784"/>
                  </a:cxn>
                  <a:cxn ang="0">
                    <a:pos x="424" y="742"/>
                  </a:cxn>
                  <a:cxn ang="0">
                    <a:pos x="411" y="686"/>
                  </a:cxn>
                  <a:cxn ang="0">
                    <a:pos x="390" y="627"/>
                  </a:cxn>
                  <a:cxn ang="0">
                    <a:pos x="382" y="561"/>
                  </a:cxn>
                  <a:cxn ang="0">
                    <a:pos x="392" y="516"/>
                  </a:cxn>
                  <a:cxn ang="0">
                    <a:pos x="406" y="505"/>
                  </a:cxn>
                  <a:cxn ang="0">
                    <a:pos x="389" y="485"/>
                  </a:cxn>
                  <a:cxn ang="0">
                    <a:pos x="369" y="455"/>
                  </a:cxn>
                  <a:cxn ang="0">
                    <a:pos x="367" y="434"/>
                  </a:cxn>
                  <a:cxn ang="0">
                    <a:pos x="361" y="426"/>
                  </a:cxn>
                  <a:cxn ang="0">
                    <a:pos x="336" y="409"/>
                  </a:cxn>
                  <a:cxn ang="0">
                    <a:pos x="325" y="385"/>
                  </a:cxn>
                  <a:cxn ang="0">
                    <a:pos x="352" y="377"/>
                  </a:cxn>
                  <a:cxn ang="0">
                    <a:pos x="397" y="367"/>
                  </a:cxn>
                  <a:cxn ang="0">
                    <a:pos x="389" y="343"/>
                  </a:cxn>
                  <a:cxn ang="0">
                    <a:pos x="340" y="315"/>
                  </a:cxn>
                  <a:cxn ang="0">
                    <a:pos x="335" y="277"/>
                  </a:cxn>
                  <a:cxn ang="0">
                    <a:pos x="342" y="239"/>
                  </a:cxn>
                  <a:cxn ang="0">
                    <a:pos x="306" y="210"/>
                  </a:cxn>
                  <a:cxn ang="0">
                    <a:pos x="325" y="181"/>
                  </a:cxn>
                  <a:cxn ang="0">
                    <a:pos x="344" y="158"/>
                  </a:cxn>
                  <a:cxn ang="0">
                    <a:pos x="319" y="130"/>
                  </a:cxn>
                  <a:cxn ang="0">
                    <a:pos x="265" y="106"/>
                  </a:cxn>
                  <a:cxn ang="0">
                    <a:pos x="235" y="93"/>
                  </a:cxn>
                  <a:cxn ang="0">
                    <a:pos x="234" y="66"/>
                  </a:cxn>
                  <a:cxn ang="0">
                    <a:pos x="150" y="18"/>
                  </a:cxn>
                  <a:cxn ang="0">
                    <a:pos x="75" y="8"/>
                  </a:cxn>
                  <a:cxn ang="0">
                    <a:pos x="0" y="53"/>
                  </a:cxn>
                  <a:cxn ang="0">
                    <a:pos x="5" y="112"/>
                  </a:cxn>
                  <a:cxn ang="0">
                    <a:pos x="28" y="139"/>
                  </a:cxn>
                  <a:cxn ang="0">
                    <a:pos x="83" y="169"/>
                  </a:cxn>
                  <a:cxn ang="0">
                    <a:pos x="116" y="194"/>
                  </a:cxn>
                  <a:cxn ang="0">
                    <a:pos x="109" y="221"/>
                  </a:cxn>
                  <a:cxn ang="0">
                    <a:pos x="99" y="258"/>
                  </a:cxn>
                  <a:cxn ang="0">
                    <a:pos x="135" y="288"/>
                  </a:cxn>
                  <a:cxn ang="0">
                    <a:pos x="172" y="487"/>
                  </a:cxn>
                  <a:cxn ang="0">
                    <a:pos x="236" y="554"/>
                  </a:cxn>
                  <a:cxn ang="0">
                    <a:pos x="260" y="573"/>
                  </a:cxn>
                  <a:cxn ang="0">
                    <a:pos x="272" y="610"/>
                  </a:cxn>
                  <a:cxn ang="0">
                    <a:pos x="285" y="706"/>
                  </a:cxn>
                  <a:cxn ang="0">
                    <a:pos x="330" y="774"/>
                  </a:cxn>
                  <a:cxn ang="0">
                    <a:pos x="451" y="859"/>
                  </a:cxn>
                  <a:cxn ang="0">
                    <a:pos x="494" y="880"/>
                  </a:cxn>
                  <a:cxn ang="0">
                    <a:pos x="485" y="867"/>
                  </a:cxn>
                </a:cxnLst>
                <a:rect l="0" t="0" r="r" b="b"/>
                <a:pathLst>
                  <a:path w="494" h="880">
                    <a:moveTo>
                      <a:pt x="485" y="867"/>
                    </a:moveTo>
                    <a:lnTo>
                      <a:pt x="478" y="855"/>
                    </a:lnTo>
                    <a:lnTo>
                      <a:pt x="474" y="842"/>
                    </a:lnTo>
                    <a:lnTo>
                      <a:pt x="474" y="812"/>
                    </a:lnTo>
                    <a:lnTo>
                      <a:pt x="473" y="803"/>
                    </a:lnTo>
                    <a:lnTo>
                      <a:pt x="468" y="798"/>
                    </a:lnTo>
                    <a:lnTo>
                      <a:pt x="460" y="795"/>
                    </a:lnTo>
                    <a:lnTo>
                      <a:pt x="445" y="791"/>
                    </a:lnTo>
                    <a:lnTo>
                      <a:pt x="435" y="784"/>
                    </a:lnTo>
                    <a:lnTo>
                      <a:pt x="428" y="774"/>
                    </a:lnTo>
                    <a:lnTo>
                      <a:pt x="426" y="761"/>
                    </a:lnTo>
                    <a:lnTo>
                      <a:pt x="424" y="742"/>
                    </a:lnTo>
                    <a:lnTo>
                      <a:pt x="423" y="727"/>
                    </a:lnTo>
                    <a:lnTo>
                      <a:pt x="418" y="707"/>
                    </a:lnTo>
                    <a:lnTo>
                      <a:pt x="411" y="686"/>
                    </a:lnTo>
                    <a:lnTo>
                      <a:pt x="403" y="666"/>
                    </a:lnTo>
                    <a:lnTo>
                      <a:pt x="395" y="648"/>
                    </a:lnTo>
                    <a:lnTo>
                      <a:pt x="390" y="627"/>
                    </a:lnTo>
                    <a:lnTo>
                      <a:pt x="386" y="604"/>
                    </a:lnTo>
                    <a:lnTo>
                      <a:pt x="384" y="582"/>
                    </a:lnTo>
                    <a:lnTo>
                      <a:pt x="382" y="561"/>
                    </a:lnTo>
                    <a:lnTo>
                      <a:pt x="384" y="543"/>
                    </a:lnTo>
                    <a:lnTo>
                      <a:pt x="386" y="527"/>
                    </a:lnTo>
                    <a:lnTo>
                      <a:pt x="392" y="516"/>
                    </a:lnTo>
                    <a:lnTo>
                      <a:pt x="398" y="510"/>
                    </a:lnTo>
                    <a:lnTo>
                      <a:pt x="403" y="507"/>
                    </a:lnTo>
                    <a:lnTo>
                      <a:pt x="406" y="505"/>
                    </a:lnTo>
                    <a:lnTo>
                      <a:pt x="405" y="499"/>
                    </a:lnTo>
                    <a:lnTo>
                      <a:pt x="398" y="494"/>
                    </a:lnTo>
                    <a:lnTo>
                      <a:pt x="389" y="485"/>
                    </a:lnTo>
                    <a:lnTo>
                      <a:pt x="381" y="476"/>
                    </a:lnTo>
                    <a:lnTo>
                      <a:pt x="374" y="465"/>
                    </a:lnTo>
                    <a:lnTo>
                      <a:pt x="369" y="455"/>
                    </a:lnTo>
                    <a:lnTo>
                      <a:pt x="368" y="445"/>
                    </a:lnTo>
                    <a:lnTo>
                      <a:pt x="368" y="439"/>
                    </a:lnTo>
                    <a:lnTo>
                      <a:pt x="367" y="434"/>
                    </a:lnTo>
                    <a:lnTo>
                      <a:pt x="365" y="430"/>
                    </a:lnTo>
                    <a:lnTo>
                      <a:pt x="364" y="427"/>
                    </a:lnTo>
                    <a:lnTo>
                      <a:pt x="361" y="426"/>
                    </a:lnTo>
                    <a:lnTo>
                      <a:pt x="355" y="423"/>
                    </a:lnTo>
                    <a:lnTo>
                      <a:pt x="346" y="417"/>
                    </a:lnTo>
                    <a:lnTo>
                      <a:pt x="336" y="409"/>
                    </a:lnTo>
                    <a:lnTo>
                      <a:pt x="328" y="399"/>
                    </a:lnTo>
                    <a:lnTo>
                      <a:pt x="325" y="390"/>
                    </a:lnTo>
                    <a:lnTo>
                      <a:pt x="325" y="385"/>
                    </a:lnTo>
                    <a:lnTo>
                      <a:pt x="330" y="381"/>
                    </a:lnTo>
                    <a:lnTo>
                      <a:pt x="340" y="378"/>
                    </a:lnTo>
                    <a:lnTo>
                      <a:pt x="352" y="377"/>
                    </a:lnTo>
                    <a:lnTo>
                      <a:pt x="372" y="376"/>
                    </a:lnTo>
                    <a:lnTo>
                      <a:pt x="386" y="372"/>
                    </a:lnTo>
                    <a:lnTo>
                      <a:pt x="397" y="367"/>
                    </a:lnTo>
                    <a:lnTo>
                      <a:pt x="399" y="359"/>
                    </a:lnTo>
                    <a:lnTo>
                      <a:pt x="398" y="351"/>
                    </a:lnTo>
                    <a:lnTo>
                      <a:pt x="389" y="343"/>
                    </a:lnTo>
                    <a:lnTo>
                      <a:pt x="374" y="335"/>
                    </a:lnTo>
                    <a:lnTo>
                      <a:pt x="353" y="326"/>
                    </a:lnTo>
                    <a:lnTo>
                      <a:pt x="340" y="315"/>
                    </a:lnTo>
                    <a:lnTo>
                      <a:pt x="332" y="304"/>
                    </a:lnTo>
                    <a:lnTo>
                      <a:pt x="331" y="292"/>
                    </a:lnTo>
                    <a:lnTo>
                      <a:pt x="335" y="277"/>
                    </a:lnTo>
                    <a:lnTo>
                      <a:pt x="342" y="261"/>
                    </a:lnTo>
                    <a:lnTo>
                      <a:pt x="343" y="248"/>
                    </a:lnTo>
                    <a:lnTo>
                      <a:pt x="342" y="239"/>
                    </a:lnTo>
                    <a:lnTo>
                      <a:pt x="335" y="231"/>
                    </a:lnTo>
                    <a:lnTo>
                      <a:pt x="311" y="219"/>
                    </a:lnTo>
                    <a:lnTo>
                      <a:pt x="306" y="210"/>
                    </a:lnTo>
                    <a:lnTo>
                      <a:pt x="306" y="201"/>
                    </a:lnTo>
                    <a:lnTo>
                      <a:pt x="311" y="191"/>
                    </a:lnTo>
                    <a:lnTo>
                      <a:pt x="325" y="181"/>
                    </a:lnTo>
                    <a:lnTo>
                      <a:pt x="334" y="173"/>
                    </a:lnTo>
                    <a:lnTo>
                      <a:pt x="342" y="164"/>
                    </a:lnTo>
                    <a:lnTo>
                      <a:pt x="344" y="158"/>
                    </a:lnTo>
                    <a:lnTo>
                      <a:pt x="342" y="148"/>
                    </a:lnTo>
                    <a:lnTo>
                      <a:pt x="332" y="139"/>
                    </a:lnTo>
                    <a:lnTo>
                      <a:pt x="319" y="130"/>
                    </a:lnTo>
                    <a:lnTo>
                      <a:pt x="304" y="121"/>
                    </a:lnTo>
                    <a:lnTo>
                      <a:pt x="285" y="113"/>
                    </a:lnTo>
                    <a:lnTo>
                      <a:pt x="265" y="106"/>
                    </a:lnTo>
                    <a:lnTo>
                      <a:pt x="251" y="102"/>
                    </a:lnTo>
                    <a:lnTo>
                      <a:pt x="240" y="99"/>
                    </a:lnTo>
                    <a:lnTo>
                      <a:pt x="235" y="93"/>
                    </a:lnTo>
                    <a:lnTo>
                      <a:pt x="233" y="87"/>
                    </a:lnTo>
                    <a:lnTo>
                      <a:pt x="233" y="79"/>
                    </a:lnTo>
                    <a:lnTo>
                      <a:pt x="234" y="66"/>
                    </a:lnTo>
                    <a:lnTo>
                      <a:pt x="238" y="35"/>
                    </a:lnTo>
                    <a:lnTo>
                      <a:pt x="173" y="22"/>
                    </a:lnTo>
                    <a:lnTo>
                      <a:pt x="150" y="18"/>
                    </a:lnTo>
                    <a:lnTo>
                      <a:pt x="125" y="14"/>
                    </a:lnTo>
                    <a:lnTo>
                      <a:pt x="99" y="10"/>
                    </a:lnTo>
                    <a:lnTo>
                      <a:pt x="75" y="8"/>
                    </a:lnTo>
                    <a:lnTo>
                      <a:pt x="54" y="5"/>
                    </a:lnTo>
                    <a:lnTo>
                      <a:pt x="0" y="0"/>
                    </a:lnTo>
                    <a:lnTo>
                      <a:pt x="0" y="53"/>
                    </a:lnTo>
                    <a:lnTo>
                      <a:pt x="1" y="75"/>
                    </a:lnTo>
                    <a:lnTo>
                      <a:pt x="3" y="96"/>
                    </a:lnTo>
                    <a:lnTo>
                      <a:pt x="5" y="112"/>
                    </a:lnTo>
                    <a:lnTo>
                      <a:pt x="8" y="122"/>
                    </a:lnTo>
                    <a:lnTo>
                      <a:pt x="14" y="130"/>
                    </a:lnTo>
                    <a:lnTo>
                      <a:pt x="28" y="139"/>
                    </a:lnTo>
                    <a:lnTo>
                      <a:pt x="43" y="150"/>
                    </a:lnTo>
                    <a:lnTo>
                      <a:pt x="60" y="159"/>
                    </a:lnTo>
                    <a:lnTo>
                      <a:pt x="83" y="169"/>
                    </a:lnTo>
                    <a:lnTo>
                      <a:pt x="99" y="179"/>
                    </a:lnTo>
                    <a:lnTo>
                      <a:pt x="109" y="187"/>
                    </a:lnTo>
                    <a:lnTo>
                      <a:pt x="116" y="194"/>
                    </a:lnTo>
                    <a:lnTo>
                      <a:pt x="117" y="202"/>
                    </a:lnTo>
                    <a:lnTo>
                      <a:pt x="114" y="212"/>
                    </a:lnTo>
                    <a:lnTo>
                      <a:pt x="109" y="221"/>
                    </a:lnTo>
                    <a:lnTo>
                      <a:pt x="101" y="235"/>
                    </a:lnTo>
                    <a:lnTo>
                      <a:pt x="97" y="247"/>
                    </a:lnTo>
                    <a:lnTo>
                      <a:pt x="99" y="258"/>
                    </a:lnTo>
                    <a:lnTo>
                      <a:pt x="105" y="267"/>
                    </a:lnTo>
                    <a:lnTo>
                      <a:pt x="117" y="277"/>
                    </a:lnTo>
                    <a:lnTo>
                      <a:pt x="135" y="288"/>
                    </a:lnTo>
                    <a:lnTo>
                      <a:pt x="176" y="310"/>
                    </a:lnTo>
                    <a:lnTo>
                      <a:pt x="173" y="398"/>
                    </a:lnTo>
                    <a:lnTo>
                      <a:pt x="172" y="487"/>
                    </a:lnTo>
                    <a:lnTo>
                      <a:pt x="214" y="535"/>
                    </a:lnTo>
                    <a:lnTo>
                      <a:pt x="226" y="545"/>
                    </a:lnTo>
                    <a:lnTo>
                      <a:pt x="236" y="554"/>
                    </a:lnTo>
                    <a:lnTo>
                      <a:pt x="246" y="562"/>
                    </a:lnTo>
                    <a:lnTo>
                      <a:pt x="252" y="568"/>
                    </a:lnTo>
                    <a:lnTo>
                      <a:pt x="260" y="573"/>
                    </a:lnTo>
                    <a:lnTo>
                      <a:pt x="265" y="581"/>
                    </a:lnTo>
                    <a:lnTo>
                      <a:pt x="269" y="593"/>
                    </a:lnTo>
                    <a:lnTo>
                      <a:pt x="272" y="610"/>
                    </a:lnTo>
                    <a:lnTo>
                      <a:pt x="277" y="660"/>
                    </a:lnTo>
                    <a:lnTo>
                      <a:pt x="281" y="685"/>
                    </a:lnTo>
                    <a:lnTo>
                      <a:pt x="285" y="706"/>
                    </a:lnTo>
                    <a:lnTo>
                      <a:pt x="290" y="721"/>
                    </a:lnTo>
                    <a:lnTo>
                      <a:pt x="306" y="748"/>
                    </a:lnTo>
                    <a:lnTo>
                      <a:pt x="330" y="774"/>
                    </a:lnTo>
                    <a:lnTo>
                      <a:pt x="361" y="802"/>
                    </a:lnTo>
                    <a:lnTo>
                      <a:pt x="402" y="830"/>
                    </a:lnTo>
                    <a:lnTo>
                      <a:pt x="451" y="859"/>
                    </a:lnTo>
                    <a:lnTo>
                      <a:pt x="469" y="869"/>
                    </a:lnTo>
                    <a:lnTo>
                      <a:pt x="482" y="876"/>
                    </a:lnTo>
                    <a:lnTo>
                      <a:pt x="494" y="880"/>
                    </a:lnTo>
                    <a:lnTo>
                      <a:pt x="494" y="879"/>
                    </a:lnTo>
                    <a:lnTo>
                      <a:pt x="491" y="874"/>
                    </a:lnTo>
                    <a:lnTo>
                      <a:pt x="485" y="86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3" name="Freeform 57"/>
              <p:cNvSpPr>
                <a:spLocks/>
              </p:cNvSpPr>
              <p:nvPr/>
            </p:nvSpPr>
            <p:spPr bwMode="auto">
              <a:xfrm>
                <a:off x="6734175" y="1138238"/>
                <a:ext cx="784225" cy="1395413"/>
              </a:xfrm>
              <a:custGeom>
                <a:avLst/>
                <a:gdLst/>
                <a:ahLst/>
                <a:cxnLst>
                  <a:cxn ang="0">
                    <a:pos x="156" y="782"/>
                  </a:cxn>
                  <a:cxn ang="0">
                    <a:pos x="202" y="720"/>
                  </a:cxn>
                  <a:cxn ang="0">
                    <a:pos x="219" y="635"/>
                  </a:cxn>
                  <a:cxn ang="0">
                    <a:pos x="229" y="581"/>
                  </a:cxn>
                  <a:cxn ang="0">
                    <a:pos x="248" y="562"/>
                  </a:cxn>
                  <a:cxn ang="0">
                    <a:pos x="280" y="535"/>
                  </a:cxn>
                  <a:cxn ang="0">
                    <a:pos x="318" y="310"/>
                  </a:cxn>
                  <a:cxn ang="0">
                    <a:pos x="389" y="267"/>
                  </a:cxn>
                  <a:cxn ang="0">
                    <a:pos x="393" y="235"/>
                  </a:cxn>
                  <a:cxn ang="0">
                    <a:pos x="377" y="202"/>
                  </a:cxn>
                  <a:cxn ang="0">
                    <a:pos x="395" y="179"/>
                  </a:cxn>
                  <a:cxn ang="0">
                    <a:pos x="451" y="150"/>
                  </a:cxn>
                  <a:cxn ang="0">
                    <a:pos x="486" y="122"/>
                  </a:cxn>
                  <a:cxn ang="0">
                    <a:pos x="493" y="75"/>
                  </a:cxn>
                  <a:cxn ang="0">
                    <a:pos x="440" y="5"/>
                  </a:cxn>
                  <a:cxn ang="0">
                    <a:pos x="369" y="14"/>
                  </a:cxn>
                  <a:cxn ang="0">
                    <a:pos x="256" y="35"/>
                  </a:cxn>
                  <a:cxn ang="0">
                    <a:pos x="261" y="87"/>
                  </a:cxn>
                  <a:cxn ang="0">
                    <a:pos x="243" y="102"/>
                  </a:cxn>
                  <a:cxn ang="0">
                    <a:pos x="190" y="121"/>
                  </a:cxn>
                  <a:cxn ang="0">
                    <a:pos x="152" y="148"/>
                  </a:cxn>
                  <a:cxn ang="0">
                    <a:pos x="160" y="173"/>
                  </a:cxn>
                  <a:cxn ang="0">
                    <a:pos x="188" y="201"/>
                  </a:cxn>
                  <a:cxn ang="0">
                    <a:pos x="159" y="231"/>
                  </a:cxn>
                  <a:cxn ang="0">
                    <a:pos x="152" y="261"/>
                  </a:cxn>
                  <a:cxn ang="0">
                    <a:pos x="162" y="304"/>
                  </a:cxn>
                  <a:cxn ang="0">
                    <a:pos x="120" y="335"/>
                  </a:cxn>
                  <a:cxn ang="0">
                    <a:pos x="95" y="359"/>
                  </a:cxn>
                  <a:cxn ang="0">
                    <a:pos x="122" y="376"/>
                  </a:cxn>
                  <a:cxn ang="0">
                    <a:pos x="164" y="381"/>
                  </a:cxn>
                  <a:cxn ang="0">
                    <a:pos x="166" y="399"/>
                  </a:cxn>
                  <a:cxn ang="0">
                    <a:pos x="139" y="423"/>
                  </a:cxn>
                  <a:cxn ang="0">
                    <a:pos x="129" y="430"/>
                  </a:cxn>
                  <a:cxn ang="0">
                    <a:pos x="126" y="445"/>
                  </a:cxn>
                  <a:cxn ang="0">
                    <a:pos x="113" y="476"/>
                  </a:cxn>
                  <a:cxn ang="0">
                    <a:pos x="89" y="499"/>
                  </a:cxn>
                  <a:cxn ang="0">
                    <a:pos x="96" y="510"/>
                  </a:cxn>
                  <a:cxn ang="0">
                    <a:pos x="110" y="543"/>
                  </a:cxn>
                  <a:cxn ang="0">
                    <a:pos x="108" y="604"/>
                  </a:cxn>
                  <a:cxn ang="0">
                    <a:pos x="91" y="666"/>
                  </a:cxn>
                  <a:cxn ang="0">
                    <a:pos x="71" y="727"/>
                  </a:cxn>
                  <a:cxn ang="0">
                    <a:pos x="66" y="774"/>
                  </a:cxn>
                  <a:cxn ang="0">
                    <a:pos x="34" y="795"/>
                  </a:cxn>
                  <a:cxn ang="0">
                    <a:pos x="20" y="812"/>
                  </a:cxn>
                  <a:cxn ang="0">
                    <a:pos x="8" y="867"/>
                  </a:cxn>
                  <a:cxn ang="0">
                    <a:pos x="1" y="879"/>
                  </a:cxn>
                  <a:cxn ang="0">
                    <a:pos x="30" y="866"/>
                  </a:cxn>
                  <a:cxn ang="0">
                    <a:pos x="85" y="834"/>
                  </a:cxn>
                </a:cxnLst>
                <a:rect l="0" t="0" r="r" b="b"/>
                <a:pathLst>
                  <a:path w="494" h="879">
                    <a:moveTo>
                      <a:pt x="102" y="824"/>
                    </a:moveTo>
                    <a:lnTo>
                      <a:pt x="133" y="803"/>
                    </a:lnTo>
                    <a:lnTo>
                      <a:pt x="156" y="782"/>
                    </a:lnTo>
                    <a:lnTo>
                      <a:pt x="176" y="762"/>
                    </a:lnTo>
                    <a:lnTo>
                      <a:pt x="192" y="742"/>
                    </a:lnTo>
                    <a:lnTo>
                      <a:pt x="202" y="720"/>
                    </a:lnTo>
                    <a:lnTo>
                      <a:pt x="210" y="695"/>
                    </a:lnTo>
                    <a:lnTo>
                      <a:pt x="215" y="667"/>
                    </a:lnTo>
                    <a:lnTo>
                      <a:pt x="219" y="635"/>
                    </a:lnTo>
                    <a:lnTo>
                      <a:pt x="222" y="610"/>
                    </a:lnTo>
                    <a:lnTo>
                      <a:pt x="225" y="593"/>
                    </a:lnTo>
                    <a:lnTo>
                      <a:pt x="229" y="581"/>
                    </a:lnTo>
                    <a:lnTo>
                      <a:pt x="234" y="573"/>
                    </a:lnTo>
                    <a:lnTo>
                      <a:pt x="242" y="568"/>
                    </a:lnTo>
                    <a:lnTo>
                      <a:pt x="248" y="562"/>
                    </a:lnTo>
                    <a:lnTo>
                      <a:pt x="258" y="554"/>
                    </a:lnTo>
                    <a:lnTo>
                      <a:pt x="268" y="545"/>
                    </a:lnTo>
                    <a:lnTo>
                      <a:pt x="280" y="535"/>
                    </a:lnTo>
                    <a:lnTo>
                      <a:pt x="322" y="487"/>
                    </a:lnTo>
                    <a:lnTo>
                      <a:pt x="321" y="398"/>
                    </a:lnTo>
                    <a:lnTo>
                      <a:pt x="318" y="310"/>
                    </a:lnTo>
                    <a:lnTo>
                      <a:pt x="359" y="288"/>
                    </a:lnTo>
                    <a:lnTo>
                      <a:pt x="377" y="277"/>
                    </a:lnTo>
                    <a:lnTo>
                      <a:pt x="389" y="267"/>
                    </a:lnTo>
                    <a:lnTo>
                      <a:pt x="395" y="258"/>
                    </a:lnTo>
                    <a:lnTo>
                      <a:pt x="397" y="247"/>
                    </a:lnTo>
                    <a:lnTo>
                      <a:pt x="393" y="235"/>
                    </a:lnTo>
                    <a:lnTo>
                      <a:pt x="385" y="221"/>
                    </a:lnTo>
                    <a:lnTo>
                      <a:pt x="380" y="212"/>
                    </a:lnTo>
                    <a:lnTo>
                      <a:pt x="377" y="202"/>
                    </a:lnTo>
                    <a:lnTo>
                      <a:pt x="378" y="194"/>
                    </a:lnTo>
                    <a:lnTo>
                      <a:pt x="385" y="187"/>
                    </a:lnTo>
                    <a:lnTo>
                      <a:pt x="395" y="179"/>
                    </a:lnTo>
                    <a:lnTo>
                      <a:pt x="411" y="169"/>
                    </a:lnTo>
                    <a:lnTo>
                      <a:pt x="434" y="159"/>
                    </a:lnTo>
                    <a:lnTo>
                      <a:pt x="451" y="150"/>
                    </a:lnTo>
                    <a:lnTo>
                      <a:pt x="466" y="139"/>
                    </a:lnTo>
                    <a:lnTo>
                      <a:pt x="480" y="130"/>
                    </a:lnTo>
                    <a:lnTo>
                      <a:pt x="486" y="122"/>
                    </a:lnTo>
                    <a:lnTo>
                      <a:pt x="489" y="112"/>
                    </a:lnTo>
                    <a:lnTo>
                      <a:pt x="491" y="96"/>
                    </a:lnTo>
                    <a:lnTo>
                      <a:pt x="493" y="75"/>
                    </a:lnTo>
                    <a:lnTo>
                      <a:pt x="494" y="53"/>
                    </a:lnTo>
                    <a:lnTo>
                      <a:pt x="494" y="0"/>
                    </a:lnTo>
                    <a:lnTo>
                      <a:pt x="440" y="5"/>
                    </a:lnTo>
                    <a:lnTo>
                      <a:pt x="419" y="8"/>
                    </a:lnTo>
                    <a:lnTo>
                      <a:pt x="395" y="10"/>
                    </a:lnTo>
                    <a:lnTo>
                      <a:pt x="369" y="14"/>
                    </a:lnTo>
                    <a:lnTo>
                      <a:pt x="344" y="18"/>
                    </a:lnTo>
                    <a:lnTo>
                      <a:pt x="321" y="22"/>
                    </a:lnTo>
                    <a:lnTo>
                      <a:pt x="256" y="35"/>
                    </a:lnTo>
                    <a:lnTo>
                      <a:pt x="260" y="66"/>
                    </a:lnTo>
                    <a:lnTo>
                      <a:pt x="261" y="79"/>
                    </a:lnTo>
                    <a:lnTo>
                      <a:pt x="261" y="87"/>
                    </a:lnTo>
                    <a:lnTo>
                      <a:pt x="259" y="93"/>
                    </a:lnTo>
                    <a:lnTo>
                      <a:pt x="254" y="99"/>
                    </a:lnTo>
                    <a:lnTo>
                      <a:pt x="243" y="102"/>
                    </a:lnTo>
                    <a:lnTo>
                      <a:pt x="229" y="106"/>
                    </a:lnTo>
                    <a:lnTo>
                      <a:pt x="209" y="113"/>
                    </a:lnTo>
                    <a:lnTo>
                      <a:pt x="190" y="121"/>
                    </a:lnTo>
                    <a:lnTo>
                      <a:pt x="175" y="130"/>
                    </a:lnTo>
                    <a:lnTo>
                      <a:pt x="162" y="139"/>
                    </a:lnTo>
                    <a:lnTo>
                      <a:pt x="152" y="148"/>
                    </a:lnTo>
                    <a:lnTo>
                      <a:pt x="150" y="158"/>
                    </a:lnTo>
                    <a:lnTo>
                      <a:pt x="152" y="164"/>
                    </a:lnTo>
                    <a:lnTo>
                      <a:pt x="160" y="173"/>
                    </a:lnTo>
                    <a:lnTo>
                      <a:pt x="169" y="181"/>
                    </a:lnTo>
                    <a:lnTo>
                      <a:pt x="183" y="191"/>
                    </a:lnTo>
                    <a:lnTo>
                      <a:pt x="188" y="201"/>
                    </a:lnTo>
                    <a:lnTo>
                      <a:pt x="188" y="210"/>
                    </a:lnTo>
                    <a:lnTo>
                      <a:pt x="183" y="219"/>
                    </a:lnTo>
                    <a:lnTo>
                      <a:pt x="159" y="231"/>
                    </a:lnTo>
                    <a:lnTo>
                      <a:pt x="152" y="239"/>
                    </a:lnTo>
                    <a:lnTo>
                      <a:pt x="151" y="248"/>
                    </a:lnTo>
                    <a:lnTo>
                      <a:pt x="152" y="261"/>
                    </a:lnTo>
                    <a:lnTo>
                      <a:pt x="159" y="277"/>
                    </a:lnTo>
                    <a:lnTo>
                      <a:pt x="163" y="292"/>
                    </a:lnTo>
                    <a:lnTo>
                      <a:pt x="162" y="304"/>
                    </a:lnTo>
                    <a:lnTo>
                      <a:pt x="154" y="315"/>
                    </a:lnTo>
                    <a:lnTo>
                      <a:pt x="141" y="326"/>
                    </a:lnTo>
                    <a:lnTo>
                      <a:pt x="120" y="335"/>
                    </a:lnTo>
                    <a:lnTo>
                      <a:pt x="105" y="343"/>
                    </a:lnTo>
                    <a:lnTo>
                      <a:pt x="96" y="351"/>
                    </a:lnTo>
                    <a:lnTo>
                      <a:pt x="95" y="359"/>
                    </a:lnTo>
                    <a:lnTo>
                      <a:pt x="97" y="367"/>
                    </a:lnTo>
                    <a:lnTo>
                      <a:pt x="108" y="372"/>
                    </a:lnTo>
                    <a:lnTo>
                      <a:pt x="122" y="376"/>
                    </a:lnTo>
                    <a:lnTo>
                      <a:pt x="142" y="377"/>
                    </a:lnTo>
                    <a:lnTo>
                      <a:pt x="154" y="378"/>
                    </a:lnTo>
                    <a:lnTo>
                      <a:pt x="164" y="381"/>
                    </a:lnTo>
                    <a:lnTo>
                      <a:pt x="169" y="385"/>
                    </a:lnTo>
                    <a:lnTo>
                      <a:pt x="169" y="390"/>
                    </a:lnTo>
                    <a:lnTo>
                      <a:pt x="166" y="399"/>
                    </a:lnTo>
                    <a:lnTo>
                      <a:pt x="158" y="409"/>
                    </a:lnTo>
                    <a:lnTo>
                      <a:pt x="148" y="417"/>
                    </a:lnTo>
                    <a:lnTo>
                      <a:pt x="139" y="423"/>
                    </a:lnTo>
                    <a:lnTo>
                      <a:pt x="133" y="426"/>
                    </a:lnTo>
                    <a:lnTo>
                      <a:pt x="130" y="427"/>
                    </a:lnTo>
                    <a:lnTo>
                      <a:pt x="129" y="430"/>
                    </a:lnTo>
                    <a:lnTo>
                      <a:pt x="127" y="434"/>
                    </a:lnTo>
                    <a:lnTo>
                      <a:pt x="126" y="439"/>
                    </a:lnTo>
                    <a:lnTo>
                      <a:pt x="126" y="445"/>
                    </a:lnTo>
                    <a:lnTo>
                      <a:pt x="125" y="455"/>
                    </a:lnTo>
                    <a:lnTo>
                      <a:pt x="120" y="465"/>
                    </a:lnTo>
                    <a:lnTo>
                      <a:pt x="113" y="476"/>
                    </a:lnTo>
                    <a:lnTo>
                      <a:pt x="105" y="485"/>
                    </a:lnTo>
                    <a:lnTo>
                      <a:pt x="96" y="494"/>
                    </a:lnTo>
                    <a:lnTo>
                      <a:pt x="89" y="499"/>
                    </a:lnTo>
                    <a:lnTo>
                      <a:pt x="88" y="505"/>
                    </a:lnTo>
                    <a:lnTo>
                      <a:pt x="91" y="507"/>
                    </a:lnTo>
                    <a:lnTo>
                      <a:pt x="96" y="510"/>
                    </a:lnTo>
                    <a:lnTo>
                      <a:pt x="102" y="516"/>
                    </a:lnTo>
                    <a:lnTo>
                      <a:pt x="108" y="527"/>
                    </a:lnTo>
                    <a:lnTo>
                      <a:pt x="110" y="543"/>
                    </a:lnTo>
                    <a:lnTo>
                      <a:pt x="112" y="561"/>
                    </a:lnTo>
                    <a:lnTo>
                      <a:pt x="110" y="582"/>
                    </a:lnTo>
                    <a:lnTo>
                      <a:pt x="108" y="604"/>
                    </a:lnTo>
                    <a:lnTo>
                      <a:pt x="104" y="627"/>
                    </a:lnTo>
                    <a:lnTo>
                      <a:pt x="99" y="648"/>
                    </a:lnTo>
                    <a:lnTo>
                      <a:pt x="91" y="666"/>
                    </a:lnTo>
                    <a:lnTo>
                      <a:pt x="83" y="686"/>
                    </a:lnTo>
                    <a:lnTo>
                      <a:pt x="76" y="707"/>
                    </a:lnTo>
                    <a:lnTo>
                      <a:pt x="71" y="727"/>
                    </a:lnTo>
                    <a:lnTo>
                      <a:pt x="70" y="742"/>
                    </a:lnTo>
                    <a:lnTo>
                      <a:pt x="68" y="761"/>
                    </a:lnTo>
                    <a:lnTo>
                      <a:pt x="66" y="774"/>
                    </a:lnTo>
                    <a:lnTo>
                      <a:pt x="59" y="784"/>
                    </a:lnTo>
                    <a:lnTo>
                      <a:pt x="49" y="791"/>
                    </a:lnTo>
                    <a:lnTo>
                      <a:pt x="34" y="795"/>
                    </a:lnTo>
                    <a:lnTo>
                      <a:pt x="26" y="798"/>
                    </a:lnTo>
                    <a:lnTo>
                      <a:pt x="21" y="803"/>
                    </a:lnTo>
                    <a:lnTo>
                      <a:pt x="20" y="812"/>
                    </a:lnTo>
                    <a:lnTo>
                      <a:pt x="20" y="842"/>
                    </a:lnTo>
                    <a:lnTo>
                      <a:pt x="16" y="855"/>
                    </a:lnTo>
                    <a:lnTo>
                      <a:pt x="8" y="867"/>
                    </a:lnTo>
                    <a:lnTo>
                      <a:pt x="3" y="874"/>
                    </a:lnTo>
                    <a:lnTo>
                      <a:pt x="0" y="878"/>
                    </a:lnTo>
                    <a:lnTo>
                      <a:pt x="1" y="879"/>
                    </a:lnTo>
                    <a:lnTo>
                      <a:pt x="7" y="878"/>
                    </a:lnTo>
                    <a:lnTo>
                      <a:pt x="16" y="872"/>
                    </a:lnTo>
                    <a:lnTo>
                      <a:pt x="30" y="866"/>
                    </a:lnTo>
                    <a:lnTo>
                      <a:pt x="47" y="857"/>
                    </a:lnTo>
                    <a:lnTo>
                      <a:pt x="67" y="846"/>
                    </a:lnTo>
                    <a:lnTo>
                      <a:pt x="85" y="834"/>
                    </a:lnTo>
                    <a:lnTo>
                      <a:pt x="102" y="82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4" name="Freeform 66"/>
              <p:cNvSpPr>
                <a:spLocks/>
              </p:cNvSpPr>
              <p:nvPr/>
            </p:nvSpPr>
            <p:spPr bwMode="auto">
              <a:xfrm>
                <a:off x="1404938" y="698500"/>
                <a:ext cx="546100" cy="477838"/>
              </a:xfrm>
              <a:custGeom>
                <a:avLst/>
                <a:gdLst/>
                <a:ahLst/>
                <a:cxnLst>
                  <a:cxn ang="0">
                    <a:pos x="301" y="277"/>
                  </a:cxn>
                  <a:cxn ang="0">
                    <a:pos x="311" y="265"/>
                  </a:cxn>
                  <a:cxn ang="0">
                    <a:pos x="320" y="260"/>
                  </a:cxn>
                  <a:cxn ang="0">
                    <a:pos x="328" y="251"/>
                  </a:cxn>
                  <a:cxn ang="0">
                    <a:pos x="334" y="239"/>
                  </a:cxn>
                  <a:cxn ang="0">
                    <a:pos x="330" y="224"/>
                  </a:cxn>
                  <a:cxn ang="0">
                    <a:pos x="313" y="202"/>
                  </a:cxn>
                  <a:cxn ang="0">
                    <a:pos x="284" y="169"/>
                  </a:cxn>
                  <a:cxn ang="0">
                    <a:pos x="267" y="147"/>
                  </a:cxn>
                  <a:cxn ang="0">
                    <a:pos x="269" y="135"/>
                  </a:cxn>
                  <a:cxn ang="0">
                    <a:pos x="290" y="127"/>
                  </a:cxn>
                  <a:cxn ang="0">
                    <a:pos x="319" y="119"/>
                  </a:cxn>
                  <a:cxn ang="0">
                    <a:pos x="339" y="111"/>
                  </a:cxn>
                  <a:cxn ang="0">
                    <a:pos x="344" y="104"/>
                  </a:cxn>
                  <a:cxn ang="0">
                    <a:pos x="338" y="94"/>
                  </a:cxn>
                  <a:cxn ang="0">
                    <a:pos x="315" y="79"/>
                  </a:cxn>
                  <a:cxn ang="0">
                    <a:pos x="272" y="55"/>
                  </a:cxn>
                  <a:cxn ang="0">
                    <a:pos x="213" y="25"/>
                  </a:cxn>
                  <a:cxn ang="0">
                    <a:pos x="172" y="6"/>
                  </a:cxn>
                  <a:cxn ang="0">
                    <a:pos x="150" y="0"/>
                  </a:cxn>
                  <a:cxn ang="0">
                    <a:pos x="140" y="4"/>
                  </a:cxn>
                  <a:cxn ang="0">
                    <a:pos x="138" y="15"/>
                  </a:cxn>
                  <a:cxn ang="0">
                    <a:pos x="118" y="22"/>
                  </a:cxn>
                  <a:cxn ang="0">
                    <a:pos x="76" y="23"/>
                  </a:cxn>
                  <a:cxn ang="0">
                    <a:pos x="50" y="38"/>
                  </a:cxn>
                  <a:cxn ang="0">
                    <a:pos x="39" y="76"/>
                  </a:cxn>
                  <a:cxn ang="0">
                    <a:pos x="33" y="110"/>
                  </a:cxn>
                  <a:cxn ang="0">
                    <a:pos x="18" y="148"/>
                  </a:cxn>
                  <a:cxn ang="0">
                    <a:pos x="30" y="228"/>
                  </a:cxn>
                  <a:cxn ang="0">
                    <a:pos x="126" y="274"/>
                  </a:cxn>
                  <a:cxn ang="0">
                    <a:pos x="185" y="281"/>
                  </a:cxn>
                  <a:cxn ang="0">
                    <a:pos x="257" y="295"/>
                  </a:cxn>
                  <a:cxn ang="0">
                    <a:pos x="286" y="301"/>
                  </a:cxn>
                  <a:cxn ang="0">
                    <a:pos x="297" y="298"/>
                  </a:cxn>
                  <a:cxn ang="0">
                    <a:pos x="299" y="286"/>
                  </a:cxn>
                </a:cxnLst>
                <a:rect l="0" t="0" r="r" b="b"/>
                <a:pathLst>
                  <a:path w="344" h="301">
                    <a:moveTo>
                      <a:pt x="299" y="286"/>
                    </a:moveTo>
                    <a:lnTo>
                      <a:pt x="301" y="277"/>
                    </a:lnTo>
                    <a:lnTo>
                      <a:pt x="305" y="269"/>
                    </a:lnTo>
                    <a:lnTo>
                      <a:pt x="311" y="265"/>
                    </a:lnTo>
                    <a:lnTo>
                      <a:pt x="315" y="263"/>
                    </a:lnTo>
                    <a:lnTo>
                      <a:pt x="320" y="260"/>
                    </a:lnTo>
                    <a:lnTo>
                      <a:pt x="324" y="256"/>
                    </a:lnTo>
                    <a:lnTo>
                      <a:pt x="328" y="251"/>
                    </a:lnTo>
                    <a:lnTo>
                      <a:pt x="331" y="245"/>
                    </a:lnTo>
                    <a:lnTo>
                      <a:pt x="334" y="239"/>
                    </a:lnTo>
                    <a:lnTo>
                      <a:pt x="334" y="234"/>
                    </a:lnTo>
                    <a:lnTo>
                      <a:pt x="330" y="224"/>
                    </a:lnTo>
                    <a:lnTo>
                      <a:pt x="323" y="215"/>
                    </a:lnTo>
                    <a:lnTo>
                      <a:pt x="313" y="202"/>
                    </a:lnTo>
                    <a:lnTo>
                      <a:pt x="298" y="185"/>
                    </a:lnTo>
                    <a:lnTo>
                      <a:pt x="284" y="169"/>
                    </a:lnTo>
                    <a:lnTo>
                      <a:pt x="273" y="156"/>
                    </a:lnTo>
                    <a:lnTo>
                      <a:pt x="267" y="147"/>
                    </a:lnTo>
                    <a:lnTo>
                      <a:pt x="265" y="140"/>
                    </a:lnTo>
                    <a:lnTo>
                      <a:pt x="269" y="135"/>
                    </a:lnTo>
                    <a:lnTo>
                      <a:pt x="277" y="131"/>
                    </a:lnTo>
                    <a:lnTo>
                      <a:pt x="290" y="127"/>
                    </a:lnTo>
                    <a:lnTo>
                      <a:pt x="307" y="123"/>
                    </a:lnTo>
                    <a:lnTo>
                      <a:pt x="319" y="119"/>
                    </a:lnTo>
                    <a:lnTo>
                      <a:pt x="330" y="115"/>
                    </a:lnTo>
                    <a:lnTo>
                      <a:pt x="339" y="111"/>
                    </a:lnTo>
                    <a:lnTo>
                      <a:pt x="343" y="107"/>
                    </a:lnTo>
                    <a:lnTo>
                      <a:pt x="344" y="104"/>
                    </a:lnTo>
                    <a:lnTo>
                      <a:pt x="343" y="100"/>
                    </a:lnTo>
                    <a:lnTo>
                      <a:pt x="338" y="94"/>
                    </a:lnTo>
                    <a:lnTo>
                      <a:pt x="328" y="88"/>
                    </a:lnTo>
                    <a:lnTo>
                      <a:pt x="315" y="79"/>
                    </a:lnTo>
                    <a:lnTo>
                      <a:pt x="295" y="68"/>
                    </a:lnTo>
                    <a:lnTo>
                      <a:pt x="272" y="55"/>
                    </a:lnTo>
                    <a:lnTo>
                      <a:pt x="240" y="39"/>
                    </a:lnTo>
                    <a:lnTo>
                      <a:pt x="213" y="25"/>
                    </a:lnTo>
                    <a:lnTo>
                      <a:pt x="190" y="14"/>
                    </a:lnTo>
                    <a:lnTo>
                      <a:pt x="172" y="6"/>
                    </a:lnTo>
                    <a:lnTo>
                      <a:pt x="159" y="1"/>
                    </a:lnTo>
                    <a:lnTo>
                      <a:pt x="150" y="0"/>
                    </a:lnTo>
                    <a:lnTo>
                      <a:pt x="143" y="0"/>
                    </a:lnTo>
                    <a:lnTo>
                      <a:pt x="140" y="4"/>
                    </a:lnTo>
                    <a:lnTo>
                      <a:pt x="139" y="10"/>
                    </a:lnTo>
                    <a:lnTo>
                      <a:pt x="138" y="15"/>
                    </a:lnTo>
                    <a:lnTo>
                      <a:pt x="131" y="19"/>
                    </a:lnTo>
                    <a:lnTo>
                      <a:pt x="118" y="22"/>
                    </a:lnTo>
                    <a:lnTo>
                      <a:pt x="100" y="22"/>
                    </a:lnTo>
                    <a:lnTo>
                      <a:pt x="76" y="23"/>
                    </a:lnTo>
                    <a:lnTo>
                      <a:pt x="60" y="29"/>
                    </a:lnTo>
                    <a:lnTo>
                      <a:pt x="50" y="38"/>
                    </a:lnTo>
                    <a:lnTo>
                      <a:pt x="43" y="54"/>
                    </a:lnTo>
                    <a:lnTo>
                      <a:pt x="39" y="76"/>
                    </a:lnTo>
                    <a:lnTo>
                      <a:pt x="37" y="92"/>
                    </a:lnTo>
                    <a:lnTo>
                      <a:pt x="33" y="110"/>
                    </a:lnTo>
                    <a:lnTo>
                      <a:pt x="26" y="130"/>
                    </a:lnTo>
                    <a:lnTo>
                      <a:pt x="18" y="148"/>
                    </a:lnTo>
                    <a:lnTo>
                      <a:pt x="0" y="189"/>
                    </a:lnTo>
                    <a:lnTo>
                      <a:pt x="30" y="228"/>
                    </a:lnTo>
                    <a:lnTo>
                      <a:pt x="60" y="269"/>
                    </a:lnTo>
                    <a:lnTo>
                      <a:pt x="126" y="274"/>
                    </a:lnTo>
                    <a:lnTo>
                      <a:pt x="155" y="277"/>
                    </a:lnTo>
                    <a:lnTo>
                      <a:pt x="185" y="281"/>
                    </a:lnTo>
                    <a:lnTo>
                      <a:pt x="213" y="285"/>
                    </a:lnTo>
                    <a:lnTo>
                      <a:pt x="257" y="295"/>
                    </a:lnTo>
                    <a:lnTo>
                      <a:pt x="274" y="299"/>
                    </a:lnTo>
                    <a:lnTo>
                      <a:pt x="286" y="301"/>
                    </a:lnTo>
                    <a:lnTo>
                      <a:pt x="293" y="301"/>
                    </a:lnTo>
                    <a:lnTo>
                      <a:pt x="297" y="298"/>
                    </a:lnTo>
                    <a:lnTo>
                      <a:pt x="299" y="293"/>
                    </a:lnTo>
                    <a:lnTo>
                      <a:pt x="299" y="28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5" name="Freeform 67"/>
              <p:cNvSpPr>
                <a:spLocks/>
              </p:cNvSpPr>
              <p:nvPr/>
            </p:nvSpPr>
            <p:spPr bwMode="auto">
              <a:xfrm>
                <a:off x="7065963" y="698500"/>
                <a:ext cx="546100" cy="479425"/>
              </a:xfrm>
              <a:custGeom>
                <a:avLst/>
                <a:gdLst/>
                <a:ahLst/>
                <a:cxnLst>
                  <a:cxn ang="0">
                    <a:pos x="129" y="286"/>
                  </a:cxn>
                  <a:cxn ang="0">
                    <a:pos x="189" y="277"/>
                  </a:cxn>
                  <a:cxn ang="0">
                    <a:pos x="284" y="269"/>
                  </a:cxn>
                  <a:cxn ang="0">
                    <a:pos x="344" y="189"/>
                  </a:cxn>
                  <a:cxn ang="0">
                    <a:pos x="318" y="130"/>
                  </a:cxn>
                  <a:cxn ang="0">
                    <a:pos x="307" y="92"/>
                  </a:cxn>
                  <a:cxn ang="0">
                    <a:pos x="301" y="54"/>
                  </a:cxn>
                  <a:cxn ang="0">
                    <a:pos x="284" y="29"/>
                  </a:cxn>
                  <a:cxn ang="0">
                    <a:pos x="244" y="22"/>
                  </a:cxn>
                  <a:cxn ang="0">
                    <a:pos x="213" y="19"/>
                  </a:cxn>
                  <a:cxn ang="0">
                    <a:pos x="205" y="10"/>
                  </a:cxn>
                  <a:cxn ang="0">
                    <a:pos x="201" y="0"/>
                  </a:cxn>
                  <a:cxn ang="0">
                    <a:pos x="185" y="1"/>
                  </a:cxn>
                  <a:cxn ang="0">
                    <a:pos x="154" y="14"/>
                  </a:cxn>
                  <a:cxn ang="0">
                    <a:pos x="104" y="39"/>
                  </a:cxn>
                  <a:cxn ang="0">
                    <a:pos x="49" y="68"/>
                  </a:cxn>
                  <a:cxn ang="0">
                    <a:pos x="16" y="88"/>
                  </a:cxn>
                  <a:cxn ang="0">
                    <a:pos x="1" y="100"/>
                  </a:cxn>
                  <a:cxn ang="0">
                    <a:pos x="1" y="107"/>
                  </a:cxn>
                  <a:cxn ang="0">
                    <a:pos x="14" y="115"/>
                  </a:cxn>
                  <a:cxn ang="0">
                    <a:pos x="37" y="123"/>
                  </a:cxn>
                  <a:cxn ang="0">
                    <a:pos x="67" y="131"/>
                  </a:cxn>
                  <a:cxn ang="0">
                    <a:pos x="79" y="140"/>
                  </a:cxn>
                  <a:cxn ang="0">
                    <a:pos x="71" y="156"/>
                  </a:cxn>
                  <a:cxn ang="0">
                    <a:pos x="46" y="185"/>
                  </a:cxn>
                  <a:cxn ang="0">
                    <a:pos x="21" y="215"/>
                  </a:cxn>
                  <a:cxn ang="0">
                    <a:pos x="10" y="234"/>
                  </a:cxn>
                  <a:cxn ang="0">
                    <a:pos x="13" y="245"/>
                  </a:cxn>
                  <a:cxn ang="0">
                    <a:pos x="20" y="256"/>
                  </a:cxn>
                  <a:cxn ang="0">
                    <a:pos x="29" y="263"/>
                  </a:cxn>
                  <a:cxn ang="0">
                    <a:pos x="39" y="269"/>
                  </a:cxn>
                  <a:cxn ang="0">
                    <a:pos x="45" y="286"/>
                  </a:cxn>
                  <a:cxn ang="0">
                    <a:pos x="46" y="298"/>
                  </a:cxn>
                  <a:cxn ang="0">
                    <a:pos x="55" y="302"/>
                  </a:cxn>
                  <a:cxn ang="0">
                    <a:pos x="83" y="295"/>
                  </a:cxn>
                </a:cxnLst>
                <a:rect l="0" t="0" r="r" b="b"/>
                <a:pathLst>
                  <a:path w="344" h="302">
                    <a:moveTo>
                      <a:pt x="105" y="290"/>
                    </a:moveTo>
                    <a:lnTo>
                      <a:pt x="129" y="286"/>
                    </a:lnTo>
                    <a:lnTo>
                      <a:pt x="158" y="281"/>
                    </a:lnTo>
                    <a:lnTo>
                      <a:pt x="189" y="277"/>
                    </a:lnTo>
                    <a:lnTo>
                      <a:pt x="218" y="274"/>
                    </a:lnTo>
                    <a:lnTo>
                      <a:pt x="284" y="269"/>
                    </a:lnTo>
                    <a:lnTo>
                      <a:pt x="314" y="228"/>
                    </a:lnTo>
                    <a:lnTo>
                      <a:pt x="344" y="189"/>
                    </a:lnTo>
                    <a:lnTo>
                      <a:pt x="326" y="148"/>
                    </a:lnTo>
                    <a:lnTo>
                      <a:pt x="318" y="130"/>
                    </a:lnTo>
                    <a:lnTo>
                      <a:pt x="311" y="110"/>
                    </a:lnTo>
                    <a:lnTo>
                      <a:pt x="307" y="92"/>
                    </a:lnTo>
                    <a:lnTo>
                      <a:pt x="305" y="76"/>
                    </a:lnTo>
                    <a:lnTo>
                      <a:pt x="301" y="54"/>
                    </a:lnTo>
                    <a:lnTo>
                      <a:pt x="294" y="38"/>
                    </a:lnTo>
                    <a:lnTo>
                      <a:pt x="284" y="29"/>
                    </a:lnTo>
                    <a:lnTo>
                      <a:pt x="268" y="23"/>
                    </a:lnTo>
                    <a:lnTo>
                      <a:pt x="244" y="22"/>
                    </a:lnTo>
                    <a:lnTo>
                      <a:pt x="226" y="22"/>
                    </a:lnTo>
                    <a:lnTo>
                      <a:pt x="213" y="19"/>
                    </a:lnTo>
                    <a:lnTo>
                      <a:pt x="206" y="15"/>
                    </a:lnTo>
                    <a:lnTo>
                      <a:pt x="205" y="10"/>
                    </a:lnTo>
                    <a:lnTo>
                      <a:pt x="204" y="4"/>
                    </a:lnTo>
                    <a:lnTo>
                      <a:pt x="201" y="0"/>
                    </a:lnTo>
                    <a:lnTo>
                      <a:pt x="194" y="0"/>
                    </a:lnTo>
                    <a:lnTo>
                      <a:pt x="185" y="1"/>
                    </a:lnTo>
                    <a:lnTo>
                      <a:pt x="172" y="6"/>
                    </a:lnTo>
                    <a:lnTo>
                      <a:pt x="154" y="14"/>
                    </a:lnTo>
                    <a:lnTo>
                      <a:pt x="131" y="25"/>
                    </a:lnTo>
                    <a:lnTo>
                      <a:pt x="104" y="39"/>
                    </a:lnTo>
                    <a:lnTo>
                      <a:pt x="72" y="55"/>
                    </a:lnTo>
                    <a:lnTo>
                      <a:pt x="49" y="68"/>
                    </a:lnTo>
                    <a:lnTo>
                      <a:pt x="29" y="79"/>
                    </a:lnTo>
                    <a:lnTo>
                      <a:pt x="16" y="88"/>
                    </a:lnTo>
                    <a:lnTo>
                      <a:pt x="6" y="94"/>
                    </a:lnTo>
                    <a:lnTo>
                      <a:pt x="1" y="100"/>
                    </a:lnTo>
                    <a:lnTo>
                      <a:pt x="0" y="104"/>
                    </a:lnTo>
                    <a:lnTo>
                      <a:pt x="1" y="107"/>
                    </a:lnTo>
                    <a:lnTo>
                      <a:pt x="5" y="111"/>
                    </a:lnTo>
                    <a:lnTo>
                      <a:pt x="14" y="115"/>
                    </a:lnTo>
                    <a:lnTo>
                      <a:pt x="25" y="119"/>
                    </a:lnTo>
                    <a:lnTo>
                      <a:pt x="37" y="123"/>
                    </a:lnTo>
                    <a:lnTo>
                      <a:pt x="54" y="127"/>
                    </a:lnTo>
                    <a:lnTo>
                      <a:pt x="67" y="131"/>
                    </a:lnTo>
                    <a:lnTo>
                      <a:pt x="75" y="135"/>
                    </a:lnTo>
                    <a:lnTo>
                      <a:pt x="79" y="140"/>
                    </a:lnTo>
                    <a:lnTo>
                      <a:pt x="77" y="147"/>
                    </a:lnTo>
                    <a:lnTo>
                      <a:pt x="71" y="156"/>
                    </a:lnTo>
                    <a:lnTo>
                      <a:pt x="60" y="169"/>
                    </a:lnTo>
                    <a:lnTo>
                      <a:pt x="46" y="185"/>
                    </a:lnTo>
                    <a:lnTo>
                      <a:pt x="31" y="202"/>
                    </a:lnTo>
                    <a:lnTo>
                      <a:pt x="21" y="215"/>
                    </a:lnTo>
                    <a:lnTo>
                      <a:pt x="14" y="224"/>
                    </a:lnTo>
                    <a:lnTo>
                      <a:pt x="10" y="234"/>
                    </a:lnTo>
                    <a:lnTo>
                      <a:pt x="10" y="239"/>
                    </a:lnTo>
                    <a:lnTo>
                      <a:pt x="13" y="245"/>
                    </a:lnTo>
                    <a:lnTo>
                      <a:pt x="16" y="251"/>
                    </a:lnTo>
                    <a:lnTo>
                      <a:pt x="20" y="256"/>
                    </a:lnTo>
                    <a:lnTo>
                      <a:pt x="24" y="260"/>
                    </a:lnTo>
                    <a:lnTo>
                      <a:pt x="29" y="263"/>
                    </a:lnTo>
                    <a:lnTo>
                      <a:pt x="33" y="265"/>
                    </a:lnTo>
                    <a:lnTo>
                      <a:pt x="39" y="269"/>
                    </a:lnTo>
                    <a:lnTo>
                      <a:pt x="43" y="277"/>
                    </a:lnTo>
                    <a:lnTo>
                      <a:pt x="45" y="286"/>
                    </a:lnTo>
                    <a:lnTo>
                      <a:pt x="45" y="294"/>
                    </a:lnTo>
                    <a:lnTo>
                      <a:pt x="46" y="298"/>
                    </a:lnTo>
                    <a:lnTo>
                      <a:pt x="49" y="301"/>
                    </a:lnTo>
                    <a:lnTo>
                      <a:pt x="55" y="302"/>
                    </a:lnTo>
                    <a:lnTo>
                      <a:pt x="66" y="299"/>
                    </a:lnTo>
                    <a:lnTo>
                      <a:pt x="83" y="295"/>
                    </a:lnTo>
                    <a:lnTo>
                      <a:pt x="105" y="29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6" name="Freeform 68"/>
              <p:cNvSpPr>
                <a:spLocks/>
              </p:cNvSpPr>
              <p:nvPr/>
            </p:nvSpPr>
            <p:spPr bwMode="auto">
              <a:xfrm>
                <a:off x="1600200" y="525463"/>
                <a:ext cx="590550" cy="320675"/>
              </a:xfrm>
              <a:custGeom>
                <a:avLst/>
                <a:gdLst/>
                <a:ahLst/>
                <a:cxnLst>
                  <a:cxn ang="0">
                    <a:pos x="238" y="184"/>
                  </a:cxn>
                  <a:cxn ang="0">
                    <a:pos x="225" y="165"/>
                  </a:cxn>
                  <a:cxn ang="0">
                    <a:pos x="192" y="134"/>
                  </a:cxn>
                  <a:cxn ang="0">
                    <a:pos x="284" y="126"/>
                  </a:cxn>
                  <a:cxn ang="0">
                    <a:pos x="318" y="127"/>
                  </a:cxn>
                  <a:cxn ang="0">
                    <a:pos x="354" y="142"/>
                  </a:cxn>
                  <a:cxn ang="0">
                    <a:pos x="370" y="144"/>
                  </a:cxn>
                  <a:cxn ang="0">
                    <a:pos x="372" y="131"/>
                  </a:cxn>
                  <a:cxn ang="0">
                    <a:pos x="362" y="110"/>
                  </a:cxn>
                  <a:cxn ang="0">
                    <a:pos x="339" y="84"/>
                  </a:cxn>
                  <a:cxn ang="0">
                    <a:pos x="313" y="64"/>
                  </a:cxn>
                  <a:cxn ang="0">
                    <a:pos x="278" y="55"/>
                  </a:cxn>
                  <a:cxn ang="0">
                    <a:pos x="220" y="47"/>
                  </a:cxn>
                  <a:cxn ang="0">
                    <a:pos x="180" y="36"/>
                  </a:cxn>
                  <a:cxn ang="0">
                    <a:pos x="158" y="22"/>
                  </a:cxn>
                  <a:cxn ang="0">
                    <a:pos x="148" y="4"/>
                  </a:cxn>
                  <a:cxn ang="0">
                    <a:pos x="138" y="0"/>
                  </a:cxn>
                  <a:cxn ang="0">
                    <a:pos x="120" y="9"/>
                  </a:cxn>
                  <a:cxn ang="0">
                    <a:pos x="99" y="18"/>
                  </a:cxn>
                  <a:cxn ang="0">
                    <a:pos x="75" y="17"/>
                  </a:cxn>
                  <a:cxn ang="0">
                    <a:pos x="41" y="9"/>
                  </a:cxn>
                  <a:cxn ang="0">
                    <a:pos x="15" y="6"/>
                  </a:cxn>
                  <a:cxn ang="0">
                    <a:pos x="2" y="15"/>
                  </a:cxn>
                  <a:cxn ang="0">
                    <a:pos x="3" y="38"/>
                  </a:cxn>
                  <a:cxn ang="0">
                    <a:pos x="21" y="64"/>
                  </a:cxn>
                  <a:cxn ang="0">
                    <a:pos x="35" y="80"/>
                  </a:cxn>
                  <a:cxn ang="0">
                    <a:pos x="37" y="89"/>
                  </a:cxn>
                  <a:cxn ang="0">
                    <a:pos x="46" y="97"/>
                  </a:cxn>
                  <a:cxn ang="0">
                    <a:pos x="75" y="115"/>
                  </a:cxn>
                  <a:cxn ang="0">
                    <a:pos x="119" y="138"/>
                  </a:cxn>
                  <a:cxn ang="0">
                    <a:pos x="163" y="161"/>
                  </a:cxn>
                  <a:cxn ang="0">
                    <a:pos x="200" y="181"/>
                  </a:cxn>
                  <a:cxn ang="0">
                    <a:pos x="220" y="193"/>
                  </a:cxn>
                  <a:cxn ang="0">
                    <a:pos x="230" y="199"/>
                  </a:cxn>
                  <a:cxn ang="0">
                    <a:pos x="238" y="202"/>
                  </a:cxn>
                  <a:cxn ang="0">
                    <a:pos x="240" y="198"/>
                  </a:cxn>
                </a:cxnLst>
                <a:rect l="0" t="0" r="r" b="b"/>
                <a:pathLst>
                  <a:path w="372" h="202">
                    <a:moveTo>
                      <a:pt x="240" y="190"/>
                    </a:moveTo>
                    <a:lnTo>
                      <a:pt x="238" y="184"/>
                    </a:lnTo>
                    <a:lnTo>
                      <a:pt x="233" y="174"/>
                    </a:lnTo>
                    <a:lnTo>
                      <a:pt x="225" y="165"/>
                    </a:lnTo>
                    <a:lnTo>
                      <a:pt x="216" y="156"/>
                    </a:lnTo>
                    <a:lnTo>
                      <a:pt x="192" y="134"/>
                    </a:lnTo>
                    <a:lnTo>
                      <a:pt x="257" y="127"/>
                    </a:lnTo>
                    <a:lnTo>
                      <a:pt x="284" y="126"/>
                    </a:lnTo>
                    <a:lnTo>
                      <a:pt x="304" y="126"/>
                    </a:lnTo>
                    <a:lnTo>
                      <a:pt x="318" y="127"/>
                    </a:lnTo>
                    <a:lnTo>
                      <a:pt x="330" y="130"/>
                    </a:lnTo>
                    <a:lnTo>
                      <a:pt x="354" y="142"/>
                    </a:lnTo>
                    <a:lnTo>
                      <a:pt x="363" y="146"/>
                    </a:lnTo>
                    <a:lnTo>
                      <a:pt x="370" y="144"/>
                    </a:lnTo>
                    <a:lnTo>
                      <a:pt x="372" y="139"/>
                    </a:lnTo>
                    <a:lnTo>
                      <a:pt x="372" y="131"/>
                    </a:lnTo>
                    <a:lnTo>
                      <a:pt x="368" y="122"/>
                    </a:lnTo>
                    <a:lnTo>
                      <a:pt x="362" y="110"/>
                    </a:lnTo>
                    <a:lnTo>
                      <a:pt x="353" y="97"/>
                    </a:lnTo>
                    <a:lnTo>
                      <a:pt x="339" y="84"/>
                    </a:lnTo>
                    <a:lnTo>
                      <a:pt x="326" y="72"/>
                    </a:lnTo>
                    <a:lnTo>
                      <a:pt x="313" y="64"/>
                    </a:lnTo>
                    <a:lnTo>
                      <a:pt x="297" y="59"/>
                    </a:lnTo>
                    <a:lnTo>
                      <a:pt x="278" y="55"/>
                    </a:lnTo>
                    <a:lnTo>
                      <a:pt x="250" y="51"/>
                    </a:lnTo>
                    <a:lnTo>
                      <a:pt x="220" y="47"/>
                    </a:lnTo>
                    <a:lnTo>
                      <a:pt x="197" y="42"/>
                    </a:lnTo>
                    <a:lnTo>
                      <a:pt x="180" y="36"/>
                    </a:lnTo>
                    <a:lnTo>
                      <a:pt x="169" y="30"/>
                    </a:lnTo>
                    <a:lnTo>
                      <a:pt x="158" y="22"/>
                    </a:lnTo>
                    <a:lnTo>
                      <a:pt x="151" y="11"/>
                    </a:lnTo>
                    <a:lnTo>
                      <a:pt x="148" y="4"/>
                    </a:lnTo>
                    <a:lnTo>
                      <a:pt x="144" y="0"/>
                    </a:lnTo>
                    <a:lnTo>
                      <a:pt x="138" y="0"/>
                    </a:lnTo>
                    <a:lnTo>
                      <a:pt x="130" y="2"/>
                    </a:lnTo>
                    <a:lnTo>
                      <a:pt x="120" y="9"/>
                    </a:lnTo>
                    <a:lnTo>
                      <a:pt x="108" y="14"/>
                    </a:lnTo>
                    <a:lnTo>
                      <a:pt x="99" y="18"/>
                    </a:lnTo>
                    <a:lnTo>
                      <a:pt x="88" y="19"/>
                    </a:lnTo>
                    <a:lnTo>
                      <a:pt x="75" y="17"/>
                    </a:lnTo>
                    <a:lnTo>
                      <a:pt x="57" y="13"/>
                    </a:lnTo>
                    <a:lnTo>
                      <a:pt x="41" y="9"/>
                    </a:lnTo>
                    <a:lnTo>
                      <a:pt x="27" y="6"/>
                    </a:lnTo>
                    <a:lnTo>
                      <a:pt x="15" y="6"/>
                    </a:lnTo>
                    <a:lnTo>
                      <a:pt x="8" y="8"/>
                    </a:lnTo>
                    <a:lnTo>
                      <a:pt x="2" y="15"/>
                    </a:lnTo>
                    <a:lnTo>
                      <a:pt x="0" y="26"/>
                    </a:lnTo>
                    <a:lnTo>
                      <a:pt x="3" y="38"/>
                    </a:lnTo>
                    <a:lnTo>
                      <a:pt x="10" y="51"/>
                    </a:lnTo>
                    <a:lnTo>
                      <a:pt x="21" y="64"/>
                    </a:lnTo>
                    <a:lnTo>
                      <a:pt x="29" y="72"/>
                    </a:lnTo>
                    <a:lnTo>
                      <a:pt x="35" y="80"/>
                    </a:lnTo>
                    <a:lnTo>
                      <a:pt x="37" y="85"/>
                    </a:lnTo>
                    <a:lnTo>
                      <a:pt x="37" y="89"/>
                    </a:lnTo>
                    <a:lnTo>
                      <a:pt x="38" y="92"/>
                    </a:lnTo>
                    <a:lnTo>
                      <a:pt x="46" y="97"/>
                    </a:lnTo>
                    <a:lnTo>
                      <a:pt x="59" y="105"/>
                    </a:lnTo>
                    <a:lnTo>
                      <a:pt x="75" y="115"/>
                    </a:lnTo>
                    <a:lnTo>
                      <a:pt x="96" y="126"/>
                    </a:lnTo>
                    <a:lnTo>
                      <a:pt x="119" y="138"/>
                    </a:lnTo>
                    <a:lnTo>
                      <a:pt x="142" y="149"/>
                    </a:lnTo>
                    <a:lnTo>
                      <a:pt x="163" y="161"/>
                    </a:lnTo>
                    <a:lnTo>
                      <a:pt x="183" y="172"/>
                    </a:lnTo>
                    <a:lnTo>
                      <a:pt x="200" y="181"/>
                    </a:lnTo>
                    <a:lnTo>
                      <a:pt x="212" y="188"/>
                    </a:lnTo>
                    <a:lnTo>
                      <a:pt x="220" y="193"/>
                    </a:lnTo>
                    <a:lnTo>
                      <a:pt x="225" y="197"/>
                    </a:lnTo>
                    <a:lnTo>
                      <a:pt x="230" y="199"/>
                    </a:lnTo>
                    <a:lnTo>
                      <a:pt x="234" y="202"/>
                    </a:lnTo>
                    <a:lnTo>
                      <a:pt x="238" y="202"/>
                    </a:lnTo>
                    <a:lnTo>
                      <a:pt x="238" y="201"/>
                    </a:lnTo>
                    <a:lnTo>
                      <a:pt x="240" y="198"/>
                    </a:lnTo>
                    <a:lnTo>
                      <a:pt x="240" y="19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47" name="Freeform 69"/>
              <p:cNvSpPr>
                <a:spLocks/>
              </p:cNvSpPr>
              <p:nvPr/>
            </p:nvSpPr>
            <p:spPr bwMode="auto">
              <a:xfrm>
                <a:off x="6826250" y="525463"/>
                <a:ext cx="590550" cy="307975"/>
              </a:xfrm>
              <a:custGeom>
                <a:avLst/>
                <a:gdLst/>
                <a:ahLst/>
                <a:cxnLst>
                  <a:cxn ang="0">
                    <a:pos x="316" y="107"/>
                  </a:cxn>
                  <a:cxn ang="0">
                    <a:pos x="334" y="94"/>
                  </a:cxn>
                  <a:cxn ang="0">
                    <a:pos x="335" y="86"/>
                  </a:cxn>
                  <a:cxn ang="0">
                    <a:pos x="344" y="72"/>
                  </a:cxn>
                  <a:cxn ang="0">
                    <a:pos x="362" y="51"/>
                  </a:cxn>
                  <a:cxn ang="0">
                    <a:pos x="372" y="26"/>
                  </a:cxn>
                  <a:cxn ang="0">
                    <a:pos x="364" y="8"/>
                  </a:cxn>
                  <a:cxn ang="0">
                    <a:pos x="345" y="6"/>
                  </a:cxn>
                  <a:cxn ang="0">
                    <a:pos x="315" y="13"/>
                  </a:cxn>
                  <a:cxn ang="0">
                    <a:pos x="284" y="19"/>
                  </a:cxn>
                  <a:cxn ang="0">
                    <a:pos x="264" y="14"/>
                  </a:cxn>
                  <a:cxn ang="0">
                    <a:pos x="242" y="2"/>
                  </a:cxn>
                  <a:cxn ang="0">
                    <a:pos x="228" y="0"/>
                  </a:cxn>
                  <a:cxn ang="0">
                    <a:pos x="221" y="11"/>
                  </a:cxn>
                  <a:cxn ang="0">
                    <a:pos x="203" y="30"/>
                  </a:cxn>
                  <a:cxn ang="0">
                    <a:pos x="175" y="42"/>
                  </a:cxn>
                  <a:cxn ang="0">
                    <a:pos x="122" y="51"/>
                  </a:cxn>
                  <a:cxn ang="0">
                    <a:pos x="75" y="59"/>
                  </a:cxn>
                  <a:cxn ang="0">
                    <a:pos x="46" y="72"/>
                  </a:cxn>
                  <a:cxn ang="0">
                    <a:pos x="19" y="97"/>
                  </a:cxn>
                  <a:cxn ang="0">
                    <a:pos x="4" y="122"/>
                  </a:cxn>
                  <a:cxn ang="0">
                    <a:pos x="0" y="139"/>
                  </a:cxn>
                  <a:cxn ang="0">
                    <a:pos x="9" y="146"/>
                  </a:cxn>
                  <a:cxn ang="0">
                    <a:pos x="42" y="130"/>
                  </a:cxn>
                  <a:cxn ang="0">
                    <a:pos x="68" y="126"/>
                  </a:cxn>
                  <a:cxn ang="0">
                    <a:pos x="115" y="127"/>
                  </a:cxn>
                  <a:cxn ang="0">
                    <a:pos x="156" y="156"/>
                  </a:cxn>
                  <a:cxn ang="0">
                    <a:pos x="139" y="174"/>
                  </a:cxn>
                  <a:cxn ang="0">
                    <a:pos x="132" y="190"/>
                  </a:cxn>
                  <a:cxn ang="0">
                    <a:pos x="139" y="194"/>
                  </a:cxn>
                  <a:cxn ang="0">
                    <a:pos x="176" y="178"/>
                  </a:cxn>
                  <a:cxn ang="0">
                    <a:pos x="244" y="142"/>
                  </a:cxn>
                  <a:cxn ang="0">
                    <a:pos x="286" y="121"/>
                  </a:cxn>
                </a:cxnLst>
                <a:rect l="0" t="0" r="r" b="b"/>
                <a:pathLst>
                  <a:path w="372" h="194">
                    <a:moveTo>
                      <a:pt x="302" y="114"/>
                    </a:moveTo>
                    <a:lnTo>
                      <a:pt x="316" y="107"/>
                    </a:lnTo>
                    <a:lnTo>
                      <a:pt x="327" y="100"/>
                    </a:lnTo>
                    <a:lnTo>
                      <a:pt x="334" y="94"/>
                    </a:lnTo>
                    <a:lnTo>
                      <a:pt x="335" y="90"/>
                    </a:lnTo>
                    <a:lnTo>
                      <a:pt x="335" y="86"/>
                    </a:lnTo>
                    <a:lnTo>
                      <a:pt x="337" y="80"/>
                    </a:lnTo>
                    <a:lnTo>
                      <a:pt x="344" y="72"/>
                    </a:lnTo>
                    <a:lnTo>
                      <a:pt x="352" y="64"/>
                    </a:lnTo>
                    <a:lnTo>
                      <a:pt x="362" y="51"/>
                    </a:lnTo>
                    <a:lnTo>
                      <a:pt x="369" y="38"/>
                    </a:lnTo>
                    <a:lnTo>
                      <a:pt x="372" y="26"/>
                    </a:lnTo>
                    <a:lnTo>
                      <a:pt x="370" y="15"/>
                    </a:lnTo>
                    <a:lnTo>
                      <a:pt x="364" y="8"/>
                    </a:lnTo>
                    <a:lnTo>
                      <a:pt x="357" y="6"/>
                    </a:lnTo>
                    <a:lnTo>
                      <a:pt x="345" y="6"/>
                    </a:lnTo>
                    <a:lnTo>
                      <a:pt x="331" y="9"/>
                    </a:lnTo>
                    <a:lnTo>
                      <a:pt x="315" y="13"/>
                    </a:lnTo>
                    <a:lnTo>
                      <a:pt x="297" y="17"/>
                    </a:lnTo>
                    <a:lnTo>
                      <a:pt x="284" y="19"/>
                    </a:lnTo>
                    <a:lnTo>
                      <a:pt x="273" y="18"/>
                    </a:lnTo>
                    <a:lnTo>
                      <a:pt x="264" y="14"/>
                    </a:lnTo>
                    <a:lnTo>
                      <a:pt x="252" y="9"/>
                    </a:lnTo>
                    <a:lnTo>
                      <a:pt x="242" y="2"/>
                    </a:lnTo>
                    <a:lnTo>
                      <a:pt x="234" y="0"/>
                    </a:lnTo>
                    <a:lnTo>
                      <a:pt x="228" y="0"/>
                    </a:lnTo>
                    <a:lnTo>
                      <a:pt x="224" y="4"/>
                    </a:lnTo>
                    <a:lnTo>
                      <a:pt x="221" y="11"/>
                    </a:lnTo>
                    <a:lnTo>
                      <a:pt x="214" y="22"/>
                    </a:lnTo>
                    <a:lnTo>
                      <a:pt x="203" y="30"/>
                    </a:lnTo>
                    <a:lnTo>
                      <a:pt x="192" y="36"/>
                    </a:lnTo>
                    <a:lnTo>
                      <a:pt x="175" y="42"/>
                    </a:lnTo>
                    <a:lnTo>
                      <a:pt x="152" y="47"/>
                    </a:lnTo>
                    <a:lnTo>
                      <a:pt x="122" y="51"/>
                    </a:lnTo>
                    <a:lnTo>
                      <a:pt x="94" y="55"/>
                    </a:lnTo>
                    <a:lnTo>
                      <a:pt x="75" y="59"/>
                    </a:lnTo>
                    <a:lnTo>
                      <a:pt x="59" y="64"/>
                    </a:lnTo>
                    <a:lnTo>
                      <a:pt x="46" y="72"/>
                    </a:lnTo>
                    <a:lnTo>
                      <a:pt x="33" y="84"/>
                    </a:lnTo>
                    <a:lnTo>
                      <a:pt x="19" y="97"/>
                    </a:lnTo>
                    <a:lnTo>
                      <a:pt x="10" y="110"/>
                    </a:lnTo>
                    <a:lnTo>
                      <a:pt x="4" y="122"/>
                    </a:lnTo>
                    <a:lnTo>
                      <a:pt x="0" y="131"/>
                    </a:lnTo>
                    <a:lnTo>
                      <a:pt x="0" y="139"/>
                    </a:lnTo>
                    <a:lnTo>
                      <a:pt x="2" y="144"/>
                    </a:lnTo>
                    <a:lnTo>
                      <a:pt x="9" y="146"/>
                    </a:lnTo>
                    <a:lnTo>
                      <a:pt x="18" y="142"/>
                    </a:lnTo>
                    <a:lnTo>
                      <a:pt x="42" y="130"/>
                    </a:lnTo>
                    <a:lnTo>
                      <a:pt x="54" y="127"/>
                    </a:lnTo>
                    <a:lnTo>
                      <a:pt x="68" y="126"/>
                    </a:lnTo>
                    <a:lnTo>
                      <a:pt x="88" y="126"/>
                    </a:lnTo>
                    <a:lnTo>
                      <a:pt x="115" y="127"/>
                    </a:lnTo>
                    <a:lnTo>
                      <a:pt x="180" y="134"/>
                    </a:lnTo>
                    <a:lnTo>
                      <a:pt x="156" y="156"/>
                    </a:lnTo>
                    <a:lnTo>
                      <a:pt x="147" y="165"/>
                    </a:lnTo>
                    <a:lnTo>
                      <a:pt x="139" y="174"/>
                    </a:lnTo>
                    <a:lnTo>
                      <a:pt x="134" y="184"/>
                    </a:lnTo>
                    <a:lnTo>
                      <a:pt x="132" y="190"/>
                    </a:lnTo>
                    <a:lnTo>
                      <a:pt x="134" y="194"/>
                    </a:lnTo>
                    <a:lnTo>
                      <a:pt x="139" y="194"/>
                    </a:lnTo>
                    <a:lnTo>
                      <a:pt x="159" y="188"/>
                    </a:lnTo>
                    <a:lnTo>
                      <a:pt x="176" y="178"/>
                    </a:lnTo>
                    <a:lnTo>
                      <a:pt x="221" y="155"/>
                    </a:lnTo>
                    <a:lnTo>
                      <a:pt x="244" y="142"/>
                    </a:lnTo>
                    <a:lnTo>
                      <a:pt x="267" y="131"/>
                    </a:lnTo>
                    <a:lnTo>
                      <a:pt x="286" y="121"/>
                    </a:lnTo>
                    <a:lnTo>
                      <a:pt x="302" y="11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  <p:grpSp>
          <p:nvGrpSpPr>
            <p:cNvPr id="314" name="Group 123"/>
            <p:cNvGrpSpPr/>
            <p:nvPr/>
          </p:nvGrpSpPr>
          <p:grpSpPr bwMode="auto">
            <a:xfrm>
              <a:off x="6903570" y="2892430"/>
              <a:ext cx="104749" cy="620915"/>
              <a:chOff x="4343400" y="2614613"/>
              <a:chExt cx="330201" cy="1957387"/>
            </a:xfrm>
            <a:gradFill flip="none" rotWithShape="1">
              <a:gsLst>
                <a:gs pos="0">
                  <a:schemeClr val="bg2">
                    <a:lumMod val="25000"/>
                  </a:schemeClr>
                </a:gs>
                <a:gs pos="0">
                  <a:schemeClr val="bg2">
                    <a:lumMod val="25000"/>
                  </a:schemeClr>
                </a:gs>
                <a:gs pos="87000">
                  <a:srgbClr val="1E2E0C"/>
                </a:gs>
              </a:gsLst>
              <a:path path="shape">
                <a:fillToRect l="50000" t="50000" r="50000" b="50000"/>
              </a:path>
              <a:tileRect/>
            </a:gradFill>
          </p:grpSpPr>
          <p:grpSp>
            <p:nvGrpSpPr>
              <p:cNvPr id="315" name="Group 72"/>
              <p:cNvGrpSpPr/>
              <p:nvPr/>
            </p:nvGrpSpPr>
            <p:grpSpPr>
              <a:xfrm>
                <a:off x="4343400" y="2614613"/>
                <a:ext cx="330201" cy="1176338"/>
                <a:chOff x="4343400" y="2614613"/>
                <a:chExt cx="330201" cy="1176338"/>
              </a:xfrm>
              <a:grpFill/>
            </p:grpSpPr>
            <p:sp>
              <p:nvSpPr>
                <p:cNvPr id="322" name="Freeform 41"/>
                <p:cNvSpPr>
                  <a:spLocks/>
                </p:cNvSpPr>
                <p:nvPr/>
              </p:nvSpPr>
              <p:spPr bwMode="auto">
                <a:xfrm>
                  <a:off x="4348163" y="3444875"/>
                  <a:ext cx="65088" cy="317500"/>
                </a:xfrm>
                <a:custGeom>
                  <a:avLst/>
                  <a:gdLst/>
                  <a:ahLst/>
                  <a:cxnLst>
                    <a:cxn ang="0">
                      <a:pos x="35" y="87"/>
                    </a:cxn>
                    <a:cxn ang="0">
                      <a:pos x="39" y="79"/>
                    </a:cxn>
                    <a:cxn ang="0">
                      <a:pos x="41" y="71"/>
                    </a:cxn>
                    <a:cxn ang="0">
                      <a:pos x="38" y="62"/>
                    </a:cxn>
                    <a:cxn ang="0">
                      <a:pos x="33" y="50"/>
                    </a:cxn>
                    <a:cxn ang="0">
                      <a:pos x="25" y="36"/>
                    </a:cxn>
                    <a:cxn ang="0">
                      <a:pos x="5" y="0"/>
                    </a:cxn>
                    <a:cxn ang="0">
                      <a:pos x="5" y="108"/>
                    </a:cxn>
                    <a:cxn ang="0">
                      <a:pos x="4" y="134"/>
                    </a:cxn>
                    <a:cxn ang="0">
                      <a:pos x="2" y="158"/>
                    </a:cxn>
                    <a:cxn ang="0">
                      <a:pos x="2" y="178"/>
                    </a:cxn>
                    <a:cxn ang="0">
                      <a:pos x="1" y="192"/>
                    </a:cxn>
                    <a:cxn ang="0">
                      <a:pos x="0" y="200"/>
                    </a:cxn>
                    <a:cxn ang="0">
                      <a:pos x="1" y="200"/>
                    </a:cxn>
                    <a:cxn ang="0">
                      <a:pos x="4" y="193"/>
                    </a:cxn>
                    <a:cxn ang="0">
                      <a:pos x="8" y="182"/>
                    </a:cxn>
                    <a:cxn ang="0">
                      <a:pos x="12" y="164"/>
                    </a:cxn>
                    <a:cxn ang="0">
                      <a:pos x="17" y="145"/>
                    </a:cxn>
                    <a:cxn ang="0">
                      <a:pos x="22" y="126"/>
                    </a:cxn>
                    <a:cxn ang="0">
                      <a:pos x="27" y="109"/>
                    </a:cxn>
                    <a:cxn ang="0">
                      <a:pos x="31" y="96"/>
                    </a:cxn>
                    <a:cxn ang="0">
                      <a:pos x="35" y="87"/>
                    </a:cxn>
                  </a:cxnLst>
                  <a:rect l="0" t="0" r="r" b="b"/>
                  <a:pathLst>
                    <a:path w="41" h="200">
                      <a:moveTo>
                        <a:pt x="35" y="87"/>
                      </a:moveTo>
                      <a:lnTo>
                        <a:pt x="39" y="79"/>
                      </a:lnTo>
                      <a:lnTo>
                        <a:pt x="41" y="71"/>
                      </a:lnTo>
                      <a:lnTo>
                        <a:pt x="38" y="62"/>
                      </a:lnTo>
                      <a:lnTo>
                        <a:pt x="33" y="50"/>
                      </a:lnTo>
                      <a:lnTo>
                        <a:pt x="25" y="36"/>
                      </a:lnTo>
                      <a:lnTo>
                        <a:pt x="5" y="0"/>
                      </a:lnTo>
                      <a:lnTo>
                        <a:pt x="5" y="108"/>
                      </a:lnTo>
                      <a:lnTo>
                        <a:pt x="4" y="134"/>
                      </a:lnTo>
                      <a:lnTo>
                        <a:pt x="2" y="158"/>
                      </a:lnTo>
                      <a:lnTo>
                        <a:pt x="2" y="178"/>
                      </a:lnTo>
                      <a:lnTo>
                        <a:pt x="1" y="192"/>
                      </a:lnTo>
                      <a:lnTo>
                        <a:pt x="0" y="200"/>
                      </a:lnTo>
                      <a:lnTo>
                        <a:pt x="1" y="200"/>
                      </a:lnTo>
                      <a:lnTo>
                        <a:pt x="4" y="193"/>
                      </a:lnTo>
                      <a:lnTo>
                        <a:pt x="8" y="182"/>
                      </a:lnTo>
                      <a:lnTo>
                        <a:pt x="12" y="164"/>
                      </a:lnTo>
                      <a:lnTo>
                        <a:pt x="17" y="145"/>
                      </a:lnTo>
                      <a:lnTo>
                        <a:pt x="22" y="126"/>
                      </a:lnTo>
                      <a:lnTo>
                        <a:pt x="27" y="109"/>
                      </a:lnTo>
                      <a:lnTo>
                        <a:pt x="31" y="96"/>
                      </a:lnTo>
                      <a:lnTo>
                        <a:pt x="35" y="87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323" name="Freeform 42"/>
                <p:cNvSpPr>
                  <a:spLocks/>
                </p:cNvSpPr>
                <p:nvPr/>
              </p:nvSpPr>
              <p:spPr bwMode="auto">
                <a:xfrm>
                  <a:off x="4606925" y="3449638"/>
                  <a:ext cx="60325" cy="341313"/>
                </a:xfrm>
                <a:custGeom>
                  <a:avLst/>
                  <a:gdLst/>
                  <a:ahLst/>
                  <a:cxnLst>
                    <a:cxn ang="0">
                      <a:pos x="35" y="106"/>
                    </a:cxn>
                    <a:cxn ang="0">
                      <a:pos x="33" y="0"/>
                    </a:cxn>
                    <a:cxn ang="0">
                      <a:pos x="13" y="34"/>
                    </a:cxn>
                    <a:cxn ang="0">
                      <a:pos x="0" y="60"/>
                    </a:cxn>
                    <a:cxn ang="0">
                      <a:pos x="0" y="70"/>
                    </a:cxn>
                    <a:cxn ang="0">
                      <a:pos x="1" y="79"/>
                    </a:cxn>
                    <a:cxn ang="0">
                      <a:pos x="6" y="89"/>
                    </a:cxn>
                    <a:cxn ang="0">
                      <a:pos x="12" y="102"/>
                    </a:cxn>
                    <a:cxn ang="0">
                      <a:pos x="17" y="121"/>
                    </a:cxn>
                    <a:cxn ang="0">
                      <a:pos x="22" y="142"/>
                    </a:cxn>
                    <a:cxn ang="0">
                      <a:pos x="27" y="164"/>
                    </a:cxn>
                    <a:cxn ang="0">
                      <a:pos x="30" y="181"/>
                    </a:cxn>
                    <a:cxn ang="0">
                      <a:pos x="34" y="196"/>
                    </a:cxn>
                    <a:cxn ang="0">
                      <a:pos x="35" y="206"/>
                    </a:cxn>
                    <a:cxn ang="0">
                      <a:pos x="38" y="213"/>
                    </a:cxn>
                    <a:cxn ang="0">
                      <a:pos x="38" y="215"/>
                    </a:cxn>
                    <a:cxn ang="0">
                      <a:pos x="38" y="160"/>
                    </a:cxn>
                    <a:cxn ang="0">
                      <a:pos x="37" y="135"/>
                    </a:cxn>
                    <a:cxn ang="0">
                      <a:pos x="35" y="106"/>
                    </a:cxn>
                  </a:cxnLst>
                  <a:rect l="0" t="0" r="r" b="b"/>
                  <a:pathLst>
                    <a:path w="38" h="215">
                      <a:moveTo>
                        <a:pt x="35" y="106"/>
                      </a:moveTo>
                      <a:lnTo>
                        <a:pt x="33" y="0"/>
                      </a:lnTo>
                      <a:lnTo>
                        <a:pt x="13" y="34"/>
                      </a:lnTo>
                      <a:lnTo>
                        <a:pt x="0" y="60"/>
                      </a:lnTo>
                      <a:lnTo>
                        <a:pt x="0" y="70"/>
                      </a:lnTo>
                      <a:lnTo>
                        <a:pt x="1" y="79"/>
                      </a:lnTo>
                      <a:lnTo>
                        <a:pt x="6" y="89"/>
                      </a:lnTo>
                      <a:lnTo>
                        <a:pt x="12" y="102"/>
                      </a:lnTo>
                      <a:lnTo>
                        <a:pt x="17" y="121"/>
                      </a:lnTo>
                      <a:lnTo>
                        <a:pt x="22" y="142"/>
                      </a:lnTo>
                      <a:lnTo>
                        <a:pt x="27" y="164"/>
                      </a:lnTo>
                      <a:lnTo>
                        <a:pt x="30" y="181"/>
                      </a:lnTo>
                      <a:lnTo>
                        <a:pt x="34" y="196"/>
                      </a:lnTo>
                      <a:lnTo>
                        <a:pt x="35" y="206"/>
                      </a:lnTo>
                      <a:lnTo>
                        <a:pt x="38" y="213"/>
                      </a:lnTo>
                      <a:lnTo>
                        <a:pt x="38" y="215"/>
                      </a:lnTo>
                      <a:lnTo>
                        <a:pt x="38" y="160"/>
                      </a:lnTo>
                      <a:lnTo>
                        <a:pt x="37" y="135"/>
                      </a:lnTo>
                      <a:lnTo>
                        <a:pt x="35" y="106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324" name="Freeform 50"/>
                <p:cNvSpPr>
                  <a:spLocks/>
                </p:cNvSpPr>
                <p:nvPr/>
              </p:nvSpPr>
              <p:spPr bwMode="auto">
                <a:xfrm>
                  <a:off x="4343400" y="2854325"/>
                  <a:ext cx="52388" cy="158750"/>
                </a:xfrm>
                <a:custGeom>
                  <a:avLst/>
                  <a:gdLst/>
                  <a:ahLst/>
                  <a:cxnLst>
                    <a:cxn ang="0">
                      <a:pos x="26" y="8"/>
                    </a:cxn>
                    <a:cxn ang="0">
                      <a:pos x="20" y="2"/>
                    </a:cxn>
                    <a:cxn ang="0">
                      <a:pos x="17" y="0"/>
                    </a:cxn>
                    <a:cxn ang="0">
                      <a:pos x="15" y="0"/>
                    </a:cxn>
                    <a:cxn ang="0">
                      <a:pos x="11" y="4"/>
                    </a:cxn>
                    <a:cxn ang="0">
                      <a:pos x="8" y="8"/>
                    </a:cxn>
                    <a:cxn ang="0">
                      <a:pos x="5" y="16"/>
                    </a:cxn>
                    <a:cxn ang="0">
                      <a:pos x="3" y="28"/>
                    </a:cxn>
                    <a:cxn ang="0">
                      <a:pos x="2" y="44"/>
                    </a:cxn>
                    <a:cxn ang="0">
                      <a:pos x="0" y="61"/>
                    </a:cxn>
                    <a:cxn ang="0">
                      <a:pos x="0" y="100"/>
                    </a:cxn>
                    <a:cxn ang="0">
                      <a:pos x="19" y="61"/>
                    </a:cxn>
                    <a:cxn ang="0">
                      <a:pos x="26" y="44"/>
                    </a:cxn>
                    <a:cxn ang="0">
                      <a:pos x="32" y="31"/>
                    </a:cxn>
                    <a:cxn ang="0">
                      <a:pos x="33" y="21"/>
                    </a:cxn>
                    <a:cxn ang="0">
                      <a:pos x="32" y="15"/>
                    </a:cxn>
                    <a:cxn ang="0">
                      <a:pos x="26" y="8"/>
                    </a:cxn>
                  </a:cxnLst>
                  <a:rect l="0" t="0" r="r" b="b"/>
                  <a:pathLst>
                    <a:path w="33" h="100">
                      <a:moveTo>
                        <a:pt x="26" y="8"/>
                      </a:moveTo>
                      <a:lnTo>
                        <a:pt x="20" y="2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1" y="4"/>
                      </a:lnTo>
                      <a:lnTo>
                        <a:pt x="8" y="8"/>
                      </a:lnTo>
                      <a:lnTo>
                        <a:pt x="5" y="16"/>
                      </a:lnTo>
                      <a:lnTo>
                        <a:pt x="3" y="28"/>
                      </a:lnTo>
                      <a:lnTo>
                        <a:pt x="2" y="44"/>
                      </a:lnTo>
                      <a:lnTo>
                        <a:pt x="0" y="61"/>
                      </a:lnTo>
                      <a:lnTo>
                        <a:pt x="0" y="100"/>
                      </a:lnTo>
                      <a:lnTo>
                        <a:pt x="19" y="61"/>
                      </a:lnTo>
                      <a:lnTo>
                        <a:pt x="26" y="44"/>
                      </a:lnTo>
                      <a:lnTo>
                        <a:pt x="32" y="31"/>
                      </a:lnTo>
                      <a:lnTo>
                        <a:pt x="33" y="21"/>
                      </a:lnTo>
                      <a:lnTo>
                        <a:pt x="32" y="15"/>
                      </a:lnTo>
                      <a:lnTo>
                        <a:pt x="26" y="8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325" name="Freeform 51"/>
                <p:cNvSpPr>
                  <a:spLocks/>
                </p:cNvSpPr>
                <p:nvPr/>
              </p:nvSpPr>
              <p:spPr bwMode="auto">
                <a:xfrm>
                  <a:off x="4619625" y="2859088"/>
                  <a:ext cx="53975" cy="147638"/>
                </a:xfrm>
                <a:custGeom>
                  <a:avLst/>
                  <a:gdLst/>
                  <a:ahLst/>
                  <a:cxnLst>
                    <a:cxn ang="0">
                      <a:pos x="34" y="55"/>
                    </a:cxn>
                    <a:cxn ang="0">
                      <a:pos x="32" y="30"/>
                    </a:cxn>
                    <a:cxn ang="0">
                      <a:pos x="30" y="13"/>
                    </a:cxn>
                    <a:cxn ang="0">
                      <a:pos x="25" y="3"/>
                    </a:cxn>
                    <a:cxn ang="0">
                      <a:pos x="17" y="0"/>
                    </a:cxn>
                    <a:cxn ang="0">
                      <a:pos x="8" y="4"/>
                    </a:cxn>
                    <a:cxn ang="0">
                      <a:pos x="2" y="9"/>
                    </a:cxn>
                    <a:cxn ang="0">
                      <a:pos x="0" y="16"/>
                    </a:cxn>
                    <a:cxn ang="0">
                      <a:pos x="1" y="24"/>
                    </a:cxn>
                    <a:cxn ang="0">
                      <a:pos x="5" y="37"/>
                    </a:cxn>
                    <a:cxn ang="0">
                      <a:pos x="13" y="54"/>
                    </a:cxn>
                    <a:cxn ang="0">
                      <a:pos x="19" y="68"/>
                    </a:cxn>
                    <a:cxn ang="0">
                      <a:pos x="26" y="81"/>
                    </a:cxn>
                    <a:cxn ang="0">
                      <a:pos x="30" y="91"/>
                    </a:cxn>
                    <a:cxn ang="0">
                      <a:pos x="32" y="93"/>
                    </a:cxn>
                    <a:cxn ang="0">
                      <a:pos x="32" y="91"/>
                    </a:cxn>
                    <a:cxn ang="0">
                      <a:pos x="34" y="81"/>
                    </a:cxn>
                    <a:cxn ang="0">
                      <a:pos x="34" y="55"/>
                    </a:cxn>
                  </a:cxnLst>
                  <a:rect l="0" t="0" r="r" b="b"/>
                  <a:pathLst>
                    <a:path w="34" h="93">
                      <a:moveTo>
                        <a:pt x="34" y="55"/>
                      </a:moveTo>
                      <a:lnTo>
                        <a:pt x="32" y="30"/>
                      </a:lnTo>
                      <a:lnTo>
                        <a:pt x="30" y="13"/>
                      </a:lnTo>
                      <a:lnTo>
                        <a:pt x="25" y="3"/>
                      </a:lnTo>
                      <a:lnTo>
                        <a:pt x="17" y="0"/>
                      </a:lnTo>
                      <a:lnTo>
                        <a:pt x="8" y="4"/>
                      </a:lnTo>
                      <a:lnTo>
                        <a:pt x="2" y="9"/>
                      </a:lnTo>
                      <a:lnTo>
                        <a:pt x="0" y="16"/>
                      </a:lnTo>
                      <a:lnTo>
                        <a:pt x="1" y="24"/>
                      </a:lnTo>
                      <a:lnTo>
                        <a:pt x="5" y="37"/>
                      </a:lnTo>
                      <a:lnTo>
                        <a:pt x="13" y="54"/>
                      </a:lnTo>
                      <a:lnTo>
                        <a:pt x="19" y="68"/>
                      </a:lnTo>
                      <a:lnTo>
                        <a:pt x="26" y="81"/>
                      </a:lnTo>
                      <a:lnTo>
                        <a:pt x="30" y="91"/>
                      </a:lnTo>
                      <a:lnTo>
                        <a:pt x="32" y="93"/>
                      </a:lnTo>
                      <a:lnTo>
                        <a:pt x="32" y="91"/>
                      </a:lnTo>
                      <a:lnTo>
                        <a:pt x="34" y="81"/>
                      </a:lnTo>
                      <a:lnTo>
                        <a:pt x="34" y="55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326" name="Freeform 54"/>
                <p:cNvSpPr>
                  <a:spLocks/>
                </p:cNvSpPr>
                <p:nvPr/>
              </p:nvSpPr>
              <p:spPr bwMode="auto">
                <a:xfrm>
                  <a:off x="4343400" y="2614613"/>
                  <a:ext cx="87313" cy="100013"/>
                </a:xfrm>
                <a:custGeom>
                  <a:avLst/>
                  <a:gdLst/>
                  <a:ahLst/>
                  <a:cxnLst>
                    <a:cxn ang="0">
                      <a:pos x="44" y="46"/>
                    </a:cxn>
                    <a:cxn ang="0">
                      <a:pos x="51" y="32"/>
                    </a:cxn>
                    <a:cxn ang="0">
                      <a:pos x="55" y="20"/>
                    </a:cxn>
                    <a:cxn ang="0">
                      <a:pos x="54" y="9"/>
                    </a:cxn>
                    <a:cxn ang="0">
                      <a:pos x="50" y="3"/>
                    </a:cxn>
                    <a:cxn ang="0">
                      <a:pos x="42" y="0"/>
                    </a:cxn>
                    <a:cxn ang="0">
                      <a:pos x="28" y="4"/>
                    </a:cxn>
                    <a:cxn ang="0">
                      <a:pos x="13" y="15"/>
                    </a:cxn>
                    <a:cxn ang="0">
                      <a:pos x="4" y="29"/>
                    </a:cxn>
                    <a:cxn ang="0">
                      <a:pos x="0" y="45"/>
                    </a:cxn>
                    <a:cxn ang="0">
                      <a:pos x="3" y="55"/>
                    </a:cxn>
                    <a:cxn ang="0">
                      <a:pos x="8" y="62"/>
                    </a:cxn>
                    <a:cxn ang="0">
                      <a:pos x="16" y="63"/>
                    </a:cxn>
                    <a:cxn ang="0">
                      <a:pos x="25" y="62"/>
                    </a:cxn>
                    <a:cxn ang="0">
                      <a:pos x="34" y="55"/>
                    </a:cxn>
                    <a:cxn ang="0">
                      <a:pos x="44" y="46"/>
                    </a:cxn>
                  </a:cxnLst>
                  <a:rect l="0" t="0" r="r" b="b"/>
                  <a:pathLst>
                    <a:path w="55" h="63">
                      <a:moveTo>
                        <a:pt x="44" y="46"/>
                      </a:moveTo>
                      <a:lnTo>
                        <a:pt x="51" y="32"/>
                      </a:lnTo>
                      <a:lnTo>
                        <a:pt x="55" y="20"/>
                      </a:lnTo>
                      <a:lnTo>
                        <a:pt x="54" y="9"/>
                      </a:lnTo>
                      <a:lnTo>
                        <a:pt x="50" y="3"/>
                      </a:lnTo>
                      <a:lnTo>
                        <a:pt x="42" y="0"/>
                      </a:lnTo>
                      <a:lnTo>
                        <a:pt x="28" y="4"/>
                      </a:lnTo>
                      <a:lnTo>
                        <a:pt x="13" y="15"/>
                      </a:lnTo>
                      <a:lnTo>
                        <a:pt x="4" y="29"/>
                      </a:lnTo>
                      <a:lnTo>
                        <a:pt x="0" y="45"/>
                      </a:lnTo>
                      <a:lnTo>
                        <a:pt x="3" y="55"/>
                      </a:lnTo>
                      <a:lnTo>
                        <a:pt x="8" y="62"/>
                      </a:lnTo>
                      <a:lnTo>
                        <a:pt x="16" y="63"/>
                      </a:lnTo>
                      <a:lnTo>
                        <a:pt x="25" y="62"/>
                      </a:lnTo>
                      <a:lnTo>
                        <a:pt x="34" y="55"/>
                      </a:lnTo>
                      <a:lnTo>
                        <a:pt x="44" y="46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327" name="Freeform 55"/>
                <p:cNvSpPr>
                  <a:spLocks/>
                </p:cNvSpPr>
                <p:nvPr/>
              </p:nvSpPr>
              <p:spPr bwMode="auto">
                <a:xfrm>
                  <a:off x="4586288" y="2614613"/>
                  <a:ext cx="87313" cy="100013"/>
                </a:xfrm>
                <a:custGeom>
                  <a:avLst/>
                  <a:gdLst/>
                  <a:ahLst/>
                  <a:cxnLst>
                    <a:cxn ang="0">
                      <a:pos x="55" y="46"/>
                    </a:cxn>
                    <a:cxn ang="0">
                      <a:pos x="51" y="29"/>
                    </a:cxn>
                    <a:cxn ang="0">
                      <a:pos x="42" y="15"/>
                    </a:cxn>
                    <a:cxn ang="0">
                      <a:pos x="29" y="4"/>
                    </a:cxn>
                    <a:cxn ang="0">
                      <a:pos x="14" y="0"/>
                    </a:cxn>
                    <a:cxn ang="0">
                      <a:pos x="5" y="3"/>
                    </a:cxn>
                    <a:cxn ang="0">
                      <a:pos x="1" y="9"/>
                    </a:cxn>
                    <a:cxn ang="0">
                      <a:pos x="0" y="19"/>
                    </a:cxn>
                    <a:cxn ang="0">
                      <a:pos x="4" y="32"/>
                    </a:cxn>
                    <a:cxn ang="0">
                      <a:pos x="11" y="46"/>
                    </a:cxn>
                    <a:cxn ang="0">
                      <a:pos x="21" y="55"/>
                    </a:cxn>
                    <a:cxn ang="0">
                      <a:pos x="30" y="62"/>
                    </a:cxn>
                    <a:cxn ang="0">
                      <a:pos x="39" y="63"/>
                    </a:cxn>
                    <a:cxn ang="0">
                      <a:pos x="47" y="62"/>
                    </a:cxn>
                    <a:cxn ang="0">
                      <a:pos x="52" y="55"/>
                    </a:cxn>
                    <a:cxn ang="0">
                      <a:pos x="55" y="46"/>
                    </a:cxn>
                  </a:cxnLst>
                  <a:rect l="0" t="0" r="r" b="b"/>
                  <a:pathLst>
                    <a:path w="55" h="63">
                      <a:moveTo>
                        <a:pt x="55" y="46"/>
                      </a:moveTo>
                      <a:lnTo>
                        <a:pt x="51" y="29"/>
                      </a:lnTo>
                      <a:lnTo>
                        <a:pt x="42" y="15"/>
                      </a:lnTo>
                      <a:lnTo>
                        <a:pt x="29" y="4"/>
                      </a:lnTo>
                      <a:lnTo>
                        <a:pt x="14" y="0"/>
                      </a:lnTo>
                      <a:lnTo>
                        <a:pt x="5" y="3"/>
                      </a:lnTo>
                      <a:lnTo>
                        <a:pt x="1" y="9"/>
                      </a:lnTo>
                      <a:lnTo>
                        <a:pt x="0" y="19"/>
                      </a:lnTo>
                      <a:lnTo>
                        <a:pt x="4" y="32"/>
                      </a:lnTo>
                      <a:lnTo>
                        <a:pt x="11" y="46"/>
                      </a:lnTo>
                      <a:lnTo>
                        <a:pt x="21" y="55"/>
                      </a:lnTo>
                      <a:lnTo>
                        <a:pt x="30" y="62"/>
                      </a:lnTo>
                      <a:lnTo>
                        <a:pt x="39" y="63"/>
                      </a:lnTo>
                      <a:lnTo>
                        <a:pt x="47" y="62"/>
                      </a:lnTo>
                      <a:lnTo>
                        <a:pt x="52" y="55"/>
                      </a:lnTo>
                      <a:lnTo>
                        <a:pt x="55" y="46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316" name="Freeform 21"/>
              <p:cNvSpPr>
                <a:spLocks/>
              </p:cNvSpPr>
              <p:nvPr/>
            </p:nvSpPr>
            <p:spPr bwMode="auto">
              <a:xfrm>
                <a:off x="4394200" y="3886200"/>
                <a:ext cx="228600" cy="685800"/>
              </a:xfrm>
              <a:custGeom>
                <a:avLst/>
                <a:gdLst/>
                <a:ahLst/>
                <a:cxnLst>
                  <a:cxn ang="0">
                    <a:pos x="159" y="92"/>
                  </a:cxn>
                  <a:cxn ang="0">
                    <a:pos x="182" y="79"/>
                  </a:cxn>
                  <a:cxn ang="0">
                    <a:pos x="195" y="64"/>
                  </a:cxn>
                  <a:cxn ang="0">
                    <a:pos x="200" y="49"/>
                  </a:cxn>
                  <a:cxn ang="0">
                    <a:pos x="195" y="33"/>
                  </a:cxn>
                  <a:cxn ang="0">
                    <a:pos x="182" y="18"/>
                  </a:cxn>
                  <a:cxn ang="0">
                    <a:pos x="172" y="10"/>
                  </a:cxn>
                  <a:cxn ang="0">
                    <a:pos x="160" y="5"/>
                  </a:cxn>
                  <a:cxn ang="0">
                    <a:pos x="146" y="2"/>
                  </a:cxn>
                  <a:cxn ang="0">
                    <a:pos x="126" y="0"/>
                  </a:cxn>
                  <a:cxn ang="0">
                    <a:pos x="74" y="0"/>
                  </a:cxn>
                  <a:cxn ang="0">
                    <a:pos x="54" y="2"/>
                  </a:cxn>
                  <a:cxn ang="0">
                    <a:pos x="39" y="5"/>
                  </a:cxn>
                  <a:cxn ang="0">
                    <a:pos x="28" y="10"/>
                  </a:cxn>
                  <a:cxn ang="0">
                    <a:pos x="18" y="18"/>
                  </a:cxn>
                  <a:cxn ang="0">
                    <a:pos x="5" y="33"/>
                  </a:cxn>
                  <a:cxn ang="0">
                    <a:pos x="0" y="48"/>
                  </a:cxn>
                  <a:cxn ang="0">
                    <a:pos x="5" y="63"/>
                  </a:cxn>
                  <a:cxn ang="0">
                    <a:pos x="18" y="77"/>
                  </a:cxn>
                  <a:cxn ang="0">
                    <a:pos x="41" y="90"/>
                  </a:cxn>
                  <a:cxn ang="0">
                    <a:pos x="70" y="102"/>
                  </a:cxn>
                  <a:cxn ang="0">
                    <a:pos x="100" y="107"/>
                  </a:cxn>
                  <a:cxn ang="0">
                    <a:pos x="128" y="103"/>
                  </a:cxn>
                  <a:cxn ang="0">
                    <a:pos x="159" y="92"/>
                  </a:cxn>
                </a:cxnLst>
                <a:rect l="0" t="0" r="r" b="b"/>
                <a:pathLst>
                  <a:path w="200" h="107">
                    <a:moveTo>
                      <a:pt x="159" y="92"/>
                    </a:moveTo>
                    <a:lnTo>
                      <a:pt x="182" y="79"/>
                    </a:lnTo>
                    <a:lnTo>
                      <a:pt x="195" y="64"/>
                    </a:lnTo>
                    <a:lnTo>
                      <a:pt x="200" y="49"/>
                    </a:lnTo>
                    <a:lnTo>
                      <a:pt x="195" y="33"/>
                    </a:lnTo>
                    <a:lnTo>
                      <a:pt x="182" y="18"/>
                    </a:lnTo>
                    <a:lnTo>
                      <a:pt x="172" y="10"/>
                    </a:lnTo>
                    <a:lnTo>
                      <a:pt x="160" y="5"/>
                    </a:lnTo>
                    <a:lnTo>
                      <a:pt x="146" y="2"/>
                    </a:lnTo>
                    <a:lnTo>
                      <a:pt x="126" y="0"/>
                    </a:lnTo>
                    <a:lnTo>
                      <a:pt x="74" y="0"/>
                    </a:lnTo>
                    <a:lnTo>
                      <a:pt x="54" y="2"/>
                    </a:lnTo>
                    <a:lnTo>
                      <a:pt x="39" y="5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5" y="33"/>
                    </a:lnTo>
                    <a:lnTo>
                      <a:pt x="0" y="48"/>
                    </a:lnTo>
                    <a:lnTo>
                      <a:pt x="5" y="63"/>
                    </a:lnTo>
                    <a:lnTo>
                      <a:pt x="18" y="77"/>
                    </a:lnTo>
                    <a:lnTo>
                      <a:pt x="41" y="90"/>
                    </a:lnTo>
                    <a:lnTo>
                      <a:pt x="70" y="102"/>
                    </a:lnTo>
                    <a:lnTo>
                      <a:pt x="100" y="107"/>
                    </a:lnTo>
                    <a:lnTo>
                      <a:pt x="128" y="103"/>
                    </a:lnTo>
                    <a:lnTo>
                      <a:pt x="159" y="9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grpSp>
            <p:nvGrpSpPr>
              <p:cNvPr id="317" name="Group 122"/>
              <p:cNvGrpSpPr/>
              <p:nvPr/>
            </p:nvGrpSpPr>
            <p:grpSpPr>
              <a:xfrm>
                <a:off x="4432301" y="3638414"/>
                <a:ext cx="152399" cy="171587"/>
                <a:chOff x="4419600" y="3638414"/>
                <a:chExt cx="152399" cy="171587"/>
              </a:xfrm>
              <a:grpFill/>
            </p:grpSpPr>
            <p:sp>
              <p:nvSpPr>
                <p:cNvPr id="320" name="Freeform 26"/>
                <p:cNvSpPr>
                  <a:spLocks/>
                </p:cNvSpPr>
                <p:nvPr/>
              </p:nvSpPr>
              <p:spPr bwMode="auto">
                <a:xfrm flipV="1">
                  <a:off x="4419600" y="3760334"/>
                  <a:ext cx="152399" cy="49667"/>
                </a:xfrm>
                <a:custGeom>
                  <a:avLst/>
                  <a:gdLst/>
                  <a:ahLst/>
                  <a:cxnLst>
                    <a:cxn ang="0">
                      <a:pos x="185" y="59"/>
                    </a:cxn>
                    <a:cxn ang="0">
                      <a:pos x="212" y="53"/>
                    </a:cxn>
                    <a:cxn ang="0">
                      <a:pos x="232" y="44"/>
                    </a:cxn>
                    <a:cxn ang="0">
                      <a:pos x="240" y="35"/>
                    </a:cxn>
                    <a:cxn ang="0">
                      <a:pos x="240" y="26"/>
                    </a:cxn>
                    <a:cxn ang="0">
                      <a:pos x="232" y="18"/>
                    </a:cxn>
                    <a:cxn ang="0">
                      <a:pos x="216" y="12"/>
                    </a:cxn>
                    <a:cxn ang="0">
                      <a:pos x="191" y="5"/>
                    </a:cxn>
                    <a:cxn ang="0">
                      <a:pos x="158" y="2"/>
                    </a:cxn>
                    <a:cxn ang="0">
                      <a:pos x="121" y="0"/>
                    </a:cxn>
                    <a:cxn ang="0">
                      <a:pos x="83" y="2"/>
                    </a:cxn>
                    <a:cxn ang="0">
                      <a:pos x="52" y="5"/>
                    </a:cxn>
                    <a:cxn ang="0">
                      <a:pos x="28" y="10"/>
                    </a:cxn>
                    <a:cxn ang="0">
                      <a:pos x="11" y="18"/>
                    </a:cxn>
                    <a:cxn ang="0">
                      <a:pos x="1" y="26"/>
                    </a:cxn>
                    <a:cxn ang="0">
                      <a:pos x="0" y="35"/>
                    </a:cxn>
                    <a:cxn ang="0">
                      <a:pos x="8" y="43"/>
                    </a:cxn>
                    <a:cxn ang="0">
                      <a:pos x="24" y="51"/>
                    </a:cxn>
                    <a:cxn ang="0">
                      <a:pos x="52" y="59"/>
                    </a:cxn>
                    <a:cxn ang="0">
                      <a:pos x="86" y="66"/>
                    </a:cxn>
                    <a:cxn ang="0">
                      <a:pos x="118" y="67"/>
                    </a:cxn>
                    <a:cxn ang="0">
                      <a:pos x="149" y="66"/>
                    </a:cxn>
                    <a:cxn ang="0">
                      <a:pos x="185" y="59"/>
                    </a:cxn>
                  </a:cxnLst>
                  <a:rect l="0" t="0" r="r" b="b"/>
                  <a:pathLst>
                    <a:path w="240" h="67">
                      <a:moveTo>
                        <a:pt x="185" y="59"/>
                      </a:moveTo>
                      <a:lnTo>
                        <a:pt x="212" y="53"/>
                      </a:lnTo>
                      <a:lnTo>
                        <a:pt x="232" y="44"/>
                      </a:lnTo>
                      <a:lnTo>
                        <a:pt x="240" y="35"/>
                      </a:lnTo>
                      <a:lnTo>
                        <a:pt x="240" y="26"/>
                      </a:lnTo>
                      <a:lnTo>
                        <a:pt x="232" y="18"/>
                      </a:lnTo>
                      <a:lnTo>
                        <a:pt x="216" y="12"/>
                      </a:lnTo>
                      <a:lnTo>
                        <a:pt x="191" y="5"/>
                      </a:lnTo>
                      <a:lnTo>
                        <a:pt x="158" y="2"/>
                      </a:lnTo>
                      <a:lnTo>
                        <a:pt x="121" y="0"/>
                      </a:lnTo>
                      <a:lnTo>
                        <a:pt x="83" y="2"/>
                      </a:lnTo>
                      <a:lnTo>
                        <a:pt x="52" y="5"/>
                      </a:lnTo>
                      <a:lnTo>
                        <a:pt x="28" y="10"/>
                      </a:lnTo>
                      <a:lnTo>
                        <a:pt x="11" y="18"/>
                      </a:lnTo>
                      <a:lnTo>
                        <a:pt x="1" y="26"/>
                      </a:lnTo>
                      <a:lnTo>
                        <a:pt x="0" y="35"/>
                      </a:lnTo>
                      <a:lnTo>
                        <a:pt x="8" y="43"/>
                      </a:lnTo>
                      <a:lnTo>
                        <a:pt x="24" y="51"/>
                      </a:lnTo>
                      <a:lnTo>
                        <a:pt x="52" y="59"/>
                      </a:lnTo>
                      <a:lnTo>
                        <a:pt x="86" y="66"/>
                      </a:lnTo>
                      <a:lnTo>
                        <a:pt x="118" y="67"/>
                      </a:lnTo>
                      <a:lnTo>
                        <a:pt x="149" y="66"/>
                      </a:lnTo>
                      <a:lnTo>
                        <a:pt x="185" y="59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  <p:sp>
              <p:nvSpPr>
                <p:cNvPr id="321" name="Freeform 27"/>
                <p:cNvSpPr>
                  <a:spLocks/>
                </p:cNvSpPr>
                <p:nvPr/>
              </p:nvSpPr>
              <p:spPr bwMode="auto">
                <a:xfrm flipV="1">
                  <a:off x="4419600" y="3638414"/>
                  <a:ext cx="152399" cy="45719"/>
                </a:xfrm>
                <a:custGeom>
                  <a:avLst/>
                  <a:gdLst/>
                  <a:ahLst/>
                  <a:cxnLst>
                    <a:cxn ang="0">
                      <a:pos x="204" y="55"/>
                    </a:cxn>
                    <a:cxn ang="0">
                      <a:pos x="222" y="49"/>
                    </a:cxn>
                    <a:cxn ang="0">
                      <a:pos x="235" y="44"/>
                    </a:cxn>
                    <a:cxn ang="0">
                      <a:pos x="240" y="37"/>
                    </a:cxn>
                    <a:cxn ang="0">
                      <a:pos x="242" y="31"/>
                    </a:cxn>
                    <a:cxn ang="0">
                      <a:pos x="235" y="21"/>
                    </a:cxn>
                    <a:cxn ang="0">
                      <a:pos x="219" y="13"/>
                    </a:cxn>
                    <a:cxn ang="0">
                      <a:pos x="196" y="6"/>
                    </a:cxn>
                    <a:cxn ang="0">
                      <a:pos x="168" y="3"/>
                    </a:cxn>
                    <a:cxn ang="0">
                      <a:pos x="137" y="0"/>
                    </a:cxn>
                    <a:cxn ang="0">
                      <a:pos x="104" y="0"/>
                    </a:cxn>
                    <a:cxn ang="0">
                      <a:pos x="73" y="3"/>
                    </a:cxn>
                    <a:cxn ang="0">
                      <a:pos x="46" y="6"/>
                    </a:cxn>
                    <a:cxn ang="0">
                      <a:pos x="23" y="13"/>
                    </a:cxn>
                    <a:cxn ang="0">
                      <a:pos x="6" y="21"/>
                    </a:cxn>
                    <a:cxn ang="0">
                      <a:pos x="0" y="31"/>
                    </a:cxn>
                    <a:cxn ang="0">
                      <a:pos x="3" y="40"/>
                    </a:cxn>
                    <a:cxn ang="0">
                      <a:pos x="15" y="49"/>
                    </a:cxn>
                    <a:cxn ang="0">
                      <a:pos x="33" y="55"/>
                    </a:cxn>
                    <a:cxn ang="0">
                      <a:pos x="57" y="62"/>
                    </a:cxn>
                    <a:cxn ang="0">
                      <a:pos x="86" y="65"/>
                    </a:cxn>
                    <a:cxn ang="0">
                      <a:pos x="116" y="67"/>
                    </a:cxn>
                    <a:cxn ang="0">
                      <a:pos x="147" y="65"/>
                    </a:cxn>
                    <a:cxn ang="0">
                      <a:pos x="176" y="62"/>
                    </a:cxn>
                    <a:cxn ang="0">
                      <a:pos x="204" y="55"/>
                    </a:cxn>
                  </a:cxnLst>
                  <a:rect l="0" t="0" r="r" b="b"/>
                  <a:pathLst>
                    <a:path w="242" h="67">
                      <a:moveTo>
                        <a:pt x="204" y="55"/>
                      </a:moveTo>
                      <a:lnTo>
                        <a:pt x="222" y="49"/>
                      </a:lnTo>
                      <a:lnTo>
                        <a:pt x="235" y="44"/>
                      </a:lnTo>
                      <a:lnTo>
                        <a:pt x="240" y="37"/>
                      </a:lnTo>
                      <a:lnTo>
                        <a:pt x="242" y="31"/>
                      </a:lnTo>
                      <a:lnTo>
                        <a:pt x="235" y="21"/>
                      </a:lnTo>
                      <a:lnTo>
                        <a:pt x="219" y="13"/>
                      </a:lnTo>
                      <a:lnTo>
                        <a:pt x="196" y="6"/>
                      </a:lnTo>
                      <a:lnTo>
                        <a:pt x="168" y="3"/>
                      </a:lnTo>
                      <a:lnTo>
                        <a:pt x="137" y="0"/>
                      </a:lnTo>
                      <a:lnTo>
                        <a:pt x="104" y="0"/>
                      </a:lnTo>
                      <a:lnTo>
                        <a:pt x="73" y="3"/>
                      </a:lnTo>
                      <a:lnTo>
                        <a:pt x="46" y="6"/>
                      </a:lnTo>
                      <a:lnTo>
                        <a:pt x="23" y="13"/>
                      </a:lnTo>
                      <a:lnTo>
                        <a:pt x="6" y="21"/>
                      </a:lnTo>
                      <a:lnTo>
                        <a:pt x="0" y="31"/>
                      </a:lnTo>
                      <a:lnTo>
                        <a:pt x="3" y="40"/>
                      </a:lnTo>
                      <a:lnTo>
                        <a:pt x="15" y="49"/>
                      </a:lnTo>
                      <a:lnTo>
                        <a:pt x="33" y="55"/>
                      </a:lnTo>
                      <a:lnTo>
                        <a:pt x="57" y="62"/>
                      </a:lnTo>
                      <a:lnTo>
                        <a:pt x="86" y="65"/>
                      </a:lnTo>
                      <a:lnTo>
                        <a:pt x="116" y="67"/>
                      </a:lnTo>
                      <a:lnTo>
                        <a:pt x="147" y="65"/>
                      </a:lnTo>
                      <a:lnTo>
                        <a:pt x="176" y="62"/>
                      </a:lnTo>
                      <a:lnTo>
                        <a:pt x="204" y="55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318" name="Freeform 28"/>
              <p:cNvSpPr>
                <a:spLocks/>
              </p:cNvSpPr>
              <p:nvPr/>
            </p:nvSpPr>
            <p:spPr bwMode="auto">
              <a:xfrm>
                <a:off x="4356100" y="2971800"/>
                <a:ext cx="304800" cy="523613"/>
              </a:xfrm>
              <a:custGeom>
                <a:avLst/>
                <a:gdLst/>
                <a:ahLst/>
                <a:cxnLst>
                  <a:cxn ang="0">
                    <a:pos x="208" y="403"/>
                  </a:cxn>
                  <a:cxn ang="0">
                    <a:pos x="234" y="388"/>
                  </a:cxn>
                  <a:cxn ang="0">
                    <a:pos x="255" y="370"/>
                  </a:cxn>
                  <a:cxn ang="0">
                    <a:pos x="273" y="349"/>
                  </a:cxn>
                  <a:cxn ang="0">
                    <a:pos x="288" y="321"/>
                  </a:cxn>
                  <a:cxn ang="0">
                    <a:pos x="293" y="306"/>
                  </a:cxn>
                  <a:cxn ang="0">
                    <a:pos x="298" y="293"/>
                  </a:cxn>
                  <a:cxn ang="0">
                    <a:pos x="298" y="264"/>
                  </a:cxn>
                  <a:cxn ang="0">
                    <a:pos x="294" y="241"/>
                  </a:cxn>
                  <a:cxn ang="0">
                    <a:pos x="289" y="208"/>
                  </a:cxn>
                  <a:cxn ang="0">
                    <a:pos x="289" y="175"/>
                  </a:cxn>
                  <a:cxn ang="0">
                    <a:pos x="294" y="141"/>
                  </a:cxn>
                  <a:cxn ang="0">
                    <a:pos x="298" y="110"/>
                  </a:cxn>
                  <a:cxn ang="0">
                    <a:pos x="296" y="84"/>
                  </a:cxn>
                  <a:cxn ang="0">
                    <a:pos x="291" y="63"/>
                  </a:cxn>
                  <a:cxn ang="0">
                    <a:pos x="278" y="43"/>
                  </a:cxn>
                  <a:cxn ang="0">
                    <a:pos x="262" y="27"/>
                  </a:cxn>
                  <a:cxn ang="0">
                    <a:pos x="237" y="12"/>
                  </a:cxn>
                  <a:cxn ang="0">
                    <a:pos x="219" y="5"/>
                  </a:cxn>
                  <a:cxn ang="0">
                    <a:pos x="195" y="2"/>
                  </a:cxn>
                  <a:cxn ang="0">
                    <a:pos x="164" y="0"/>
                  </a:cxn>
                  <a:cxn ang="0">
                    <a:pos x="134" y="0"/>
                  </a:cxn>
                  <a:cxn ang="0">
                    <a:pos x="103" y="2"/>
                  </a:cxn>
                  <a:cxn ang="0">
                    <a:pos x="79" y="5"/>
                  </a:cxn>
                  <a:cxn ang="0">
                    <a:pos x="61" y="12"/>
                  </a:cxn>
                  <a:cxn ang="0">
                    <a:pos x="36" y="27"/>
                  </a:cxn>
                  <a:cxn ang="0">
                    <a:pos x="20" y="43"/>
                  </a:cxn>
                  <a:cxn ang="0">
                    <a:pos x="7" y="63"/>
                  </a:cxn>
                  <a:cxn ang="0">
                    <a:pos x="2" y="84"/>
                  </a:cxn>
                  <a:cxn ang="0">
                    <a:pos x="0" y="110"/>
                  </a:cxn>
                  <a:cxn ang="0">
                    <a:pos x="3" y="141"/>
                  </a:cxn>
                  <a:cxn ang="0">
                    <a:pos x="7" y="175"/>
                  </a:cxn>
                  <a:cxn ang="0">
                    <a:pos x="7" y="208"/>
                  </a:cxn>
                  <a:cxn ang="0">
                    <a:pos x="3" y="241"/>
                  </a:cxn>
                  <a:cxn ang="0">
                    <a:pos x="0" y="264"/>
                  </a:cxn>
                  <a:cxn ang="0">
                    <a:pos x="0" y="293"/>
                  </a:cxn>
                  <a:cxn ang="0">
                    <a:pos x="5" y="306"/>
                  </a:cxn>
                  <a:cxn ang="0">
                    <a:pos x="10" y="321"/>
                  </a:cxn>
                  <a:cxn ang="0">
                    <a:pos x="20" y="339"/>
                  </a:cxn>
                  <a:cxn ang="0">
                    <a:pos x="31" y="357"/>
                  </a:cxn>
                  <a:cxn ang="0">
                    <a:pos x="41" y="370"/>
                  </a:cxn>
                  <a:cxn ang="0">
                    <a:pos x="59" y="385"/>
                  </a:cxn>
                  <a:cxn ang="0">
                    <a:pos x="80" y="398"/>
                  </a:cxn>
                  <a:cxn ang="0">
                    <a:pos x="103" y="407"/>
                  </a:cxn>
                  <a:cxn ang="0">
                    <a:pos x="128" y="414"/>
                  </a:cxn>
                  <a:cxn ang="0">
                    <a:pos x="149" y="417"/>
                  </a:cxn>
                  <a:cxn ang="0">
                    <a:pos x="167" y="416"/>
                  </a:cxn>
                  <a:cxn ang="0">
                    <a:pos x="188" y="411"/>
                  </a:cxn>
                  <a:cxn ang="0">
                    <a:pos x="208" y="403"/>
                  </a:cxn>
                </a:cxnLst>
                <a:rect l="0" t="0" r="r" b="b"/>
                <a:pathLst>
                  <a:path w="298" h="417">
                    <a:moveTo>
                      <a:pt x="208" y="403"/>
                    </a:moveTo>
                    <a:lnTo>
                      <a:pt x="234" y="388"/>
                    </a:lnTo>
                    <a:lnTo>
                      <a:pt x="255" y="370"/>
                    </a:lnTo>
                    <a:lnTo>
                      <a:pt x="273" y="349"/>
                    </a:lnTo>
                    <a:lnTo>
                      <a:pt x="288" y="321"/>
                    </a:lnTo>
                    <a:lnTo>
                      <a:pt x="293" y="306"/>
                    </a:lnTo>
                    <a:lnTo>
                      <a:pt x="298" y="293"/>
                    </a:lnTo>
                    <a:lnTo>
                      <a:pt x="298" y="264"/>
                    </a:lnTo>
                    <a:lnTo>
                      <a:pt x="294" y="241"/>
                    </a:lnTo>
                    <a:lnTo>
                      <a:pt x="289" y="208"/>
                    </a:lnTo>
                    <a:lnTo>
                      <a:pt x="289" y="175"/>
                    </a:lnTo>
                    <a:lnTo>
                      <a:pt x="294" y="141"/>
                    </a:lnTo>
                    <a:lnTo>
                      <a:pt x="298" y="110"/>
                    </a:lnTo>
                    <a:lnTo>
                      <a:pt x="296" y="84"/>
                    </a:lnTo>
                    <a:lnTo>
                      <a:pt x="291" y="63"/>
                    </a:lnTo>
                    <a:lnTo>
                      <a:pt x="278" y="43"/>
                    </a:lnTo>
                    <a:lnTo>
                      <a:pt x="262" y="27"/>
                    </a:lnTo>
                    <a:lnTo>
                      <a:pt x="237" y="12"/>
                    </a:lnTo>
                    <a:lnTo>
                      <a:pt x="219" y="5"/>
                    </a:lnTo>
                    <a:lnTo>
                      <a:pt x="195" y="2"/>
                    </a:lnTo>
                    <a:lnTo>
                      <a:pt x="164" y="0"/>
                    </a:lnTo>
                    <a:lnTo>
                      <a:pt x="134" y="0"/>
                    </a:lnTo>
                    <a:lnTo>
                      <a:pt x="103" y="2"/>
                    </a:lnTo>
                    <a:lnTo>
                      <a:pt x="79" y="5"/>
                    </a:lnTo>
                    <a:lnTo>
                      <a:pt x="61" y="12"/>
                    </a:lnTo>
                    <a:lnTo>
                      <a:pt x="36" y="27"/>
                    </a:lnTo>
                    <a:lnTo>
                      <a:pt x="20" y="43"/>
                    </a:lnTo>
                    <a:lnTo>
                      <a:pt x="7" y="63"/>
                    </a:lnTo>
                    <a:lnTo>
                      <a:pt x="2" y="84"/>
                    </a:lnTo>
                    <a:lnTo>
                      <a:pt x="0" y="110"/>
                    </a:lnTo>
                    <a:lnTo>
                      <a:pt x="3" y="141"/>
                    </a:lnTo>
                    <a:lnTo>
                      <a:pt x="7" y="175"/>
                    </a:lnTo>
                    <a:lnTo>
                      <a:pt x="7" y="208"/>
                    </a:lnTo>
                    <a:lnTo>
                      <a:pt x="3" y="241"/>
                    </a:lnTo>
                    <a:lnTo>
                      <a:pt x="0" y="264"/>
                    </a:lnTo>
                    <a:lnTo>
                      <a:pt x="0" y="293"/>
                    </a:lnTo>
                    <a:lnTo>
                      <a:pt x="5" y="306"/>
                    </a:lnTo>
                    <a:lnTo>
                      <a:pt x="10" y="321"/>
                    </a:lnTo>
                    <a:lnTo>
                      <a:pt x="20" y="339"/>
                    </a:lnTo>
                    <a:lnTo>
                      <a:pt x="31" y="357"/>
                    </a:lnTo>
                    <a:lnTo>
                      <a:pt x="41" y="370"/>
                    </a:lnTo>
                    <a:lnTo>
                      <a:pt x="59" y="385"/>
                    </a:lnTo>
                    <a:lnTo>
                      <a:pt x="80" y="398"/>
                    </a:lnTo>
                    <a:lnTo>
                      <a:pt x="103" y="407"/>
                    </a:lnTo>
                    <a:lnTo>
                      <a:pt x="128" y="414"/>
                    </a:lnTo>
                    <a:lnTo>
                      <a:pt x="149" y="417"/>
                    </a:lnTo>
                    <a:lnTo>
                      <a:pt x="167" y="416"/>
                    </a:lnTo>
                    <a:lnTo>
                      <a:pt x="188" y="411"/>
                    </a:lnTo>
                    <a:lnTo>
                      <a:pt x="208" y="40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319" name="Freeform 37"/>
              <p:cNvSpPr>
                <a:spLocks/>
              </p:cNvSpPr>
              <p:nvPr/>
            </p:nvSpPr>
            <p:spPr bwMode="auto">
              <a:xfrm>
                <a:off x="4392701" y="2667000"/>
                <a:ext cx="231598" cy="178734"/>
              </a:xfrm>
              <a:custGeom>
                <a:avLst/>
                <a:gdLst/>
                <a:ahLst/>
                <a:cxnLst>
                  <a:cxn ang="0">
                    <a:pos x="138" y="135"/>
                  </a:cxn>
                  <a:cxn ang="0">
                    <a:pos x="159" y="139"/>
                  </a:cxn>
                  <a:cxn ang="0">
                    <a:pos x="172" y="140"/>
                  </a:cxn>
                  <a:cxn ang="0">
                    <a:pos x="178" y="139"/>
                  </a:cxn>
                  <a:cxn ang="0">
                    <a:pos x="182" y="135"/>
                  </a:cxn>
                  <a:cxn ang="0">
                    <a:pos x="183" y="130"/>
                  </a:cxn>
                  <a:cxn ang="0">
                    <a:pos x="183" y="126"/>
                  </a:cxn>
                  <a:cxn ang="0">
                    <a:pos x="182" y="121"/>
                  </a:cxn>
                  <a:cxn ang="0">
                    <a:pos x="178" y="116"/>
                  </a:cxn>
                  <a:cxn ang="0">
                    <a:pos x="177" y="111"/>
                  </a:cxn>
                  <a:cxn ang="0">
                    <a:pos x="174" y="108"/>
                  </a:cxn>
                  <a:cxn ang="0">
                    <a:pos x="167" y="98"/>
                  </a:cxn>
                  <a:cxn ang="0">
                    <a:pos x="162" y="83"/>
                  </a:cxn>
                  <a:cxn ang="0">
                    <a:pos x="159" y="63"/>
                  </a:cxn>
                  <a:cxn ang="0">
                    <a:pos x="157" y="44"/>
                  </a:cxn>
                  <a:cxn ang="0">
                    <a:pos x="154" y="32"/>
                  </a:cxn>
                  <a:cxn ang="0">
                    <a:pos x="147" y="27"/>
                  </a:cxn>
                  <a:cxn ang="0">
                    <a:pos x="136" y="24"/>
                  </a:cxn>
                  <a:cxn ang="0">
                    <a:pos x="129" y="24"/>
                  </a:cxn>
                  <a:cxn ang="0">
                    <a:pos x="120" y="19"/>
                  </a:cxn>
                  <a:cxn ang="0">
                    <a:pos x="116" y="14"/>
                  </a:cxn>
                  <a:cxn ang="0">
                    <a:pos x="111" y="5"/>
                  </a:cxn>
                  <a:cxn ang="0">
                    <a:pos x="107" y="1"/>
                  </a:cxn>
                  <a:cxn ang="0">
                    <a:pos x="100" y="0"/>
                  </a:cxn>
                  <a:cxn ang="0">
                    <a:pos x="84" y="0"/>
                  </a:cxn>
                  <a:cxn ang="0">
                    <a:pos x="77" y="1"/>
                  </a:cxn>
                  <a:cxn ang="0">
                    <a:pos x="72" y="5"/>
                  </a:cxn>
                  <a:cxn ang="0">
                    <a:pos x="67" y="14"/>
                  </a:cxn>
                  <a:cxn ang="0">
                    <a:pos x="64" y="19"/>
                  </a:cxn>
                  <a:cxn ang="0">
                    <a:pos x="54" y="24"/>
                  </a:cxn>
                  <a:cxn ang="0">
                    <a:pos x="48" y="24"/>
                  </a:cxn>
                  <a:cxn ang="0">
                    <a:pos x="36" y="27"/>
                  </a:cxn>
                  <a:cxn ang="0">
                    <a:pos x="30" y="32"/>
                  </a:cxn>
                  <a:cxn ang="0">
                    <a:pos x="26" y="44"/>
                  </a:cxn>
                  <a:cxn ang="0">
                    <a:pos x="25" y="63"/>
                  </a:cxn>
                  <a:cxn ang="0">
                    <a:pos x="22" y="83"/>
                  </a:cxn>
                  <a:cxn ang="0">
                    <a:pos x="17" y="98"/>
                  </a:cxn>
                  <a:cxn ang="0">
                    <a:pos x="10" y="108"/>
                  </a:cxn>
                  <a:cxn ang="0">
                    <a:pos x="7" y="111"/>
                  </a:cxn>
                  <a:cxn ang="0">
                    <a:pos x="5" y="116"/>
                  </a:cxn>
                  <a:cxn ang="0">
                    <a:pos x="2" y="121"/>
                  </a:cxn>
                  <a:cxn ang="0">
                    <a:pos x="0" y="126"/>
                  </a:cxn>
                  <a:cxn ang="0">
                    <a:pos x="0" y="130"/>
                  </a:cxn>
                  <a:cxn ang="0">
                    <a:pos x="2" y="135"/>
                  </a:cxn>
                  <a:cxn ang="0">
                    <a:pos x="5" y="139"/>
                  </a:cxn>
                  <a:cxn ang="0">
                    <a:pos x="12" y="140"/>
                  </a:cxn>
                  <a:cxn ang="0">
                    <a:pos x="25" y="139"/>
                  </a:cxn>
                  <a:cxn ang="0">
                    <a:pos x="46" y="135"/>
                  </a:cxn>
                  <a:cxn ang="0">
                    <a:pos x="92" y="132"/>
                  </a:cxn>
                  <a:cxn ang="0">
                    <a:pos x="138" y="135"/>
                  </a:cxn>
                </a:cxnLst>
                <a:rect l="0" t="0" r="r" b="b"/>
                <a:pathLst>
                  <a:path w="183" h="140">
                    <a:moveTo>
                      <a:pt x="138" y="135"/>
                    </a:moveTo>
                    <a:lnTo>
                      <a:pt x="159" y="139"/>
                    </a:lnTo>
                    <a:lnTo>
                      <a:pt x="172" y="140"/>
                    </a:lnTo>
                    <a:lnTo>
                      <a:pt x="178" y="139"/>
                    </a:lnTo>
                    <a:lnTo>
                      <a:pt x="182" y="135"/>
                    </a:lnTo>
                    <a:lnTo>
                      <a:pt x="183" y="130"/>
                    </a:lnTo>
                    <a:lnTo>
                      <a:pt x="183" y="126"/>
                    </a:lnTo>
                    <a:lnTo>
                      <a:pt x="182" y="121"/>
                    </a:lnTo>
                    <a:lnTo>
                      <a:pt x="178" y="116"/>
                    </a:lnTo>
                    <a:lnTo>
                      <a:pt x="177" y="111"/>
                    </a:lnTo>
                    <a:lnTo>
                      <a:pt x="174" y="108"/>
                    </a:lnTo>
                    <a:lnTo>
                      <a:pt x="167" y="98"/>
                    </a:lnTo>
                    <a:lnTo>
                      <a:pt x="162" y="83"/>
                    </a:lnTo>
                    <a:lnTo>
                      <a:pt x="159" y="63"/>
                    </a:lnTo>
                    <a:lnTo>
                      <a:pt x="157" y="44"/>
                    </a:lnTo>
                    <a:lnTo>
                      <a:pt x="154" y="32"/>
                    </a:lnTo>
                    <a:lnTo>
                      <a:pt x="147" y="27"/>
                    </a:lnTo>
                    <a:lnTo>
                      <a:pt x="136" y="24"/>
                    </a:lnTo>
                    <a:lnTo>
                      <a:pt x="129" y="24"/>
                    </a:lnTo>
                    <a:lnTo>
                      <a:pt x="120" y="19"/>
                    </a:lnTo>
                    <a:lnTo>
                      <a:pt x="116" y="14"/>
                    </a:lnTo>
                    <a:lnTo>
                      <a:pt x="111" y="5"/>
                    </a:lnTo>
                    <a:lnTo>
                      <a:pt x="107" y="1"/>
                    </a:lnTo>
                    <a:lnTo>
                      <a:pt x="100" y="0"/>
                    </a:lnTo>
                    <a:lnTo>
                      <a:pt x="84" y="0"/>
                    </a:lnTo>
                    <a:lnTo>
                      <a:pt x="77" y="1"/>
                    </a:lnTo>
                    <a:lnTo>
                      <a:pt x="72" y="5"/>
                    </a:lnTo>
                    <a:lnTo>
                      <a:pt x="67" y="14"/>
                    </a:lnTo>
                    <a:lnTo>
                      <a:pt x="64" y="19"/>
                    </a:lnTo>
                    <a:lnTo>
                      <a:pt x="54" y="24"/>
                    </a:lnTo>
                    <a:lnTo>
                      <a:pt x="48" y="24"/>
                    </a:lnTo>
                    <a:lnTo>
                      <a:pt x="36" y="27"/>
                    </a:lnTo>
                    <a:lnTo>
                      <a:pt x="30" y="32"/>
                    </a:lnTo>
                    <a:lnTo>
                      <a:pt x="26" y="44"/>
                    </a:lnTo>
                    <a:lnTo>
                      <a:pt x="25" y="63"/>
                    </a:lnTo>
                    <a:lnTo>
                      <a:pt x="22" y="83"/>
                    </a:lnTo>
                    <a:lnTo>
                      <a:pt x="17" y="98"/>
                    </a:lnTo>
                    <a:lnTo>
                      <a:pt x="10" y="108"/>
                    </a:lnTo>
                    <a:lnTo>
                      <a:pt x="7" y="111"/>
                    </a:lnTo>
                    <a:lnTo>
                      <a:pt x="5" y="116"/>
                    </a:lnTo>
                    <a:lnTo>
                      <a:pt x="2" y="121"/>
                    </a:lnTo>
                    <a:lnTo>
                      <a:pt x="0" y="126"/>
                    </a:lnTo>
                    <a:lnTo>
                      <a:pt x="0" y="130"/>
                    </a:lnTo>
                    <a:lnTo>
                      <a:pt x="2" y="135"/>
                    </a:lnTo>
                    <a:lnTo>
                      <a:pt x="5" y="139"/>
                    </a:lnTo>
                    <a:lnTo>
                      <a:pt x="12" y="140"/>
                    </a:lnTo>
                    <a:lnTo>
                      <a:pt x="25" y="139"/>
                    </a:lnTo>
                    <a:lnTo>
                      <a:pt x="46" y="135"/>
                    </a:lnTo>
                    <a:lnTo>
                      <a:pt x="92" y="132"/>
                    </a:lnTo>
                    <a:lnTo>
                      <a:pt x="138" y="135"/>
                    </a:lnTo>
                    <a:close/>
                  </a:path>
                </a:pathLst>
              </a:custGeom>
              <a:grpFill/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358550"/>
            <a:ext cx="7886700" cy="553998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sz="3600" dirty="0" smtClean="0"/>
              <a:t>Must Be Transformative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17616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3366FF"/>
                </a:solidFill>
              </a:rPr>
              <a:t>A Manifesto for Agile Software Developer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3759" y="1901111"/>
            <a:ext cx="7595084" cy="382195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The Agile Software Development Manifesto© is an intentionally streamlined expression of the core values of agile project management. Use this manifesto as a guide to implement agile methodologies in your projects.</a:t>
            </a:r>
          </a:p>
          <a:p>
            <a:pPr marL="0" indent="0">
              <a:buNone/>
            </a:pPr>
            <a:r>
              <a:rPr lang="en-US" sz="1800" dirty="0"/>
              <a:t> </a:t>
            </a:r>
          </a:p>
          <a:p>
            <a:pPr marL="0" indent="0">
              <a:buNone/>
            </a:pPr>
            <a:r>
              <a:rPr lang="en-US" sz="1800" dirty="0" smtClean="0"/>
              <a:t>We </a:t>
            </a:r>
            <a:r>
              <a:rPr lang="en-US" sz="1800" dirty="0"/>
              <a:t>are uncovering better ways of developing software by doing it and helping others do it. Through this work, we have come to value</a:t>
            </a:r>
            <a:r>
              <a:rPr lang="en-US" sz="1800" dirty="0" smtClean="0"/>
              <a:t>:</a:t>
            </a:r>
            <a:endParaRPr lang="en-US" sz="1800" dirty="0"/>
          </a:p>
          <a:p>
            <a:pPr lvl="0">
              <a:buFont typeface="Wingdings" charset="2"/>
              <a:buChar char="Ø"/>
            </a:pPr>
            <a:r>
              <a:rPr lang="en-US" sz="1800" b="1" dirty="0">
                <a:solidFill>
                  <a:srgbClr val="3366FF"/>
                </a:solidFill>
              </a:rPr>
              <a:t>Individuals and interactions </a:t>
            </a:r>
            <a:r>
              <a:rPr lang="en-US" sz="1800" dirty="0"/>
              <a:t>over </a:t>
            </a:r>
            <a:r>
              <a:rPr lang="en-US" sz="1800" strike="sngStrike" dirty="0"/>
              <a:t>processes and tools</a:t>
            </a:r>
          </a:p>
          <a:p>
            <a:pPr lvl="0">
              <a:buFont typeface="Wingdings" charset="2"/>
              <a:buChar char="Ø"/>
            </a:pPr>
            <a:r>
              <a:rPr lang="en-US" sz="1800" b="1" dirty="0">
                <a:solidFill>
                  <a:srgbClr val="3366FF"/>
                </a:solidFill>
              </a:rPr>
              <a:t>Working software </a:t>
            </a:r>
            <a:r>
              <a:rPr lang="en-US" sz="1800" dirty="0"/>
              <a:t>over </a:t>
            </a:r>
            <a:r>
              <a:rPr lang="en-US" sz="1800" strike="sngStrike" dirty="0"/>
              <a:t>comprehensive documentation</a:t>
            </a:r>
          </a:p>
          <a:p>
            <a:pPr lvl="0">
              <a:buFont typeface="Wingdings" charset="2"/>
              <a:buChar char="Ø"/>
            </a:pPr>
            <a:r>
              <a:rPr lang="en-US" sz="1800" b="1" dirty="0">
                <a:solidFill>
                  <a:srgbClr val="3366FF"/>
                </a:solidFill>
              </a:rPr>
              <a:t>Customer collaboration </a:t>
            </a:r>
            <a:r>
              <a:rPr lang="en-US" sz="1800" dirty="0"/>
              <a:t>over </a:t>
            </a:r>
            <a:r>
              <a:rPr lang="en-US" sz="1800" strike="sngStrike" dirty="0"/>
              <a:t>contract negotiation</a:t>
            </a:r>
          </a:p>
          <a:p>
            <a:pPr lvl="0">
              <a:buFont typeface="Wingdings" charset="2"/>
              <a:buChar char="Ø"/>
            </a:pPr>
            <a:r>
              <a:rPr lang="en-US" sz="1800" b="1" dirty="0">
                <a:solidFill>
                  <a:srgbClr val="3366FF"/>
                </a:solidFill>
              </a:rPr>
              <a:t>Responding to change </a:t>
            </a:r>
            <a:r>
              <a:rPr lang="en-US" sz="1800" dirty="0"/>
              <a:t>over </a:t>
            </a:r>
            <a:r>
              <a:rPr lang="en-US" sz="1800" strike="sngStrike" dirty="0"/>
              <a:t>following a plan</a:t>
            </a:r>
          </a:p>
          <a:p>
            <a:pPr marL="0" indent="0">
              <a:buNone/>
            </a:pPr>
            <a:r>
              <a:rPr lang="en-US" sz="1800" dirty="0" smtClean="0"/>
              <a:t>That </a:t>
            </a:r>
            <a:r>
              <a:rPr lang="en-US" sz="1800" dirty="0"/>
              <a:t>is, while there is value in the items on the right, we value the items on the left more</a:t>
            </a:r>
            <a:r>
              <a:rPr lang="en-US" sz="1800" dirty="0" smtClean="0"/>
              <a:t>.</a:t>
            </a:r>
            <a:endParaRPr lang="en-US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1095023" y="5723401"/>
            <a:ext cx="707308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©Agile Manifesto Copyright 2001: Kent Beck, Mike </a:t>
            </a:r>
            <a:r>
              <a:rPr lang="en-US" sz="800" dirty="0" err="1" smtClean="0"/>
              <a:t>Beedle</a:t>
            </a:r>
            <a:r>
              <a:rPr lang="en-US" sz="800" dirty="0" smtClean="0"/>
              <a:t>, </a:t>
            </a:r>
            <a:r>
              <a:rPr lang="en-US" sz="800" dirty="0" err="1" smtClean="0"/>
              <a:t>Arie</a:t>
            </a:r>
            <a:r>
              <a:rPr lang="en-US" sz="800" dirty="0" smtClean="0"/>
              <a:t> van </a:t>
            </a:r>
            <a:r>
              <a:rPr lang="en-US" sz="800" dirty="0" err="1" smtClean="0"/>
              <a:t>Bennekum</a:t>
            </a:r>
            <a:r>
              <a:rPr lang="en-US" sz="800" dirty="0" smtClean="0"/>
              <a:t>, Alistair Cockburn, Ward Cunningham, Martin Fowler, James </a:t>
            </a:r>
            <a:r>
              <a:rPr lang="en-US" sz="800" dirty="0" err="1" smtClean="0"/>
              <a:t>Grenning</a:t>
            </a:r>
            <a:r>
              <a:rPr lang="en-US" sz="800" dirty="0" smtClean="0"/>
              <a:t>, Jim </a:t>
            </a:r>
            <a:r>
              <a:rPr lang="en-US" sz="800" dirty="0" err="1" smtClean="0"/>
              <a:t>Highsmith</a:t>
            </a:r>
            <a:r>
              <a:rPr lang="en-US" sz="800" dirty="0" smtClean="0"/>
              <a:t>, Andrew Hunt, Ron Jeffries, Jon Kern, Brian </a:t>
            </a:r>
            <a:r>
              <a:rPr lang="en-US" sz="800" dirty="0" err="1" smtClean="0"/>
              <a:t>Marick</a:t>
            </a:r>
            <a:r>
              <a:rPr lang="en-US" sz="800" dirty="0" smtClean="0"/>
              <a:t>, Robert C. Martin, Steve Mellor, Ken </a:t>
            </a:r>
            <a:r>
              <a:rPr lang="en-US" sz="800" dirty="0" err="1" smtClean="0"/>
              <a:t>Schwaber</a:t>
            </a:r>
            <a:r>
              <a:rPr lang="en-US" sz="800" dirty="0" smtClean="0"/>
              <a:t>, Jeff Sutherland, Dave Thomas.</a:t>
            </a:r>
          </a:p>
          <a:p>
            <a:r>
              <a:rPr lang="en-US" sz="800" dirty="0" smtClean="0"/>
              <a:t>This declaration may be freely copied in any form, but only in its entirety through this notice. (http://</a:t>
            </a:r>
            <a:r>
              <a:rPr lang="en-US" sz="800" dirty="0" err="1" smtClean="0"/>
              <a:t>www.dummies.com</a:t>
            </a:r>
            <a:r>
              <a:rPr lang="en-US" sz="800" dirty="0" smtClean="0"/>
              <a:t>/how-to/content/agile-project-management-for-dummies-cheat-</a:t>
            </a:r>
            <a:r>
              <a:rPr lang="en-US" sz="800" dirty="0" err="1" smtClean="0"/>
              <a:t>sheet.html</a:t>
            </a:r>
            <a:r>
              <a:rPr lang="en-US" sz="800" dirty="0" smtClean="0"/>
              <a:t>)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820015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3366FF"/>
                </a:solidFill>
              </a:rPr>
              <a:t>Assessmen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3759" y="1901111"/>
            <a:ext cx="7595084" cy="3821958"/>
          </a:xfrm>
        </p:spPr>
        <p:txBody>
          <a:bodyPr>
            <a:noAutofit/>
          </a:bodyPr>
          <a:lstStyle/>
          <a:p>
            <a:pPr>
              <a:buFont typeface="Wingdings" charset="2"/>
              <a:buChar char="ü"/>
            </a:pPr>
            <a:r>
              <a:rPr lang="en-US" sz="1800" dirty="0" smtClean="0"/>
              <a:t>Do quickly and aim for 80% correct</a:t>
            </a:r>
          </a:p>
          <a:p>
            <a:pPr>
              <a:buFont typeface="Wingdings" charset="2"/>
              <a:buChar char="ü"/>
            </a:pPr>
            <a:r>
              <a:rPr lang="en-US" sz="1800" dirty="0" smtClean="0"/>
              <a:t>Put existing IT governance on hold</a:t>
            </a:r>
            <a:endParaRPr lang="en-US" sz="1800" dirty="0" smtClean="0"/>
          </a:p>
          <a:p>
            <a:pPr>
              <a:buFont typeface="Wingdings" charset="2"/>
              <a:buChar char="ü"/>
            </a:pPr>
            <a:r>
              <a:rPr lang="en-US" sz="1800" dirty="0" smtClean="0"/>
              <a:t>Benchmark</a:t>
            </a:r>
          </a:p>
          <a:p>
            <a:pPr>
              <a:buFont typeface="Wingdings" charset="2"/>
              <a:buChar char="ü"/>
            </a:pPr>
            <a:r>
              <a:rPr lang="en-US" sz="1800" dirty="0" smtClean="0"/>
              <a:t>Interview partners</a:t>
            </a:r>
          </a:p>
          <a:p>
            <a:pPr>
              <a:buFont typeface="Wingdings" charset="2"/>
              <a:buChar char="ü"/>
            </a:pPr>
            <a:r>
              <a:rPr lang="en-US" sz="1800" dirty="0" smtClean="0"/>
              <a:t>Examine helpdesk tickets</a:t>
            </a:r>
          </a:p>
          <a:p>
            <a:pPr>
              <a:buFont typeface="Wingdings" charset="2"/>
              <a:buChar char="ü"/>
            </a:pPr>
            <a:r>
              <a:rPr lang="en-US" sz="1800" dirty="0" smtClean="0"/>
              <a:t>Triage in-flight projects</a:t>
            </a:r>
          </a:p>
          <a:p>
            <a:pPr marL="0" indent="0">
              <a:buNone/>
            </a:pPr>
            <a:endParaRPr lang="en-US" sz="1800" dirty="0" smtClean="0"/>
          </a:p>
        </p:txBody>
      </p:sp>
      <p:pic>
        <p:nvPicPr>
          <p:cNvPr id="6" name="Picture 5" descr="Slide0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380" y="3955713"/>
            <a:ext cx="2686130" cy="2014597"/>
          </a:xfrm>
          <a:prstGeom prst="rect">
            <a:avLst/>
          </a:prstGeom>
        </p:spPr>
      </p:pic>
      <p:pic>
        <p:nvPicPr>
          <p:cNvPr id="7" name="Picture 6" descr="Slide06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2805" y="1901111"/>
            <a:ext cx="2652602" cy="1989451"/>
          </a:xfrm>
          <a:prstGeom prst="rect">
            <a:avLst/>
          </a:prstGeom>
        </p:spPr>
      </p:pic>
      <p:pic>
        <p:nvPicPr>
          <p:cNvPr id="8" name="Picture 7" descr="Slide05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278" y="3955713"/>
            <a:ext cx="2686129" cy="201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0705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3366FF"/>
                </a:solidFill>
              </a:rPr>
              <a:t>Pla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78" y="1662534"/>
            <a:ext cx="7591238" cy="35521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030474">
            <a:off x="-663958" y="2759770"/>
            <a:ext cx="7484650" cy="253703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5644" y="3522677"/>
            <a:ext cx="6278081" cy="278439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4631565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xplosion 1 4"/>
          <p:cNvSpPr/>
          <p:nvPr/>
        </p:nvSpPr>
        <p:spPr>
          <a:xfrm>
            <a:off x="575788" y="156062"/>
            <a:ext cx="8028747" cy="6409321"/>
          </a:xfrm>
          <a:prstGeom prst="irregularSeal1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7053" y="2120297"/>
            <a:ext cx="4638595" cy="2954421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3366FF"/>
                </a:solidFill>
              </a:rPr>
              <a:t>Repeat Every 30-90 Day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7542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GMepBCnUyu4UtYCNWV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9yRPr9U06FGmIwecRu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zB0rWhUWztPnLDsUa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PsAo0qEeMmJz87_3n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D8NWYNsEePV0Y4uptf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FmRZt2EGvzM.csxXu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WCcXtzUWrjMWgZPUi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_uJlCKS0Kw4TXlkjNc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cbxYJ2NEqL_ihcKpAe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w_hivor0C4kFB5yfgl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FmRZt2EGvzM.csxXu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G7nlb3WU2zzTtyL1hX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NfrdFgkWMwxRkrXKr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G_a6DN0UqV6Uyt9AuC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GMepBCnUyu4UtYCNWV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9yRPr9U06FGmIwecRu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zB0rWhUWztPnLDsUa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PsAo0qEeMmJz87_3n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D8NWYNsEePV0Y4uptf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VGKKEhH0CgSHFeP9Zc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YbC6fV9k2SbM5yQHj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WCcXtzUWrjMWgZPUi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C0ugBXBEOzx1a5a8Ke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EK3O6fNEqLDWqpNU0V3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Il_r2500K9uoGTy4YJ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FmRZt2EGvzM.csxXu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kWCcXtzUWrjMWgZPUi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_uJlCKS0Kw4TXlkjNc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cbxYJ2NEqL_ihcKpAe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w_hivor0C4kFB5yfgl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G7nlb3WU2zzTtyL1hX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NfrdFgkWMwxRkrXKr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_uJlCKS0Kw4TXlkjNc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G_a6DN0UqV6Uyt9AuC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GMepBCnUyu4UtYCNWV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9yRPr9U06FGmIwecRu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zB0rWhUWztPnLDsUa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PsAo0qEeMmJz87_3n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D8NWYNsEePV0Y4uptf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cbxYJ2NEqL_ihcKpAe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w_hivor0C4kFB5yfgl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G7nlb3WU2zzTtyL1hX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NfrdFgkWMwxRkrXKr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G_a6DN0UqV6Uyt9AuCZ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Relationship Id="rId2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Pushpin">
  <a:themeElements>
    <a:clrScheme name="Pushpin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Pushpin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ushpi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75</TotalTime>
  <Words>386</Words>
  <Application>Microsoft Macintosh PowerPoint</Application>
  <PresentationFormat>On-screen Show (4:3)</PresentationFormat>
  <Paragraphs>57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Pushpin</vt:lpstr>
      <vt:lpstr>think-cell Slide</vt:lpstr>
      <vt:lpstr>The low hanging fruit is gone! </vt:lpstr>
      <vt:lpstr>Stop Making Plans, Start Making Decisions</vt:lpstr>
      <vt:lpstr>PowerPoint Presentation</vt:lpstr>
      <vt:lpstr>PowerPoint Presentation</vt:lpstr>
      <vt:lpstr>Must Be Transformative</vt:lpstr>
      <vt:lpstr>A Manifesto for Agile Software Developers </vt:lpstr>
      <vt:lpstr>Assessment </vt:lpstr>
      <vt:lpstr>Plan </vt:lpstr>
      <vt:lpstr>Repeat Every 30-90 Days </vt:lpstr>
      <vt:lpstr>Agile Project Management's LifeCycle Includes five phases: </vt:lpstr>
    </vt:vector>
  </TitlesOfParts>
  <Company>Hawaii Pacific Univers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Blanton</dc:creator>
  <cp:lastModifiedBy>Sharon Blanton</cp:lastModifiedBy>
  <cp:revision>24</cp:revision>
  <cp:lastPrinted>2014-02-04T01:03:32Z</cp:lastPrinted>
  <dcterms:created xsi:type="dcterms:W3CDTF">2014-01-16T23:47:10Z</dcterms:created>
  <dcterms:modified xsi:type="dcterms:W3CDTF">2014-02-04T01:11:58Z</dcterms:modified>
</cp:coreProperties>
</file>